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17.xml" ContentType="application/vnd.openxmlformats-officedocument.drawingml.chart+xml"/>
  <Override PartName="/ppt/charts/chart18.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tags/tag41.xml" ContentType="application/vnd.openxmlformats-officedocument.presentationml.tags+xml"/>
  <Override PartName="/ppt/notesSlides/notesSlide14.xml" ContentType="application/vnd.openxmlformats-officedocument.presentationml.notesSlide+xml"/>
  <Override PartName="/ppt/tags/tag42.xml" ContentType="application/vnd.openxmlformats-officedocument.presentationml.tags+xml"/>
  <Override PartName="/ppt/notesSlides/notesSlide15.xml" ContentType="application/vnd.openxmlformats-officedocument.presentationml.notesSlide+xml"/>
  <Override PartName="/ppt/tags/tag43.xml" ContentType="application/vnd.openxmlformats-officedocument.presentationml.tags+xml"/>
  <Override PartName="/ppt/notesSlides/notesSlide16.xml" ContentType="application/vnd.openxmlformats-officedocument.presentationml.notesSlide+xml"/>
  <Override PartName="/ppt/tags/tag44.xml" ContentType="application/vnd.openxmlformats-officedocument.presentationml.tags+xml"/>
  <Override PartName="/ppt/notesSlides/notesSlide17.xml" ContentType="application/vnd.openxmlformats-officedocument.presentationml.notesSlide+xml"/>
  <Override PartName="/ppt/charts/chart25.xml" ContentType="application/vnd.openxmlformats-officedocument.drawingml.chart+xml"/>
  <Override PartName="/ppt/charts/style1.xml" ContentType="application/vnd.ms-office.chartstyle+xml"/>
  <Override PartName="/ppt/charts/colors1.xml" ContentType="application/vnd.ms-office.chartcolorstyle+xml"/>
  <Override PartName="/ppt/tags/tag45.xml" ContentType="application/vnd.openxmlformats-officedocument.presentationml.tags+xml"/>
  <Override PartName="/ppt/notesSlides/notesSlide18.xml" ContentType="application/vnd.openxmlformats-officedocument.presentationml.notesSlide+xml"/>
  <Override PartName="/ppt/charts/chart26.xml" ContentType="application/vnd.openxmlformats-officedocument.drawingml.chart+xml"/>
  <Override PartName="/ppt/charts/style2.xml" ContentType="application/vnd.ms-office.chartstyle+xml"/>
  <Override PartName="/ppt/charts/colors2.xml" ContentType="application/vnd.ms-office.chartcolorstyle+xml"/>
  <Override PartName="/ppt/tags/tag46.xml" ContentType="application/vnd.openxmlformats-officedocument.presentationml.tags+xml"/>
  <Override PartName="/ppt/notesSlides/notesSlide19.xml" ContentType="application/vnd.openxmlformats-officedocument.presentationml.notesSlide+xml"/>
  <Override PartName="/ppt/charts/chart27.xml" ContentType="application/vnd.openxmlformats-officedocument.drawingml.chart+xml"/>
  <Override PartName="/ppt/charts/style3.xml" ContentType="application/vnd.ms-office.chartstyle+xml"/>
  <Override PartName="/ppt/charts/colors3.xml" ContentType="application/vnd.ms-office.chartcolorstyle+xml"/>
  <Override PartName="/ppt/tags/tag47.xml" ContentType="application/vnd.openxmlformats-officedocument.presentationml.tags+xml"/>
  <Override PartName="/ppt/notesSlides/notesSlide20.xml" ContentType="application/vnd.openxmlformats-officedocument.presentationml.notesSlide+xml"/>
  <Override PartName="/ppt/charts/chart28.xml" ContentType="application/vnd.openxmlformats-officedocument.drawingml.chart+xml"/>
  <Override PartName="/ppt/charts/style4.xml" ContentType="application/vnd.ms-office.chartstyle+xml"/>
  <Override PartName="/ppt/charts/colors4.xml" ContentType="application/vnd.ms-office.chartcolorstyle+xml"/>
  <Override PartName="/ppt/tags/tag48.xml" ContentType="application/vnd.openxmlformats-officedocument.presentationml.tags+xml"/>
  <Override PartName="/ppt/notesSlides/notesSlide21.xml" ContentType="application/vnd.openxmlformats-officedocument.presentationml.notesSlide+xml"/>
  <Override PartName="/ppt/charts/chart29.xml" ContentType="application/vnd.openxmlformats-officedocument.drawingml.chart+xml"/>
  <Override PartName="/ppt/charts/style5.xml" ContentType="application/vnd.ms-office.chartstyle+xml"/>
  <Override PartName="/ppt/charts/colors5.xml" ContentType="application/vnd.ms-office.chartcolorstyle+xml"/>
  <Override PartName="/ppt/tags/tag49.xml" ContentType="application/vnd.openxmlformats-officedocument.presentationml.tags+xml"/>
  <Override PartName="/ppt/notesSlides/notesSlide22.xml" ContentType="application/vnd.openxmlformats-officedocument.presentationml.notesSlide+xml"/>
  <Override PartName="/ppt/charts/chart30.xml" ContentType="application/vnd.openxmlformats-officedocument.drawingml.chart+xml"/>
  <Override PartName="/ppt/charts/style6.xml" ContentType="application/vnd.ms-office.chartstyle+xml"/>
  <Override PartName="/ppt/charts/colors6.xml" ContentType="application/vnd.ms-office.chartcolorstyle+xml"/>
  <Override PartName="/ppt/tags/tag50.xml" ContentType="application/vnd.openxmlformats-officedocument.presentationml.tags+xml"/>
  <Override PartName="/ppt/charts/chart31.xml" ContentType="application/vnd.openxmlformats-officedocument.drawingml.chart+xml"/>
  <Override PartName="/ppt/charts/style7.xml" ContentType="application/vnd.ms-office.chartstyle+xml"/>
  <Override PartName="/ppt/charts/colors7.xml" ContentType="application/vnd.ms-office.chartcolorstyle+xml"/>
  <Override PartName="/ppt/tags/tag51.xml" ContentType="application/vnd.openxmlformats-officedocument.presentationml.tags+xml"/>
  <Override PartName="/ppt/charts/chart32.xml" ContentType="application/vnd.openxmlformats-officedocument.drawingml.chart+xml"/>
  <Override PartName="/ppt/charts/style8.xml" ContentType="application/vnd.ms-office.chartstyle+xml"/>
  <Override PartName="/ppt/charts/colors8.xml" ContentType="application/vnd.ms-office.chartcolorstyle+xml"/>
  <Override PartName="/ppt/tags/tag52.xml" ContentType="application/vnd.openxmlformats-officedocument.presentationml.tags+xml"/>
  <Override PartName="/ppt/charts/chart33.xml" ContentType="application/vnd.openxmlformats-officedocument.drawingml.chart+xml"/>
  <Override PartName="/ppt/charts/style9.xml" ContentType="application/vnd.ms-office.chartstyle+xml"/>
  <Override PartName="/ppt/charts/colors9.xml" ContentType="application/vnd.ms-office.chartcolorstyle+xml"/>
  <Override PartName="/ppt/tags/tag53.xml" ContentType="application/vnd.openxmlformats-officedocument.presentationml.tags+xml"/>
  <Override PartName="/ppt/charts/chart34.xml" ContentType="application/vnd.openxmlformats-officedocument.drawingml.chart+xml"/>
  <Override PartName="/ppt/charts/style10.xml" ContentType="application/vnd.ms-office.chartstyle+xml"/>
  <Override PartName="/ppt/charts/colors10.xml" ContentType="application/vnd.ms-office.chartcolorstyle+xml"/>
  <Override PartName="/ppt/tags/tag54.xml" ContentType="application/vnd.openxmlformats-officedocument.presentationml.tags+xml"/>
  <Override PartName="/ppt/charts/chart35.xml" ContentType="application/vnd.openxmlformats-officedocument.drawingml.chart+xml"/>
  <Override PartName="/ppt/charts/style11.xml" ContentType="application/vnd.ms-office.chartstyle+xml"/>
  <Override PartName="/ppt/charts/colors11.xml" ContentType="application/vnd.ms-office.chartcolorstyle+xml"/>
  <Override PartName="/ppt/tags/tag55.xml" ContentType="application/vnd.openxmlformats-officedocument.presentationml.tags+xml"/>
  <Override PartName="/ppt/charts/chart36.xml" ContentType="application/vnd.openxmlformats-officedocument.drawingml.chart+xml"/>
  <Override PartName="/ppt/charts/style12.xml" ContentType="application/vnd.ms-office.chartstyle+xml"/>
  <Override PartName="/ppt/charts/colors12.xml" ContentType="application/vnd.ms-office.chartcolorstyle+xml"/>
  <Override PartName="/ppt/tags/tag56.xml" ContentType="application/vnd.openxmlformats-officedocument.presentationml.tags+xml"/>
  <Override PartName="/ppt/charts/chart37.xml" ContentType="application/vnd.openxmlformats-officedocument.drawingml.chart+xml"/>
  <Override PartName="/ppt/charts/style13.xml" ContentType="application/vnd.ms-office.chartstyle+xml"/>
  <Override PartName="/ppt/charts/colors13.xml" ContentType="application/vnd.ms-office.chartcolorstyle+xml"/>
  <Override PartName="/ppt/tags/tag57.xml" ContentType="application/vnd.openxmlformats-officedocument.presentationml.tags+xml"/>
  <Override PartName="/ppt/charts/chart38.xml" ContentType="application/vnd.openxmlformats-officedocument.drawingml.chart+xml"/>
  <Override PartName="/ppt/charts/style14.xml" ContentType="application/vnd.ms-office.chartstyle+xml"/>
  <Override PartName="/ppt/charts/colors14.xml" ContentType="application/vnd.ms-office.chartcolorstyle+xml"/>
  <Override PartName="/ppt/tags/tag58.xml" ContentType="application/vnd.openxmlformats-officedocument.presentationml.tags+xml"/>
  <Override PartName="/ppt/charts/chart39.xml" ContentType="application/vnd.openxmlformats-officedocument.drawingml.chart+xml"/>
  <Override PartName="/ppt/charts/style15.xml" ContentType="application/vnd.ms-office.chartstyle+xml"/>
  <Override PartName="/ppt/charts/colors15.xml" ContentType="application/vnd.ms-office.chartcolorstyle+xml"/>
  <Override PartName="/ppt/tags/tag59.xml" ContentType="application/vnd.openxmlformats-officedocument.presentationml.tags+xml"/>
  <Override PartName="/ppt/charts/chart40.xml" ContentType="application/vnd.openxmlformats-officedocument.drawingml.chart+xml"/>
  <Override PartName="/ppt/charts/style16.xml" ContentType="application/vnd.ms-office.chartstyle+xml"/>
  <Override PartName="/ppt/charts/colors16.xml" ContentType="application/vnd.ms-office.chartcolorstyle+xml"/>
  <Override PartName="/ppt/tags/tag60.xml" ContentType="application/vnd.openxmlformats-officedocument.presentationml.tags+xml"/>
  <Override PartName="/ppt/charts/chart41.xml" ContentType="application/vnd.openxmlformats-officedocument.drawingml.chart+xml"/>
  <Override PartName="/ppt/charts/style17.xml" ContentType="application/vnd.ms-office.chartstyle+xml"/>
  <Override PartName="/ppt/charts/colors17.xml" ContentType="application/vnd.ms-office.chartcolorstyle+xml"/>
  <Override PartName="/ppt/tags/tag61.xml" ContentType="application/vnd.openxmlformats-officedocument.presentationml.tags+xml"/>
  <Override PartName="/ppt/charts/chart42.xml" ContentType="application/vnd.openxmlformats-officedocument.drawingml.chart+xml"/>
  <Override PartName="/ppt/charts/style18.xml" ContentType="application/vnd.ms-office.chartstyle+xml"/>
  <Override PartName="/ppt/charts/colors18.xml" ContentType="application/vnd.ms-office.chartcolorstyle+xml"/>
  <Override PartName="/ppt/tags/tag62.xml" ContentType="application/vnd.openxmlformats-officedocument.presentationml.tags+xml"/>
  <Override PartName="/ppt/notesSlides/notesSlide23.xml" ContentType="application/vnd.openxmlformats-officedocument.presentationml.notesSlide+xml"/>
  <Override PartName="/ppt/charts/chart43.xml" ContentType="application/vnd.openxmlformats-officedocument.drawingml.chart+xml"/>
  <Override PartName="/ppt/tags/tag63.xml" ContentType="application/vnd.openxmlformats-officedocument.presentationml.tags+xml"/>
  <Override PartName="/ppt/notesSlides/notesSlide24.xml" ContentType="application/vnd.openxmlformats-officedocument.presentationml.notesSlide+xml"/>
  <Override PartName="/ppt/charts/chart44.xml" ContentType="application/vnd.openxmlformats-officedocument.drawingml.chart+xml"/>
  <Override PartName="/ppt/tags/tag64.xml" ContentType="application/vnd.openxmlformats-officedocument.presentationml.tags+xml"/>
  <Override PartName="/ppt/notesSlides/notesSlide25.xml" ContentType="application/vnd.openxmlformats-officedocument.presentationml.notesSlide+xml"/>
  <Override PartName="/ppt/charts/chart45.xml" ContentType="application/vnd.openxmlformats-officedocument.drawingml.chart+xml"/>
  <Override PartName="/ppt/tags/tag65.xml" ContentType="application/vnd.openxmlformats-officedocument.presentationml.tags+xml"/>
  <Override PartName="/ppt/notesSlides/notesSlide26.xml" ContentType="application/vnd.openxmlformats-officedocument.presentationml.notesSlide+xml"/>
  <Override PartName="/ppt/charts/chart46.xml" ContentType="application/vnd.openxmlformats-officedocument.drawingml.chart+xml"/>
  <Override PartName="/ppt/tags/tag66.xml" ContentType="application/vnd.openxmlformats-officedocument.presentationml.tags+xml"/>
  <Override PartName="/ppt/notesSlides/notesSlide27.xml" ContentType="application/vnd.openxmlformats-officedocument.presentationml.notesSlide+xml"/>
  <Override PartName="/ppt/charts/chart47.xml" ContentType="application/vnd.openxmlformats-officedocument.drawingml.chart+xml"/>
  <Override PartName="/ppt/tags/tag67.xml" ContentType="application/vnd.openxmlformats-officedocument.presentationml.tags+xml"/>
  <Override PartName="/ppt/notesSlides/notesSlide28.xml" ContentType="application/vnd.openxmlformats-officedocument.presentationml.notesSlide+xml"/>
  <Override PartName="/ppt/charts/chart48.xml" ContentType="application/vnd.openxmlformats-officedocument.drawingml.chart+xml"/>
  <Override PartName="/ppt/tags/tag68.xml" ContentType="application/vnd.openxmlformats-officedocument.presentationml.tags+xml"/>
  <Override PartName="/ppt/notesSlides/notesSlide29.xml" ContentType="application/vnd.openxmlformats-officedocument.presentationml.notesSlide+xml"/>
  <Override PartName="/ppt/charts/chart49.xml" ContentType="application/vnd.openxmlformats-officedocument.drawingml.chart+xml"/>
  <Override PartName="/ppt/tags/tag69.xml" ContentType="application/vnd.openxmlformats-officedocument.presentationml.tags+xml"/>
  <Override PartName="/ppt/notesSlides/notesSlide30.xml" ContentType="application/vnd.openxmlformats-officedocument.presentationml.notesSlide+xml"/>
  <Override PartName="/ppt/charts/chart50.xml" ContentType="application/vnd.openxmlformats-officedocument.drawingml.chart+xml"/>
  <Override PartName="/ppt/tags/tag70.xml" ContentType="application/vnd.openxmlformats-officedocument.presentationml.tags+xml"/>
  <Override PartName="/ppt/notesSlides/notesSlide31.xml" ContentType="application/vnd.openxmlformats-officedocument.presentationml.notesSlide+xml"/>
  <Override PartName="/ppt/charts/chart51.xml" ContentType="application/vnd.openxmlformats-officedocument.drawingml.chart+xml"/>
  <Override PartName="/ppt/tags/tag71.xml" ContentType="application/vnd.openxmlformats-officedocument.presentationml.tags+xml"/>
  <Override PartName="/ppt/notesSlides/notesSlide32.xml" ContentType="application/vnd.openxmlformats-officedocument.presentationml.notesSlide+xml"/>
  <Override PartName="/ppt/charts/chart52.xml" ContentType="application/vnd.openxmlformats-officedocument.drawingml.chart+xml"/>
  <Override PartName="/ppt/tags/tag72.xml" ContentType="application/vnd.openxmlformats-officedocument.presentationml.tags+xml"/>
  <Override PartName="/ppt/notesSlides/notesSlide33.xml" ContentType="application/vnd.openxmlformats-officedocument.presentationml.notesSlide+xml"/>
  <Override PartName="/ppt/charts/chart53.xml" ContentType="application/vnd.openxmlformats-officedocument.drawingml.chart+xml"/>
  <Override PartName="/ppt/tags/tag73.xml" ContentType="application/vnd.openxmlformats-officedocument.presentationml.tags+xml"/>
  <Override PartName="/ppt/notesSlides/notesSlide34.xml" ContentType="application/vnd.openxmlformats-officedocument.presentationml.notesSlide+xml"/>
  <Override PartName="/ppt/charts/chart54.xml" ContentType="application/vnd.openxmlformats-officedocument.drawingml.chart+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35.xml" ContentType="application/vnd.openxmlformats-officedocument.presentationml.notesSlide+xml"/>
  <Override PartName="/ppt/charts/chart55.xml" ContentType="application/vnd.openxmlformats-officedocument.drawingml.chart+xml"/>
  <Override PartName="/ppt/charts/chart56.xml" ContentType="application/vnd.openxmlformats-officedocument.drawingml.chart+xml"/>
  <Override PartName="/ppt/tags/tag109.xml" ContentType="application/vnd.openxmlformats-officedocument.presentationml.tags+xml"/>
  <Override PartName="/ppt/notesSlides/notesSlide36.xml" ContentType="application/vnd.openxmlformats-officedocument.presentationml.notesSlide+xml"/>
  <Override PartName="/ppt/charts/chart57.xml" ContentType="application/vnd.openxmlformats-officedocument.drawingml.chart+xml"/>
  <Override PartName="/ppt/charts/chart58.xml" ContentType="application/vnd.openxmlformats-officedocument.drawingml.chart+xml"/>
  <Override PartName="/ppt/tags/tag110.xml" ContentType="application/vnd.openxmlformats-officedocument.presentationml.tags+xml"/>
  <Override PartName="/ppt/notesSlides/notesSlide37.xml" ContentType="application/vnd.openxmlformats-officedocument.presentationml.notesSlide+xml"/>
  <Override PartName="/ppt/charts/chart59.xml" ContentType="application/vnd.openxmlformats-officedocument.drawingml.chart+xml"/>
  <Override PartName="/ppt/charts/chart60.xml" ContentType="application/vnd.openxmlformats-officedocument.drawingml.chart+xml"/>
  <Override PartName="/ppt/tags/tag111.xml" ContentType="application/vnd.openxmlformats-officedocument.presentationml.tags+xml"/>
  <Override PartName="/ppt/notesSlides/notesSlide38.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tags/tag112.xml" ContentType="application/vnd.openxmlformats-officedocument.presentationml.tags+xml"/>
  <Override PartName="/ppt/notesSlides/notesSlide39.xml" ContentType="application/vnd.openxmlformats-officedocument.presentationml.notesSlide+xml"/>
  <Override PartName="/ppt/charts/chart63.xml" ContentType="application/vnd.openxmlformats-officedocument.drawingml.chart+xml"/>
  <Override PartName="/ppt/charts/chart64.xml" ContentType="application/vnd.openxmlformats-officedocument.drawingml.chart+xml"/>
  <Override PartName="/ppt/tags/tag113.xml" ContentType="application/vnd.openxmlformats-officedocument.presentationml.tags+xml"/>
  <Override PartName="/ppt/notesSlides/notesSlide40.xml" ContentType="application/vnd.openxmlformats-officedocument.presentationml.notesSlide+xml"/>
  <Override PartName="/ppt/charts/chart65.xml" ContentType="application/vnd.openxmlformats-officedocument.drawingml.chart+xml"/>
  <Override PartName="/ppt/charts/chart66.xml" ContentType="application/vnd.openxmlformats-officedocument.drawingml.chart+xml"/>
  <Override PartName="/ppt/tags/tag114.xml" ContentType="application/vnd.openxmlformats-officedocument.presentationml.tags+xml"/>
  <Override PartName="/ppt/notesSlides/notesSlide41.xml" ContentType="application/vnd.openxmlformats-officedocument.presentationml.notesSlide+xml"/>
  <Override PartName="/ppt/charts/chart67.xml" ContentType="application/vnd.openxmlformats-officedocument.drawingml.chart+xml"/>
  <Override PartName="/ppt/charts/chart68.xml" ContentType="application/vnd.openxmlformats-officedocument.drawingml.chart+xml"/>
  <Override PartName="/ppt/tags/tag115.xml" ContentType="application/vnd.openxmlformats-officedocument.presentationml.tags+xml"/>
  <Override PartName="/ppt/notesSlides/notesSlide42.xml" ContentType="application/vnd.openxmlformats-officedocument.presentationml.notesSlide+xml"/>
  <Override PartName="/ppt/charts/chart69.xml" ContentType="application/vnd.openxmlformats-officedocument.drawingml.chart+xml"/>
  <Override PartName="/ppt/charts/chart70.xml" ContentType="application/vnd.openxmlformats-officedocument.drawingml.chart+xml"/>
  <Override PartName="/ppt/tags/tag116.xml" ContentType="application/vnd.openxmlformats-officedocument.presentationml.tags+xml"/>
  <Override PartName="/ppt/notesSlides/notesSlide43.xml" ContentType="application/vnd.openxmlformats-officedocument.presentationml.notesSlide+xml"/>
  <Override PartName="/ppt/charts/chart71.xml" ContentType="application/vnd.openxmlformats-officedocument.drawingml.chart+xml"/>
  <Override PartName="/ppt/charts/chart72.xml" ContentType="application/vnd.openxmlformats-officedocument.drawingml.chart+xml"/>
  <Override PartName="/ppt/tags/tag117.xml" ContentType="application/vnd.openxmlformats-officedocument.presentationml.tags+xml"/>
  <Override PartName="/ppt/notesSlides/notesSlide44.xml" ContentType="application/vnd.openxmlformats-officedocument.presentationml.notesSlide+xml"/>
  <Override PartName="/ppt/charts/chart73.xml" ContentType="application/vnd.openxmlformats-officedocument.drawingml.chart+xml"/>
  <Override PartName="/ppt/charts/chart74.xml" ContentType="application/vnd.openxmlformats-officedocument.drawingml.chart+xml"/>
  <Override PartName="/ppt/tags/tag118.xml" ContentType="application/vnd.openxmlformats-officedocument.presentationml.tags+xml"/>
  <Override PartName="/ppt/notesSlides/notesSlide45.xml" ContentType="application/vnd.openxmlformats-officedocument.presentationml.notesSlide+xml"/>
  <Override PartName="/ppt/charts/chart75.xml" ContentType="application/vnd.openxmlformats-officedocument.drawingml.chart+xml"/>
  <Override PartName="/ppt/charts/chart76.xml" ContentType="application/vnd.openxmlformats-officedocument.drawingml.chart+xml"/>
  <Override PartName="/ppt/tags/tag119.xml" ContentType="application/vnd.openxmlformats-officedocument.presentationml.tags+xml"/>
  <Override PartName="/ppt/notesSlides/notesSlide46.xml" ContentType="application/vnd.openxmlformats-officedocument.presentationml.notesSlide+xml"/>
  <Override PartName="/ppt/charts/chart77.xml" ContentType="application/vnd.openxmlformats-officedocument.drawingml.chart+xml"/>
  <Override PartName="/ppt/charts/chart78.xml" ContentType="application/vnd.openxmlformats-officedocument.drawingml.chart+xml"/>
  <Override PartName="/ppt/tags/tag120.xml" ContentType="application/vnd.openxmlformats-officedocument.presentationml.tags+xml"/>
  <Override PartName="/ppt/notesSlides/notesSlide47.xml" ContentType="application/vnd.openxmlformats-officedocument.presentationml.notesSlide+xml"/>
  <Override PartName="/ppt/charts/chart79.xml" ContentType="application/vnd.openxmlformats-officedocument.drawingml.chart+xml"/>
  <Override PartName="/ppt/charts/chart80.xml" ContentType="application/vnd.openxmlformats-officedocument.drawingml.chart+xml"/>
  <Override PartName="/ppt/tags/tag121.xml" ContentType="application/vnd.openxmlformats-officedocument.presentationml.tags+xml"/>
  <Override PartName="/ppt/notesSlides/notesSlide48.xml" ContentType="application/vnd.openxmlformats-officedocument.presentationml.notesSlide+xml"/>
  <Override PartName="/ppt/charts/chart81.xml" ContentType="application/vnd.openxmlformats-officedocument.drawingml.chart+xml"/>
  <Override PartName="/ppt/charts/chart82.xml" ContentType="application/vnd.openxmlformats-officedocument.drawingml.chart+xml"/>
  <Override PartName="/ppt/tags/tag122.xml" ContentType="application/vnd.openxmlformats-officedocument.presentationml.tags+xml"/>
  <Override PartName="/ppt/notesSlides/notesSlide49.xml" ContentType="application/vnd.openxmlformats-officedocument.presentationml.notesSlide+xml"/>
  <Override PartName="/ppt/charts/chart83.xml" ContentType="application/vnd.openxmlformats-officedocument.drawingml.chart+xml"/>
  <Override PartName="/ppt/charts/chart84.xml" ContentType="application/vnd.openxmlformats-officedocument.drawingml.chart+xml"/>
  <Override PartName="/ppt/tags/tag123.xml" ContentType="application/vnd.openxmlformats-officedocument.presentationml.tags+xml"/>
  <Override PartName="/ppt/notesSlides/notesSlide50.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tags/tag124.xml" ContentType="application/vnd.openxmlformats-officedocument.presentationml.tags+xml"/>
  <Override PartName="/ppt/notesSlides/notesSlide51.xml" ContentType="application/vnd.openxmlformats-officedocument.presentationml.notesSlide+xml"/>
  <Override PartName="/ppt/charts/chart87.xml" ContentType="application/vnd.openxmlformats-officedocument.drawingml.chart+xml"/>
  <Override PartName="/ppt/charts/chart88.xml" ContentType="application/vnd.openxmlformats-officedocument.drawingml.chart+xml"/>
  <Override PartName="/ppt/tags/tag125.xml" ContentType="application/vnd.openxmlformats-officedocument.presentationml.tags+xml"/>
  <Override PartName="/ppt/notesSlides/notesSlide52.xml" ContentType="application/vnd.openxmlformats-officedocument.presentationml.notesSlide+xml"/>
  <Override PartName="/ppt/charts/chart89.xml" ContentType="application/vnd.openxmlformats-officedocument.drawingml.chart+xml"/>
  <Override PartName="/ppt/charts/chart90.xml" ContentType="application/vnd.openxmlformats-officedocument.drawingml.chart+xml"/>
  <Override PartName="/ppt/tags/tag126.xml" ContentType="application/vnd.openxmlformats-officedocument.presentationml.tags+xml"/>
  <Override PartName="/ppt/notesSlides/notesSlide53.xml" ContentType="application/vnd.openxmlformats-officedocument.presentationml.notesSlide+xml"/>
  <Override PartName="/ppt/charts/chart91.xml" ContentType="application/vnd.openxmlformats-officedocument.drawingml.chart+xml"/>
  <Override PartName="/ppt/charts/chart92.xml" ContentType="application/vnd.openxmlformats-officedocument.drawingml.chart+xml"/>
  <Override PartName="/ppt/tags/tag127.xml" ContentType="application/vnd.openxmlformats-officedocument.presentationml.tags+xml"/>
  <Override PartName="/ppt/notesSlides/notesSlide54.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tags/tag128.xml" ContentType="application/vnd.openxmlformats-officedocument.presentationml.tags+xml"/>
  <Override PartName="/ppt/notesSlides/notesSlide55.xml" ContentType="application/vnd.openxmlformats-officedocument.presentationml.notesSlide+xml"/>
  <Override PartName="/ppt/charts/chart95.xml" ContentType="application/vnd.openxmlformats-officedocument.drawingml.chart+xml"/>
  <Override PartName="/ppt/charts/chart96.xml" ContentType="application/vnd.openxmlformats-officedocument.drawingml.chart+xml"/>
  <Override PartName="/ppt/tags/tag129.xml" ContentType="application/vnd.openxmlformats-officedocument.presentationml.tags+xml"/>
  <Override PartName="/ppt/charts/chart97.xml" ContentType="application/vnd.openxmlformats-officedocument.drawingml.chart+xml"/>
  <Override PartName="/ppt/tags/tag130.xml" ContentType="application/vnd.openxmlformats-officedocument.presentationml.tags+xml"/>
  <Override PartName="/ppt/charts/chart98.xml" ContentType="application/vnd.openxmlformats-officedocument.drawingml.chart+xml"/>
  <Override PartName="/ppt/tags/tag131.xml" ContentType="application/vnd.openxmlformats-officedocument.presentationml.tags+xml"/>
  <Override PartName="/ppt/charts/chart99.xml" ContentType="application/vnd.openxmlformats-officedocument.drawingml.chart+xml"/>
  <Override PartName="/ppt/tags/tag132.xml" ContentType="application/vnd.openxmlformats-officedocument.presentationml.tags+xml"/>
  <Override PartName="/ppt/charts/chart100.xml" ContentType="application/vnd.openxmlformats-officedocument.drawingml.chart+xml"/>
  <Override PartName="/ppt/tags/tag133.xml" ContentType="application/vnd.openxmlformats-officedocument.presentationml.tags+xml"/>
  <Override PartName="/ppt/charts/chart101.xml" ContentType="application/vnd.openxmlformats-officedocument.drawingml.chart+xml"/>
  <Override PartName="/ppt/tags/tag134.xml" ContentType="application/vnd.openxmlformats-officedocument.presentationml.tags+xml"/>
  <Override PartName="/ppt/charts/chart102.xml" ContentType="application/vnd.openxmlformats-officedocument.drawingml.chart+xml"/>
  <Override PartName="/ppt/tags/tag135.xml" ContentType="application/vnd.openxmlformats-officedocument.presentationml.tags+xml"/>
  <Override PartName="/ppt/charts/chart103.xml" ContentType="application/vnd.openxmlformats-officedocument.drawingml.chart+xml"/>
  <Override PartName="/ppt/tags/tag136.xml" ContentType="application/vnd.openxmlformats-officedocument.presentationml.tags+xml"/>
  <Override PartName="/ppt/charts/chart104.xml" ContentType="application/vnd.openxmlformats-officedocument.drawingml.chart+xml"/>
  <Override PartName="/ppt/tags/tag137.xml" ContentType="application/vnd.openxmlformats-officedocument.presentationml.tags+xml"/>
  <Override PartName="/ppt/charts/chart105.xml" ContentType="application/vnd.openxmlformats-officedocument.drawingml.chart+xml"/>
  <Override PartName="/ppt/tags/tag138.xml" ContentType="application/vnd.openxmlformats-officedocument.presentationml.tags+xml"/>
  <Override PartName="/ppt/charts/chart106.xml" ContentType="application/vnd.openxmlformats-officedocument.drawingml.chart+xml"/>
  <Override PartName="/ppt/tags/tag139.xml" ContentType="application/vnd.openxmlformats-officedocument.presentationml.tags+xml"/>
  <Override PartName="/ppt/charts/chart107.xml" ContentType="application/vnd.openxmlformats-officedocument.drawingml.chart+xml"/>
  <Override PartName="/ppt/tags/tag140.xml" ContentType="application/vnd.openxmlformats-officedocument.presentationml.tags+xml"/>
  <Override PartName="/ppt/charts/chart108.xml" ContentType="application/vnd.openxmlformats-officedocument.drawingml.chart+xml"/>
  <Override PartName="/ppt/tags/tag141.xml" ContentType="application/vnd.openxmlformats-officedocument.presentationml.tags+xml"/>
  <Override PartName="/ppt/notesSlides/notesSlide56.xml" ContentType="application/vnd.openxmlformats-officedocument.presentationml.notesSlid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tags/tag142.xml" ContentType="application/vnd.openxmlformats-officedocument.presentationml.tags+xml"/>
  <Override PartName="/ppt/notesSlides/notesSlide57.xml" ContentType="application/vnd.openxmlformats-officedocument.presentationml.notesSlide+xml"/>
  <Override PartName="/ppt/charts/chart110.xml" ContentType="application/vnd.openxmlformats-officedocument.drawingml.chart+xml"/>
  <Override PartName="/ppt/charts/style20.xml" ContentType="application/vnd.ms-office.chartstyle+xml"/>
  <Override PartName="/ppt/charts/colors20.xml" ContentType="application/vnd.ms-office.chartcolorstyle+xml"/>
  <Override PartName="/ppt/tags/tag143.xml" ContentType="application/vnd.openxmlformats-officedocument.presentationml.tags+xml"/>
  <Override PartName="/ppt/notesSlides/notesSlide58.xml" ContentType="application/vnd.openxmlformats-officedocument.presentationml.notesSlide+xml"/>
  <Override PartName="/ppt/charts/chart111.xml" ContentType="application/vnd.openxmlformats-officedocument.drawingml.chart+xml"/>
  <Override PartName="/ppt/charts/style21.xml" ContentType="application/vnd.ms-office.chartstyle+xml"/>
  <Override PartName="/ppt/charts/colors21.xml" ContentType="application/vnd.ms-office.chartcolorstyle+xml"/>
  <Override PartName="/ppt/tags/tag144.xml" ContentType="application/vnd.openxmlformats-officedocument.presentationml.tags+xml"/>
  <Override PartName="/ppt/notesSlides/notesSlide59.xml" ContentType="application/vnd.openxmlformats-officedocument.presentationml.notesSlide+xml"/>
  <Override PartName="/ppt/charts/chart112.xml" ContentType="application/vnd.openxmlformats-officedocument.drawingml.chart+xml"/>
  <Override PartName="/ppt/charts/style22.xml" ContentType="application/vnd.ms-office.chartstyle+xml"/>
  <Override PartName="/ppt/charts/colors22.xml" ContentType="application/vnd.ms-office.chartcolorstyle+xml"/>
  <Override PartName="/ppt/tags/tag145.xml" ContentType="application/vnd.openxmlformats-officedocument.presentationml.tags+xml"/>
  <Override PartName="/ppt/notesSlides/notesSlide60.xml" ContentType="application/vnd.openxmlformats-officedocument.presentationml.notesSlide+xml"/>
  <Override PartName="/ppt/charts/chart113.xml" ContentType="application/vnd.openxmlformats-officedocument.drawingml.chart+xml"/>
  <Override PartName="/ppt/charts/style23.xml" ContentType="application/vnd.ms-office.chartstyle+xml"/>
  <Override PartName="/ppt/charts/colors23.xml" ContentType="application/vnd.ms-office.chartcolorstyle+xml"/>
  <Override PartName="/ppt/tags/tag146.xml" ContentType="application/vnd.openxmlformats-officedocument.presentationml.tags+xml"/>
  <Override PartName="/ppt/notesSlides/notesSlide61.xml" ContentType="application/vnd.openxmlformats-officedocument.presentationml.notesSlide+xml"/>
  <Override PartName="/ppt/charts/chart114.xml" ContentType="application/vnd.openxmlformats-officedocument.drawingml.chart+xml"/>
  <Override PartName="/ppt/charts/style24.xml" ContentType="application/vnd.ms-office.chartstyle+xml"/>
  <Override PartName="/ppt/charts/colors24.xml" ContentType="application/vnd.ms-office.chartcolorstyle+xml"/>
  <Override PartName="/ppt/tags/tag147.xml" ContentType="application/vnd.openxmlformats-officedocument.presentationml.tags+xml"/>
  <Override PartName="/ppt/notesSlides/notesSlide62.xml" ContentType="application/vnd.openxmlformats-officedocument.presentationml.notesSlide+xml"/>
  <Override PartName="/ppt/charts/chart115.xml" ContentType="application/vnd.openxmlformats-officedocument.drawingml.chart+xml"/>
  <Override PartName="/ppt/charts/style25.xml" ContentType="application/vnd.ms-office.chartstyle+xml"/>
  <Override PartName="/ppt/charts/colors25.xml" ContentType="application/vnd.ms-office.chartcolorstyle+xml"/>
  <Override PartName="/ppt/tags/tag148.xml" ContentType="application/vnd.openxmlformats-officedocument.presentationml.tags+xml"/>
  <Override PartName="/ppt/notesSlides/notesSlide63.xml" ContentType="application/vnd.openxmlformats-officedocument.presentationml.notesSlide+xml"/>
  <Override PartName="/ppt/charts/chart116.xml" ContentType="application/vnd.openxmlformats-officedocument.drawingml.chart+xml"/>
  <Override PartName="/ppt/charts/style26.xml" ContentType="application/vnd.ms-office.chartstyle+xml"/>
  <Override PartName="/ppt/charts/colors26.xml" ContentType="application/vnd.ms-office.chartcolorstyle+xml"/>
  <Override PartName="/ppt/tags/tag149.xml" ContentType="application/vnd.openxmlformats-officedocument.presentationml.tags+xml"/>
  <Override PartName="/ppt/notesSlides/notesSlide64.xml" ContentType="application/vnd.openxmlformats-officedocument.presentationml.notesSlide+xml"/>
  <Override PartName="/ppt/charts/chart117.xml" ContentType="application/vnd.openxmlformats-officedocument.drawingml.chart+xml"/>
  <Override PartName="/ppt/charts/style27.xml" ContentType="application/vnd.ms-office.chartstyle+xml"/>
  <Override PartName="/ppt/charts/colors27.xml" ContentType="application/vnd.ms-office.chartcolorstyle+xml"/>
  <Override PartName="/ppt/tags/tag150.xml" ContentType="application/vnd.openxmlformats-officedocument.presentationml.tags+xml"/>
  <Override PartName="/ppt/notesSlides/notesSlide65.xml" ContentType="application/vnd.openxmlformats-officedocument.presentationml.notesSlide+xml"/>
  <Override PartName="/ppt/charts/chart118.xml" ContentType="application/vnd.openxmlformats-officedocument.drawingml.chart+xml"/>
  <Override PartName="/ppt/charts/style28.xml" ContentType="application/vnd.ms-office.chartstyle+xml"/>
  <Override PartName="/ppt/charts/colors28.xml" ContentType="application/vnd.ms-office.chartcolorstyle+xml"/>
  <Override PartName="/ppt/tags/tag151.xml" ContentType="application/vnd.openxmlformats-officedocument.presentationml.tags+xml"/>
  <Override PartName="/ppt/notesSlides/notesSlide66.xml" ContentType="application/vnd.openxmlformats-officedocument.presentationml.notesSlide+xml"/>
  <Override PartName="/ppt/charts/chart119.xml" ContentType="application/vnd.openxmlformats-officedocument.drawingml.chart+xml"/>
  <Override PartName="/ppt/charts/style29.xml" ContentType="application/vnd.ms-office.chartstyle+xml"/>
  <Override PartName="/ppt/charts/colors29.xml" ContentType="application/vnd.ms-office.chartcolorstyle+xml"/>
  <Override PartName="/ppt/tags/tag152.xml" ContentType="application/vnd.openxmlformats-officedocument.presentationml.tags+xml"/>
  <Override PartName="/ppt/notesSlides/notesSlide67.xml" ContentType="application/vnd.openxmlformats-officedocument.presentationml.notesSlide+xml"/>
  <Override PartName="/ppt/charts/chart120.xml" ContentType="application/vnd.openxmlformats-officedocument.drawingml.chart+xml"/>
  <Override PartName="/ppt/charts/style30.xml" ContentType="application/vnd.ms-office.chartstyle+xml"/>
  <Override PartName="/ppt/charts/colors30.xml" ContentType="application/vnd.ms-office.chartcolorstyle+xml"/>
  <Override PartName="/ppt/tags/tag153.xml" ContentType="application/vnd.openxmlformats-officedocument.presentationml.tags+xml"/>
  <Override PartName="/ppt/notesSlides/notesSlide68.xml" ContentType="application/vnd.openxmlformats-officedocument.presentationml.notesSlide+xml"/>
  <Override PartName="/ppt/charts/chart121.xml" ContentType="application/vnd.openxmlformats-officedocument.drawingml.chart+xml"/>
  <Override PartName="/ppt/charts/style31.xml" ContentType="application/vnd.ms-office.chartstyle+xml"/>
  <Override PartName="/ppt/charts/colors31.xml" ContentType="application/vnd.ms-office.chartcolorstyle+xml"/>
  <Override PartName="/ppt/tags/tag154.xml" ContentType="application/vnd.openxmlformats-officedocument.presentationml.tags+xml"/>
  <Override PartName="/ppt/notesSlides/notesSlide69.xml" ContentType="application/vnd.openxmlformats-officedocument.presentationml.notesSlide+xml"/>
  <Override PartName="/ppt/charts/chart122.xml" ContentType="application/vnd.openxmlformats-officedocument.drawingml.chart+xml"/>
  <Override PartName="/ppt/charts/style32.xml" ContentType="application/vnd.ms-office.chartstyle+xml"/>
  <Override PartName="/ppt/charts/colors32.xml" ContentType="application/vnd.ms-office.chartcolorstyle+xml"/>
  <Override PartName="/ppt/tags/tag155.xml" ContentType="application/vnd.openxmlformats-officedocument.presentationml.tags+xml"/>
  <Override PartName="/ppt/notesSlides/notesSlide70.xml" ContentType="application/vnd.openxmlformats-officedocument.presentationml.notesSlide+xml"/>
  <Override PartName="/ppt/charts/chart123.xml" ContentType="application/vnd.openxmlformats-officedocument.drawingml.chart+xml"/>
  <Override PartName="/ppt/charts/style33.xml" ContentType="application/vnd.ms-office.chartstyle+xml"/>
  <Override PartName="/ppt/charts/colors33.xml" ContentType="application/vnd.ms-office.chartcolorstyle+xml"/>
  <Override PartName="/ppt/tags/tag156.xml" ContentType="application/vnd.openxmlformats-officedocument.presentationml.tags+xml"/>
  <Override PartName="/ppt/notesSlides/notesSlide71.xml" ContentType="application/vnd.openxmlformats-officedocument.presentationml.notesSlide+xml"/>
  <Override PartName="/ppt/charts/chart124.xml" ContentType="application/vnd.openxmlformats-officedocument.drawingml.chart+xml"/>
  <Override PartName="/ppt/charts/style34.xml" ContentType="application/vnd.ms-office.chartstyle+xml"/>
  <Override PartName="/ppt/charts/colors34.xml" ContentType="application/vnd.ms-office.chartcolorstyle+xml"/>
  <Override PartName="/ppt/tags/tag157.xml" ContentType="application/vnd.openxmlformats-officedocument.presentationml.tags+xml"/>
  <Override PartName="/ppt/notesSlides/notesSlide72.xml" ContentType="application/vnd.openxmlformats-officedocument.presentationml.notesSlide+xml"/>
  <Override PartName="/ppt/charts/chart125.xml" ContentType="application/vnd.openxmlformats-officedocument.drawingml.chart+xml"/>
  <Override PartName="/ppt/charts/style35.xml" ContentType="application/vnd.ms-office.chartstyle+xml"/>
  <Override PartName="/ppt/charts/colors35.xml" ContentType="application/vnd.ms-office.chartcolorstyle+xml"/>
  <Override PartName="/ppt/tags/tag158.xml" ContentType="application/vnd.openxmlformats-officedocument.presentationml.tags+xml"/>
  <Override PartName="/ppt/charts/chart126.xml" ContentType="application/vnd.openxmlformats-officedocument.drawingml.chart+xml"/>
  <Override PartName="/ppt/tags/tag159.xml" ContentType="application/vnd.openxmlformats-officedocument.presentationml.tags+xml"/>
  <Override PartName="/ppt/charts/chart127.xml" ContentType="application/vnd.openxmlformats-officedocument.drawingml.chart+xml"/>
  <Override PartName="/ppt/tags/tag160.xml" ContentType="application/vnd.openxmlformats-officedocument.presentationml.tags+xml"/>
  <Override PartName="/ppt/charts/chart128.xml" ContentType="application/vnd.openxmlformats-officedocument.drawingml.chart+xml"/>
  <Override PartName="/ppt/tags/tag161.xml" ContentType="application/vnd.openxmlformats-officedocument.presentationml.tags+xml"/>
  <Override PartName="/ppt/charts/chart129.xml" ContentType="application/vnd.openxmlformats-officedocument.drawingml.chart+xml"/>
  <Override PartName="/ppt/tags/tag162.xml" ContentType="application/vnd.openxmlformats-officedocument.presentationml.tags+xml"/>
  <Override PartName="/ppt/charts/chart130.xml" ContentType="application/vnd.openxmlformats-officedocument.drawingml.chart+xml"/>
  <Override PartName="/ppt/tags/tag163.xml" ContentType="application/vnd.openxmlformats-officedocument.presentationml.tags+xml"/>
  <Override PartName="/ppt/charts/chart131.xml" ContentType="application/vnd.openxmlformats-officedocument.drawingml.chart+xml"/>
  <Override PartName="/ppt/tags/tag164.xml" ContentType="application/vnd.openxmlformats-officedocument.presentationml.tags+xml"/>
  <Override PartName="/ppt/charts/chart132.xml" ContentType="application/vnd.openxmlformats-officedocument.drawingml.chart+xml"/>
  <Override PartName="/ppt/tags/tag165.xml" ContentType="application/vnd.openxmlformats-officedocument.presentationml.tags+xml"/>
  <Override PartName="/ppt/charts/chart133.xml" ContentType="application/vnd.openxmlformats-officedocument.drawingml.chart+xml"/>
  <Override PartName="/ppt/tags/tag166.xml" ContentType="application/vnd.openxmlformats-officedocument.presentationml.tags+xml"/>
  <Override PartName="/ppt/charts/chart134.xml" ContentType="application/vnd.openxmlformats-officedocument.drawingml.chart+xml"/>
  <Override PartName="/ppt/tags/tag167.xml" ContentType="application/vnd.openxmlformats-officedocument.presentationml.tags+xml"/>
  <Override PartName="/ppt/charts/chart135.xml" ContentType="application/vnd.openxmlformats-officedocument.drawingml.chart+xml"/>
  <Override PartName="/ppt/tags/tag168.xml" ContentType="application/vnd.openxmlformats-officedocument.presentationml.tags+xml"/>
  <Override PartName="/ppt/charts/chart136.xml" ContentType="application/vnd.openxmlformats-officedocument.drawingml.chart+xml"/>
  <Override PartName="/ppt/tags/tag169.xml" ContentType="application/vnd.openxmlformats-officedocument.presentationml.tags+xml"/>
  <Override PartName="/ppt/charts/chart137.xml" ContentType="application/vnd.openxmlformats-officedocument.drawingml.chart+xml"/>
  <Override PartName="/ppt/tags/tag170.xml" ContentType="application/vnd.openxmlformats-officedocument.presentationml.tags+xml"/>
  <Override PartName="/ppt/charts/chart138.xml" ContentType="application/vnd.openxmlformats-officedocument.drawingml.chart+xml"/>
  <Override PartName="/ppt/tags/tag171.xml" ContentType="application/vnd.openxmlformats-officedocument.presentationml.tags+xml"/>
  <Override PartName="/ppt/charts/chart139.xml" ContentType="application/vnd.openxmlformats-officedocument.drawingml.chart+xml"/>
  <Override PartName="/ppt/tags/tag172.xml" ContentType="application/vnd.openxmlformats-officedocument.presentationml.tags+xml"/>
  <Override PartName="/ppt/charts/chart140.xml" ContentType="application/vnd.openxmlformats-officedocument.drawingml.chart+xml"/>
  <Override PartName="/ppt/tags/tag173.xml" ContentType="application/vnd.openxmlformats-officedocument.presentationml.tags+xml"/>
  <Override PartName="/ppt/charts/chart141.xml" ContentType="application/vnd.openxmlformats-officedocument.drawingml.chart+xml"/>
  <Override PartName="/ppt/tags/tag174.xml" ContentType="application/vnd.openxmlformats-officedocument.presentationml.tags+xml"/>
  <Override PartName="/ppt/charts/chart142.xml" ContentType="application/vnd.openxmlformats-officedocument.drawingml.chart+xml"/>
  <Override PartName="/ppt/tags/tag175.xml" ContentType="application/vnd.openxmlformats-officedocument.presentationml.tags+xml"/>
  <Override PartName="/ppt/charts/chart143.xml" ContentType="application/vnd.openxmlformats-officedocument.drawingml.chart+xml"/>
  <Override PartName="/ppt/tags/tag176.xml" ContentType="application/vnd.openxmlformats-officedocument.presentationml.tags+xml"/>
  <Override PartName="/ppt/charts/chart144.xml" ContentType="application/vnd.openxmlformats-officedocument.drawingml.chart+xml"/>
  <Override PartName="/ppt/tags/tag177.xml" ContentType="application/vnd.openxmlformats-officedocument.presentationml.tags+xml"/>
  <Override PartName="/ppt/charts/chart145.xml" ContentType="application/vnd.openxmlformats-officedocument.drawingml.chart+xml"/>
  <Override PartName="/ppt/tags/tag178.xml" ContentType="application/vnd.openxmlformats-officedocument.presentationml.tags+xml"/>
  <Override PartName="/ppt/charts/chart146.xml" ContentType="application/vnd.openxmlformats-officedocument.drawingml.chart+xml"/>
  <Override PartName="/ppt/tags/tag179.xml" ContentType="application/vnd.openxmlformats-officedocument.presentationml.tags+xml"/>
  <Override PartName="/ppt/charts/chart147.xml" ContentType="application/vnd.openxmlformats-officedocument.drawingml.chart+xml"/>
  <Override PartName="/ppt/tags/tag180.xml" ContentType="application/vnd.openxmlformats-officedocument.presentationml.tags+xml"/>
  <Override PartName="/ppt/charts/chart148.xml" ContentType="application/vnd.openxmlformats-officedocument.drawingml.chart+xml"/>
  <Override PartName="/ppt/tags/tag181.xml" ContentType="application/vnd.openxmlformats-officedocument.presentationml.tags+xml"/>
  <Override PartName="/ppt/charts/chart149.xml" ContentType="application/vnd.openxmlformats-officedocument.drawingml.chart+xml"/>
  <Override PartName="/ppt/tags/tag182.xml" ContentType="application/vnd.openxmlformats-officedocument.presentationml.tags+xml"/>
  <Override PartName="/ppt/charts/chart150.xml" ContentType="application/vnd.openxmlformats-officedocument.drawingml.chart+xml"/>
  <Override PartName="/ppt/tags/tag183.xml" ContentType="application/vnd.openxmlformats-officedocument.presentationml.tags+xml"/>
  <Override PartName="/ppt/charts/chart151.xml" ContentType="application/vnd.openxmlformats-officedocument.drawingml.chart+xml"/>
  <Override PartName="/ppt/tags/tag184.xml" ContentType="application/vnd.openxmlformats-officedocument.presentationml.tags+xml"/>
  <Override PartName="/ppt/charts/chart152.xml" ContentType="application/vnd.openxmlformats-officedocument.drawingml.chart+xml"/>
  <Override PartName="/ppt/tags/tag185.xml" ContentType="application/vnd.openxmlformats-officedocument.presentationml.tags+xml"/>
  <Override PartName="/ppt/charts/chart153.xml" ContentType="application/vnd.openxmlformats-officedocument.drawingml.chart+xml"/>
  <Override PartName="/ppt/tags/tag186.xml" ContentType="application/vnd.openxmlformats-officedocument.presentationml.tags+xml"/>
  <Override PartName="/ppt/charts/chart154.xml" ContentType="application/vnd.openxmlformats-officedocument.drawingml.chart+xml"/>
  <Override PartName="/ppt/tags/tag187.xml" ContentType="application/vnd.openxmlformats-officedocument.presentationml.tags+xml"/>
  <Override PartName="/ppt/charts/chart155.xml" ContentType="application/vnd.openxmlformats-officedocument.drawingml.chart+xml"/>
  <Override PartName="/ppt/tags/tag188.xml" ContentType="application/vnd.openxmlformats-officedocument.presentationml.tags+xml"/>
  <Override PartName="/ppt/charts/chart156.xml" ContentType="application/vnd.openxmlformats-officedocument.drawingml.chart+xml"/>
  <Override PartName="/ppt/tags/tag189.xml" ContentType="application/vnd.openxmlformats-officedocument.presentationml.tags+xml"/>
  <Override PartName="/ppt/charts/chart157.xml" ContentType="application/vnd.openxmlformats-officedocument.drawingml.chart+xml"/>
  <Override PartName="/ppt/tags/tag190.xml" ContentType="application/vnd.openxmlformats-officedocument.presentationml.tags+xml"/>
  <Override PartName="/ppt/charts/chart158.xml" ContentType="application/vnd.openxmlformats-officedocument.drawingml.chart+xml"/>
  <Override PartName="/ppt/tags/tag191.xml" ContentType="application/vnd.openxmlformats-officedocument.presentationml.tags+xml"/>
  <Override PartName="/ppt/charts/chart159.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160.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161.xml" ContentType="application/vnd.openxmlformats-officedocument.drawingml.chart+xml"/>
  <Override PartName="/ppt/charts/style38.xml" ContentType="application/vnd.ms-office.chartstyle+xml"/>
  <Override PartName="/ppt/charts/colors38.xml" ContentType="application/vnd.ms-office.chartcolorstyle+xml"/>
  <Override PartName="/ppt/tags/tag192.xml" ContentType="application/vnd.openxmlformats-officedocument.presentationml.tags+xml"/>
  <Override PartName="/ppt/charts/chart162.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163.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164.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165.xml" ContentType="application/vnd.openxmlformats-officedocument.drawingml.chart+xml"/>
  <Override PartName="/ppt/charts/style42.xml" ContentType="application/vnd.ms-office.chartstyle+xml"/>
  <Override PartName="/ppt/charts/colors42.xml" ContentType="application/vnd.ms-office.chartcolorstyle+xml"/>
  <Override PartName="/ppt/tags/tag193.xml" ContentType="application/vnd.openxmlformats-officedocument.presentationml.tags+xml"/>
  <Override PartName="/ppt/charts/chart166.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167.xml" ContentType="application/vnd.openxmlformats-officedocument.drawingml.chart+xml"/>
  <Override PartName="/ppt/charts/style44.xml" ContentType="application/vnd.ms-office.chartstyle+xml"/>
  <Override PartName="/ppt/charts/colors44.xml" ContentType="application/vnd.ms-office.chartcolorstyle+xml"/>
  <Override PartName="/ppt/tags/tag194.xml" ContentType="application/vnd.openxmlformats-officedocument.presentationml.tags+xml"/>
  <Override PartName="/ppt/charts/chart168.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169.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170.xml" ContentType="application/vnd.openxmlformats-officedocument.drawingml.chart+xml"/>
  <Override PartName="/ppt/charts/style47.xml" ContentType="application/vnd.ms-office.chartstyle+xml"/>
  <Override PartName="/ppt/charts/colors47.xml" ContentType="application/vnd.ms-office.chartcolorstyle+xml"/>
  <Override PartName="/ppt/tags/tag195.xml" ContentType="application/vnd.openxmlformats-officedocument.presentationml.tags+xml"/>
  <Override PartName="/ppt/charts/chart171.xml" ContentType="application/vnd.openxmlformats-officedocument.drawingml.chart+xml"/>
  <Override PartName="/ppt/charts/style48.xml" ContentType="application/vnd.ms-office.chartstyle+xml"/>
  <Override PartName="/ppt/charts/colors48.xml" ContentType="application/vnd.ms-office.chartcolorstyle+xml"/>
  <Override PartName="/ppt/charts/chart172.xml" ContentType="application/vnd.openxmlformats-officedocument.drawingml.chart+xml"/>
  <Override PartName="/ppt/charts/style49.xml" ContentType="application/vnd.ms-office.chartstyle+xml"/>
  <Override PartName="/ppt/charts/colors49.xml" ContentType="application/vnd.ms-office.chartcolorstyle+xml"/>
  <Override PartName="/ppt/tags/tag196.xml" ContentType="application/vnd.openxmlformats-officedocument.presentationml.tags+xml"/>
  <Override PartName="/ppt/charts/chart173.xml" ContentType="application/vnd.openxmlformats-officedocument.drawingml.chart+xml"/>
  <Override PartName="/ppt/charts/style50.xml" ContentType="application/vnd.ms-office.chartstyle+xml"/>
  <Override PartName="/ppt/charts/colors50.xml" ContentType="application/vnd.ms-office.chartcolorstyle+xml"/>
  <Override PartName="/ppt/charts/chart174.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175.xml" ContentType="application/vnd.openxmlformats-officedocument.drawingml.chart+xml"/>
  <Override PartName="/ppt/charts/style52.xml" ContentType="application/vnd.ms-office.chartstyle+xml"/>
  <Override PartName="/ppt/charts/colors52.xml" ContentType="application/vnd.ms-office.chartcolorstyle+xml"/>
  <Override PartName="/ppt/charts/chart176.xml" ContentType="application/vnd.openxmlformats-officedocument.drawingml.chart+xml"/>
  <Override PartName="/ppt/charts/style53.xml" ContentType="application/vnd.ms-office.chartstyle+xml"/>
  <Override PartName="/ppt/charts/colors53.xml" ContentType="application/vnd.ms-office.chartcolorstyle+xml"/>
  <Override PartName="/ppt/tags/tag197.xml" ContentType="application/vnd.openxmlformats-officedocument.presentationml.tags+xml"/>
  <Override PartName="/ppt/charts/chart177.xml" ContentType="application/vnd.openxmlformats-officedocument.drawingml.chart+xml"/>
  <Override PartName="/ppt/charts/style54.xml" ContentType="application/vnd.ms-office.chartstyle+xml"/>
  <Override PartName="/ppt/charts/colors54.xml" ContentType="application/vnd.ms-office.chartcolorstyle+xml"/>
  <Override PartName="/ppt/charts/chart178.xml" ContentType="application/vnd.openxmlformats-officedocument.drawingml.chart+xml"/>
  <Override PartName="/ppt/charts/style55.xml" ContentType="application/vnd.ms-office.chartstyle+xml"/>
  <Override PartName="/ppt/charts/colors55.xml" ContentType="application/vnd.ms-office.chartcolorstyle+xml"/>
  <Override PartName="/ppt/tags/tag198.xml" ContentType="application/vnd.openxmlformats-officedocument.presentationml.tags+xml"/>
  <Override PartName="/ppt/charts/chart179.xml" ContentType="application/vnd.openxmlformats-officedocument.drawingml.chart+xml"/>
  <Override PartName="/ppt/charts/style56.xml" ContentType="application/vnd.ms-office.chartstyle+xml"/>
  <Override PartName="/ppt/charts/colors56.xml" ContentType="application/vnd.ms-office.chartcolorstyle+xml"/>
  <Override PartName="/ppt/charts/chart180.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181.xml" ContentType="application/vnd.openxmlformats-officedocument.drawingml.chart+xml"/>
  <Override PartName="/ppt/charts/style58.xml" ContentType="application/vnd.ms-office.chartstyle+xml"/>
  <Override PartName="/ppt/charts/colors58.xml" ContentType="application/vnd.ms-office.chartcolorstyle+xml"/>
  <Override PartName="/ppt/tags/tag199.xml" ContentType="application/vnd.openxmlformats-officedocument.presentationml.tags+xml"/>
  <Override PartName="/ppt/charts/chart182.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183.xml" ContentType="application/vnd.openxmlformats-officedocument.drawingml.chart+xml"/>
  <Override PartName="/ppt/charts/style60.xml" ContentType="application/vnd.ms-office.chartstyle+xml"/>
  <Override PartName="/ppt/charts/colors60.xml" ContentType="application/vnd.ms-office.chartcolorstyle+xml"/>
  <Override PartName="/ppt/tags/tag200.xml" ContentType="application/vnd.openxmlformats-officedocument.presentationml.tags+xml"/>
  <Override PartName="/ppt/charts/chart184.xml" ContentType="application/vnd.openxmlformats-officedocument.drawingml.chart+xml"/>
  <Override PartName="/ppt/charts/style61.xml" ContentType="application/vnd.ms-office.chartstyle+xml"/>
  <Override PartName="/ppt/charts/colors61.xml" ContentType="application/vnd.ms-office.chartcolorstyle+xml"/>
  <Override PartName="/ppt/charts/chart185.xml" ContentType="application/vnd.openxmlformats-officedocument.drawingml.chart+xml"/>
  <Override PartName="/ppt/charts/style62.xml" ContentType="application/vnd.ms-office.chartstyle+xml"/>
  <Override PartName="/ppt/charts/colors62.xml" ContentType="application/vnd.ms-office.chartcolorstyle+xml"/>
  <Override PartName="/ppt/charts/chart186.xml" ContentType="application/vnd.openxmlformats-officedocument.drawingml.chart+xml"/>
  <Override PartName="/ppt/charts/style63.xml" ContentType="application/vnd.ms-office.chartstyle+xml"/>
  <Override PartName="/ppt/charts/colors63.xml" ContentType="application/vnd.ms-office.chartcolorstyle+xml"/>
  <Override PartName="/ppt/charts/chart187.xml" ContentType="application/vnd.openxmlformats-officedocument.drawingml.chart+xml"/>
  <Override PartName="/ppt/charts/style64.xml" ContentType="application/vnd.ms-office.chartstyle+xml"/>
  <Override PartName="/ppt/charts/colors64.xml" ContentType="application/vnd.ms-office.chartcolorstyle+xml"/>
  <Override PartName="/ppt/tags/tag201.xml" ContentType="application/vnd.openxmlformats-officedocument.presentationml.tags+xml"/>
  <Override PartName="/ppt/charts/chart188.xml" ContentType="application/vnd.openxmlformats-officedocument.drawingml.chart+xml"/>
  <Override PartName="/ppt/charts/style65.xml" ContentType="application/vnd.ms-office.chartstyle+xml"/>
  <Override PartName="/ppt/charts/colors65.xml" ContentType="application/vnd.ms-office.chartcolorstyle+xml"/>
  <Override PartName="/ppt/charts/chart189.xml" ContentType="application/vnd.openxmlformats-officedocument.drawingml.chart+xml"/>
  <Override PartName="/ppt/charts/style66.xml" ContentType="application/vnd.ms-office.chartstyle+xml"/>
  <Override PartName="/ppt/charts/colors66.xml" ContentType="application/vnd.ms-office.chartcolorstyle+xml"/>
  <Override PartName="/ppt/charts/chart190.xml" ContentType="application/vnd.openxmlformats-officedocument.drawingml.chart+xml"/>
  <Override PartName="/ppt/charts/style67.xml" ContentType="application/vnd.ms-office.chartstyle+xml"/>
  <Override PartName="/ppt/charts/colors67.xml" ContentType="application/vnd.ms-office.chartcolorstyle+xml"/>
  <Override PartName="/ppt/charts/chart191.xml" ContentType="application/vnd.openxmlformats-officedocument.drawingml.chart+xml"/>
  <Override PartName="/ppt/charts/style68.xml" ContentType="application/vnd.ms-office.chartstyle+xml"/>
  <Override PartName="/ppt/charts/colors68.xml" ContentType="application/vnd.ms-office.chartcolorstyle+xml"/>
  <Override PartName="/ppt/tags/tag202.xml" ContentType="application/vnd.openxmlformats-officedocument.presentationml.tags+xml"/>
  <Override PartName="/ppt/charts/chart192.xml" ContentType="application/vnd.openxmlformats-officedocument.drawingml.chart+xml"/>
  <Override PartName="/ppt/charts/style69.xml" ContentType="application/vnd.ms-office.chartstyle+xml"/>
  <Override PartName="/ppt/charts/colors69.xml" ContentType="application/vnd.ms-office.chartcolorstyle+xml"/>
  <Override PartName="/ppt/charts/chart193.xml" ContentType="application/vnd.openxmlformats-officedocument.drawingml.chart+xml"/>
  <Override PartName="/ppt/charts/style70.xml" ContentType="application/vnd.ms-office.chartstyle+xml"/>
  <Override PartName="/ppt/charts/colors70.xml" ContentType="application/vnd.ms-office.chartcolorstyle+xml"/>
  <Override PartName="/ppt/tags/tag203.xml" ContentType="application/vnd.openxmlformats-officedocument.presentationml.tags+xml"/>
  <Override PartName="/ppt/charts/chart194.xml" ContentType="application/vnd.openxmlformats-officedocument.drawingml.chart+xml"/>
  <Override PartName="/ppt/charts/style71.xml" ContentType="application/vnd.ms-office.chartstyle+xml"/>
  <Override PartName="/ppt/charts/colors71.xml" ContentType="application/vnd.ms-office.chartcolorstyle+xml"/>
  <Override PartName="/ppt/charts/chart195.xml" ContentType="application/vnd.openxmlformats-officedocument.drawingml.chart+xml"/>
  <Override PartName="/ppt/charts/style72.xml" ContentType="application/vnd.ms-office.chartstyle+xml"/>
  <Override PartName="/ppt/charts/colors72.xml" ContentType="application/vnd.ms-office.chartcolorstyle+xml"/>
  <Override PartName="/ppt/tags/tag204.xml" ContentType="application/vnd.openxmlformats-officedocument.presentationml.tags+xml"/>
  <Override PartName="/ppt/charts/chart196.xml" ContentType="application/vnd.openxmlformats-officedocument.drawingml.chart+xml"/>
  <Override PartName="/ppt/charts/style73.xml" ContentType="application/vnd.ms-office.chartstyle+xml"/>
  <Override PartName="/ppt/charts/colors73.xml" ContentType="application/vnd.ms-office.chartcolorstyle+xml"/>
  <Override PartName="/ppt/charts/chart197.xml" ContentType="application/vnd.openxmlformats-officedocument.drawingml.chart+xml"/>
  <Override PartName="/ppt/charts/style74.xml" ContentType="application/vnd.ms-office.chartstyle+xml"/>
  <Override PartName="/ppt/charts/colors74.xml" ContentType="application/vnd.ms-office.chartcolorstyle+xml"/>
  <Override PartName="/ppt/tags/tag205.xml" ContentType="application/vnd.openxmlformats-officedocument.presentationml.tags+xml"/>
  <Override PartName="/ppt/charts/chart198.xml" ContentType="application/vnd.openxmlformats-officedocument.drawingml.chart+xml"/>
  <Override PartName="/ppt/charts/style75.xml" ContentType="application/vnd.ms-office.chartstyle+xml"/>
  <Override PartName="/ppt/charts/colors75.xml" ContentType="application/vnd.ms-office.chartcolorstyle+xml"/>
  <Override PartName="/ppt/charts/chart199.xml" ContentType="application/vnd.openxmlformats-officedocument.drawingml.chart+xml"/>
  <Override PartName="/ppt/charts/style76.xml" ContentType="application/vnd.ms-office.chartstyle+xml"/>
  <Override PartName="/ppt/charts/colors76.xml" ContentType="application/vnd.ms-office.chartcolorstyle+xml"/>
  <Override PartName="/ppt/tags/tag206.xml" ContentType="application/vnd.openxmlformats-officedocument.presentationml.tags+xml"/>
  <Override PartName="/ppt/charts/chart200.xml" ContentType="application/vnd.openxmlformats-officedocument.drawingml.chart+xml"/>
  <Override PartName="/ppt/charts/style77.xml" ContentType="application/vnd.ms-office.chartstyle+xml"/>
  <Override PartName="/ppt/charts/colors77.xml" ContentType="application/vnd.ms-office.chartcolorstyle+xml"/>
  <Override PartName="/ppt/charts/chart201.xml" ContentType="application/vnd.openxmlformats-officedocument.drawingml.chart+xml"/>
  <Override PartName="/ppt/charts/style78.xml" ContentType="application/vnd.ms-office.chartstyle+xml"/>
  <Override PartName="/ppt/charts/colors78.xml" ContentType="application/vnd.ms-office.chartcolorstyle+xml"/>
  <Override PartName="/ppt/tags/tag207.xml" ContentType="application/vnd.openxmlformats-officedocument.presentationml.tags+xml"/>
  <Override PartName="/ppt/charts/chart202.xml" ContentType="application/vnd.openxmlformats-officedocument.drawingml.chart+xml"/>
  <Override PartName="/ppt/charts/style79.xml" ContentType="application/vnd.ms-office.chartstyle+xml"/>
  <Override PartName="/ppt/charts/colors79.xml" ContentType="application/vnd.ms-office.chartcolorstyle+xml"/>
  <Override PartName="/ppt/charts/chart203.xml" ContentType="application/vnd.openxmlformats-officedocument.drawingml.chart+xml"/>
  <Override PartName="/ppt/charts/style80.xml" ContentType="application/vnd.ms-office.chartstyle+xml"/>
  <Override PartName="/ppt/charts/colors80.xml" ContentType="application/vnd.ms-office.chartcolorstyle+xml"/>
  <Override PartName="/ppt/tags/tag208.xml" ContentType="application/vnd.openxmlformats-officedocument.presentationml.tags+xml"/>
  <Override PartName="/ppt/charts/chart204.xml" ContentType="application/vnd.openxmlformats-officedocument.drawingml.chart+xml"/>
  <Override PartName="/ppt/charts/style81.xml" ContentType="application/vnd.ms-office.chartstyle+xml"/>
  <Override PartName="/ppt/charts/colors81.xml" ContentType="application/vnd.ms-office.chartcolorstyle+xml"/>
  <Override PartName="/ppt/charts/chart205.xml" ContentType="application/vnd.openxmlformats-officedocument.drawingml.chart+xml"/>
  <Override PartName="/ppt/charts/style82.xml" ContentType="application/vnd.ms-office.chartstyle+xml"/>
  <Override PartName="/ppt/charts/colors82.xml" ContentType="application/vnd.ms-office.chartcolorstyle+xml"/>
  <Override PartName="/ppt/tags/tag209.xml" ContentType="application/vnd.openxmlformats-officedocument.presentationml.tags+xml"/>
  <Override PartName="/ppt/charts/chart206.xml" ContentType="application/vnd.openxmlformats-officedocument.drawingml.chart+xml"/>
  <Override PartName="/ppt/charts/style83.xml" ContentType="application/vnd.ms-office.chartstyle+xml"/>
  <Override PartName="/ppt/charts/colors83.xml" ContentType="application/vnd.ms-office.chartcolorstyle+xml"/>
  <Override PartName="/ppt/charts/chart207.xml" ContentType="application/vnd.openxmlformats-officedocument.drawingml.chart+xml"/>
  <Override PartName="/ppt/charts/style84.xml" ContentType="application/vnd.ms-office.chartstyle+xml"/>
  <Override PartName="/ppt/charts/colors84.xml" ContentType="application/vnd.ms-office.chartcolorstyle+xml"/>
  <Override PartName="/ppt/tags/tag210.xml" ContentType="application/vnd.openxmlformats-officedocument.presentationml.tags+xml"/>
  <Override PartName="/ppt/charts/chart208.xml" ContentType="application/vnd.openxmlformats-officedocument.drawingml.chart+xml"/>
  <Override PartName="/ppt/charts/style85.xml" ContentType="application/vnd.ms-office.chartstyle+xml"/>
  <Override PartName="/ppt/charts/colors85.xml" ContentType="application/vnd.ms-office.chartcolorstyle+xml"/>
  <Override PartName="/ppt/charts/chart209.xml" ContentType="application/vnd.openxmlformats-officedocument.drawingml.chart+xml"/>
  <Override PartName="/ppt/charts/style86.xml" ContentType="application/vnd.ms-office.chartstyle+xml"/>
  <Override PartName="/ppt/charts/colors86.xml" ContentType="application/vnd.ms-office.chartcolorstyle+xml"/>
  <Override PartName="/ppt/tags/tag211.xml" ContentType="application/vnd.openxmlformats-officedocument.presentationml.tags+xml"/>
  <Override PartName="/ppt/charts/chart210.xml" ContentType="application/vnd.openxmlformats-officedocument.drawingml.chart+xml"/>
  <Override PartName="/ppt/charts/style87.xml" ContentType="application/vnd.ms-office.chartstyle+xml"/>
  <Override PartName="/ppt/charts/colors87.xml" ContentType="application/vnd.ms-office.chartcolorstyle+xml"/>
  <Override PartName="/ppt/charts/chart211.xml" ContentType="application/vnd.openxmlformats-officedocument.drawingml.chart+xml"/>
  <Override PartName="/ppt/charts/style88.xml" ContentType="application/vnd.ms-office.chartstyle+xml"/>
  <Override PartName="/ppt/charts/colors88.xml" ContentType="application/vnd.ms-office.chartcolorstyle+xml"/>
  <Override PartName="/ppt/tags/tag212.xml" ContentType="application/vnd.openxmlformats-officedocument.presentationml.tags+xml"/>
  <Override PartName="/ppt/charts/chart212.xml" ContentType="application/vnd.openxmlformats-officedocument.drawingml.chart+xml"/>
  <Override PartName="/ppt/charts/style89.xml" ContentType="application/vnd.ms-office.chartstyle+xml"/>
  <Override PartName="/ppt/charts/colors89.xml" ContentType="application/vnd.ms-office.chartcolorstyle+xml"/>
  <Override PartName="/ppt/charts/chart213.xml" ContentType="application/vnd.openxmlformats-officedocument.drawingml.chart+xml"/>
  <Override PartName="/ppt/charts/style90.xml" ContentType="application/vnd.ms-office.chartstyle+xml"/>
  <Override PartName="/ppt/charts/colors90.xml" ContentType="application/vnd.ms-office.chartcolorstyle+xml"/>
  <Override PartName="/ppt/tags/tag213.xml" ContentType="application/vnd.openxmlformats-officedocument.presentationml.tags+xml"/>
  <Override PartName="/ppt/charts/chart214.xml" ContentType="application/vnd.openxmlformats-officedocument.drawingml.chart+xml"/>
  <Override PartName="/ppt/charts/style91.xml" ContentType="application/vnd.ms-office.chartstyle+xml"/>
  <Override PartName="/ppt/charts/colors91.xml" ContentType="application/vnd.ms-office.chartcolorstyle+xml"/>
  <Override PartName="/ppt/charts/chart215.xml" ContentType="application/vnd.openxmlformats-officedocument.drawingml.chart+xml"/>
  <Override PartName="/ppt/charts/style92.xml" ContentType="application/vnd.ms-office.chartstyle+xml"/>
  <Override PartName="/ppt/charts/colors92.xml" ContentType="application/vnd.ms-office.chartcolorstyle+xml"/>
  <Override PartName="/ppt/tags/tag214.xml" ContentType="application/vnd.openxmlformats-officedocument.presentationml.tags+xml"/>
  <Override PartName="/ppt/charts/chart216.xml" ContentType="application/vnd.openxmlformats-officedocument.drawingml.chart+xml"/>
  <Override PartName="/ppt/charts/style93.xml" ContentType="application/vnd.ms-office.chartstyle+xml"/>
  <Override PartName="/ppt/charts/colors93.xml" ContentType="application/vnd.ms-office.chartcolorstyle+xml"/>
  <Override PartName="/ppt/charts/chart217.xml" ContentType="application/vnd.openxmlformats-officedocument.drawingml.chart+xml"/>
  <Override PartName="/ppt/charts/style94.xml" ContentType="application/vnd.ms-office.chartstyle+xml"/>
  <Override PartName="/ppt/charts/colors94.xml" ContentType="application/vnd.ms-office.chartcolorstyle+xml"/>
  <Override PartName="/ppt/tags/tag215.xml" ContentType="application/vnd.openxmlformats-officedocument.presentationml.tags+xml"/>
  <Override PartName="/ppt/charts/chart218.xml" ContentType="application/vnd.openxmlformats-officedocument.drawingml.chart+xml"/>
  <Override PartName="/ppt/charts/style95.xml" ContentType="application/vnd.ms-office.chartstyle+xml"/>
  <Override PartName="/ppt/charts/colors95.xml" ContentType="application/vnd.ms-office.chartcolorstyle+xml"/>
  <Override PartName="/ppt/charts/chart219.xml" ContentType="application/vnd.openxmlformats-officedocument.drawingml.chart+xml"/>
  <Override PartName="/ppt/charts/style96.xml" ContentType="application/vnd.ms-office.chartstyle+xml"/>
  <Override PartName="/ppt/charts/colors96.xml" ContentType="application/vnd.ms-office.chartcolorstyle+xml"/>
  <Override PartName="/ppt/tags/tag216.xml" ContentType="application/vnd.openxmlformats-officedocument.presentationml.tags+xml"/>
  <Override PartName="/ppt/charts/chart220.xml" ContentType="application/vnd.openxmlformats-officedocument.drawingml.chart+xml"/>
  <Override PartName="/ppt/charts/style97.xml" ContentType="application/vnd.ms-office.chartstyle+xml"/>
  <Override PartName="/ppt/charts/colors97.xml" ContentType="application/vnd.ms-office.chartcolorstyle+xml"/>
  <Override PartName="/ppt/charts/chart221.xml" ContentType="application/vnd.openxmlformats-officedocument.drawingml.chart+xml"/>
  <Override PartName="/ppt/charts/style98.xml" ContentType="application/vnd.ms-office.chartstyle+xml"/>
  <Override PartName="/ppt/charts/colors98.xml" ContentType="application/vnd.ms-office.chartcolorstyle+xml"/>
  <Override PartName="/ppt/tags/tag217.xml" ContentType="application/vnd.openxmlformats-officedocument.presentationml.tags+xml"/>
  <Override PartName="/ppt/charts/chart222.xml" ContentType="application/vnd.openxmlformats-officedocument.drawingml.chart+xml"/>
  <Override PartName="/ppt/charts/style99.xml" ContentType="application/vnd.ms-office.chartstyle+xml"/>
  <Override PartName="/ppt/charts/colors99.xml" ContentType="application/vnd.ms-office.chartcolorstyle+xml"/>
  <Override PartName="/ppt/charts/chart223.xml" ContentType="application/vnd.openxmlformats-officedocument.drawingml.chart+xml"/>
  <Override PartName="/ppt/charts/style100.xml" ContentType="application/vnd.ms-office.chartstyle+xml"/>
  <Override PartName="/ppt/charts/colors100.xml" ContentType="application/vnd.ms-office.chartcolorstyle+xml"/>
  <Override PartName="/ppt/tags/tag218.xml" ContentType="application/vnd.openxmlformats-officedocument.presentationml.tags+xml"/>
  <Override PartName="/ppt/charts/chart224.xml" ContentType="application/vnd.openxmlformats-officedocument.drawingml.chart+xml"/>
  <Override PartName="/ppt/charts/style101.xml" ContentType="application/vnd.ms-office.chartstyle+xml"/>
  <Override PartName="/ppt/charts/colors101.xml" ContentType="application/vnd.ms-office.chartcolorstyle+xml"/>
  <Override PartName="/ppt/charts/chart225.xml" ContentType="application/vnd.openxmlformats-officedocument.drawingml.chart+xml"/>
  <Override PartName="/ppt/charts/style102.xml" ContentType="application/vnd.ms-office.chartstyle+xml"/>
  <Override PartName="/ppt/charts/colors102.xml" ContentType="application/vnd.ms-office.chartcolorstyle+xml"/>
  <Override PartName="/ppt/tags/tag219.xml" ContentType="application/vnd.openxmlformats-officedocument.presentationml.tags+xml"/>
  <Override PartName="/ppt/charts/chart226.xml" ContentType="application/vnd.openxmlformats-officedocument.drawingml.chart+xml"/>
  <Override PartName="/ppt/charts/style103.xml" ContentType="application/vnd.ms-office.chartstyle+xml"/>
  <Override PartName="/ppt/charts/colors103.xml" ContentType="application/vnd.ms-office.chartcolorstyle+xml"/>
  <Override PartName="/ppt/charts/chart227.xml" ContentType="application/vnd.openxmlformats-officedocument.drawingml.chart+xml"/>
  <Override PartName="/ppt/charts/style104.xml" ContentType="application/vnd.ms-office.chartstyle+xml"/>
  <Override PartName="/ppt/charts/colors104.xml" ContentType="application/vnd.ms-office.chartcolorstyle+xml"/>
  <Override PartName="/ppt/tags/tag220.xml" ContentType="application/vnd.openxmlformats-officedocument.presentationml.tags+xml"/>
  <Override PartName="/ppt/charts/chart228.xml" ContentType="application/vnd.openxmlformats-officedocument.drawingml.chart+xml"/>
  <Override PartName="/ppt/charts/style105.xml" ContentType="application/vnd.ms-office.chartstyle+xml"/>
  <Override PartName="/ppt/charts/colors105.xml" ContentType="application/vnd.ms-office.chartcolorstyle+xml"/>
  <Override PartName="/ppt/charts/chart229.xml" ContentType="application/vnd.openxmlformats-officedocument.drawingml.chart+xml"/>
  <Override PartName="/ppt/charts/style106.xml" ContentType="application/vnd.ms-office.chartstyle+xml"/>
  <Override PartName="/ppt/charts/colors106.xml" ContentType="application/vnd.ms-office.chartcolorstyle+xml"/>
  <Override PartName="/ppt/tags/tag221.xml" ContentType="application/vnd.openxmlformats-officedocument.presentationml.tags+xml"/>
  <Override PartName="/ppt/charts/chart230.xml" ContentType="application/vnd.openxmlformats-officedocument.drawingml.chart+xml"/>
  <Override PartName="/ppt/charts/style107.xml" ContentType="application/vnd.ms-office.chartstyle+xml"/>
  <Override PartName="/ppt/charts/colors107.xml" ContentType="application/vnd.ms-office.chartcolorstyle+xml"/>
  <Override PartName="/ppt/charts/chart231.xml" ContentType="application/vnd.openxmlformats-officedocument.drawingml.chart+xml"/>
  <Override PartName="/ppt/charts/style108.xml" ContentType="application/vnd.ms-office.chartstyle+xml"/>
  <Override PartName="/ppt/charts/colors108.xml" ContentType="application/vnd.ms-office.chartcolorstyle+xml"/>
  <Override PartName="/ppt/tags/tag222.xml" ContentType="application/vnd.openxmlformats-officedocument.presentationml.tags+xml"/>
  <Override PartName="/ppt/charts/chart232.xml" ContentType="application/vnd.openxmlformats-officedocument.drawingml.chart+xml"/>
  <Override PartName="/ppt/charts/style109.xml" ContentType="application/vnd.ms-office.chartstyle+xml"/>
  <Override PartName="/ppt/charts/colors109.xml" ContentType="application/vnd.ms-office.chartcolorstyle+xml"/>
  <Override PartName="/ppt/charts/chart233.xml" ContentType="application/vnd.openxmlformats-officedocument.drawingml.chart+xml"/>
  <Override PartName="/ppt/charts/style110.xml" ContentType="application/vnd.ms-office.chartstyle+xml"/>
  <Override PartName="/ppt/charts/colors110.xml" ContentType="application/vnd.ms-office.chartcolorstyle+xml"/>
  <Override PartName="/ppt/tags/tag223.xml" ContentType="application/vnd.openxmlformats-officedocument.presentationml.tags+xml"/>
  <Override PartName="/ppt/charts/chart234.xml" ContentType="application/vnd.openxmlformats-officedocument.drawingml.chart+xml"/>
  <Override PartName="/ppt/charts/style111.xml" ContentType="application/vnd.ms-office.chartstyle+xml"/>
  <Override PartName="/ppt/charts/colors111.xml" ContentType="application/vnd.ms-office.chartcolorstyle+xml"/>
  <Override PartName="/ppt/charts/chart235.xml" ContentType="application/vnd.openxmlformats-officedocument.drawingml.chart+xml"/>
  <Override PartName="/ppt/charts/style112.xml" ContentType="application/vnd.ms-office.chartstyle+xml"/>
  <Override PartName="/ppt/charts/colors112.xml" ContentType="application/vnd.ms-office.chartcolorstyle+xml"/>
  <Override PartName="/ppt/tags/tag224.xml" ContentType="application/vnd.openxmlformats-officedocument.presentationml.tags+xml"/>
  <Override PartName="/ppt/charts/chart236.xml" ContentType="application/vnd.openxmlformats-officedocument.drawingml.chart+xml"/>
  <Override PartName="/ppt/tags/tag225.xml" ContentType="application/vnd.openxmlformats-officedocument.presentationml.tags+xml"/>
  <Override PartName="/ppt/charts/chart237.xml" ContentType="application/vnd.openxmlformats-officedocument.drawingml.chart+xml"/>
  <Override PartName="/ppt/tags/tag226.xml" ContentType="application/vnd.openxmlformats-officedocument.presentationml.tags+xml"/>
  <Override PartName="/ppt/charts/chart238.xml" ContentType="application/vnd.openxmlformats-officedocument.drawingml.chart+xml"/>
  <Override PartName="/ppt/charts/chart239.xml" ContentType="application/vnd.openxmlformats-officedocument.drawingml.chart+xml"/>
  <Override PartName="/ppt/tags/tag227.xml" ContentType="application/vnd.openxmlformats-officedocument.presentationml.tags+xml"/>
  <Override PartName="/ppt/charts/chart240.xml" ContentType="application/vnd.openxmlformats-officedocument.drawingml.chart+xml"/>
  <Override PartName="/ppt/charts/chart241.xml" ContentType="application/vnd.openxmlformats-officedocument.drawingml.chart+xml"/>
  <Override PartName="/ppt/tags/tag228.xml" ContentType="application/vnd.openxmlformats-officedocument.presentationml.tags+xml"/>
  <Override PartName="/ppt/charts/chart242.xml" ContentType="application/vnd.openxmlformats-officedocument.drawingml.chart+xml"/>
  <Override PartName="/ppt/tags/tag229.xml" ContentType="application/vnd.openxmlformats-officedocument.presentationml.tags+xml"/>
  <Override PartName="/ppt/charts/chart243.xml" ContentType="application/vnd.openxmlformats-officedocument.drawingml.chart+xml"/>
  <Override PartName="/ppt/tags/tag230.xml" ContentType="application/vnd.openxmlformats-officedocument.presentationml.tags+xml"/>
  <Override PartName="/ppt/charts/chart244.xml" ContentType="application/vnd.openxmlformats-officedocument.drawingml.chart+xml"/>
  <Override PartName="/ppt/charts/chart245.xml" ContentType="application/vnd.openxmlformats-officedocument.drawingml.chart+xml"/>
  <Override PartName="/ppt/tags/tag231.xml" ContentType="application/vnd.openxmlformats-officedocument.presentationml.tags+xml"/>
  <Override PartName="/ppt/charts/chart246.xml" ContentType="application/vnd.openxmlformats-officedocument.drawingml.chart+xml"/>
  <Override PartName="/ppt/charts/chart247.xml" ContentType="application/vnd.openxmlformats-officedocument.drawingml.chart+xml"/>
  <Override PartName="/ppt/tags/tag232.xml" ContentType="application/vnd.openxmlformats-officedocument.presentationml.tags+xml"/>
  <Override PartName="/ppt/notesSlides/notesSlide73.xml" ContentType="application/vnd.openxmlformats-officedocument.presentationml.notesSlide+xml"/>
  <Override PartName="/ppt/charts/chart248.xml" ContentType="application/vnd.openxmlformats-officedocument.drawingml.chart+xml"/>
  <Override PartName="/ppt/charts/style113.xml" ContentType="application/vnd.ms-office.chartstyle+xml"/>
  <Override PartName="/ppt/charts/colors113.xml" ContentType="application/vnd.ms-office.chartcolorstyle+xml"/>
  <Override PartName="/ppt/charts/chart249.xml" ContentType="application/vnd.openxmlformats-officedocument.drawingml.chart+xml"/>
  <Override PartName="/ppt/charts/style114.xml" ContentType="application/vnd.ms-office.chartstyle+xml"/>
  <Override PartName="/ppt/charts/colors114.xml" ContentType="application/vnd.ms-office.chartcolorstyle+xml"/>
  <Override PartName="/ppt/charts/chart250.xml" ContentType="application/vnd.openxmlformats-officedocument.drawingml.chart+xml"/>
  <Override PartName="/ppt/charts/style115.xml" ContentType="application/vnd.ms-office.chartstyle+xml"/>
  <Override PartName="/ppt/charts/colors115.xml" ContentType="application/vnd.ms-office.chartcolorstyle+xml"/>
  <Override PartName="/ppt/tags/tag233.xml" ContentType="application/vnd.openxmlformats-officedocument.presentationml.tags+xml"/>
  <Override PartName="/ppt/notesSlides/notesSlide74.xml" ContentType="application/vnd.openxmlformats-officedocument.presentationml.notesSlide+xml"/>
  <Override PartName="/ppt/charts/chart251.xml" ContentType="application/vnd.openxmlformats-officedocument.drawingml.chart+xml"/>
  <Override PartName="/ppt/charts/style116.xml" ContentType="application/vnd.ms-office.chartstyle+xml"/>
  <Override PartName="/ppt/charts/colors116.xml" ContentType="application/vnd.ms-office.chartcolorstyle+xml"/>
  <Override PartName="/ppt/charts/chart252.xml" ContentType="application/vnd.openxmlformats-officedocument.drawingml.chart+xml"/>
  <Override PartName="/ppt/charts/style117.xml" ContentType="application/vnd.ms-office.chartstyle+xml"/>
  <Override PartName="/ppt/charts/colors117.xml" ContentType="application/vnd.ms-office.chartcolorstyle+xml"/>
  <Override PartName="/ppt/charts/chart253.xml" ContentType="application/vnd.openxmlformats-officedocument.drawingml.chart+xml"/>
  <Override PartName="/ppt/charts/style118.xml" ContentType="application/vnd.ms-office.chartstyle+xml"/>
  <Override PartName="/ppt/charts/colors118.xml" ContentType="application/vnd.ms-office.chartcolorstyle+xml"/>
  <Override PartName="/ppt/tags/tag234.xml" ContentType="application/vnd.openxmlformats-officedocument.presentationml.tags+xml"/>
  <Override PartName="/ppt/notesSlides/notesSlide75.xml" ContentType="application/vnd.openxmlformats-officedocument.presentationml.notesSlide+xml"/>
  <Override PartName="/ppt/charts/chart254.xml" ContentType="application/vnd.openxmlformats-officedocument.drawingml.chart+xml"/>
  <Override PartName="/ppt/charts/style119.xml" ContentType="application/vnd.ms-office.chartstyle+xml"/>
  <Override PartName="/ppt/charts/colors119.xml" ContentType="application/vnd.ms-office.chartcolorstyle+xml"/>
  <Override PartName="/ppt/charts/chart255.xml" ContentType="application/vnd.openxmlformats-officedocument.drawingml.chart+xml"/>
  <Override PartName="/ppt/charts/style120.xml" ContentType="application/vnd.ms-office.chartstyle+xml"/>
  <Override PartName="/ppt/charts/colors120.xml" ContentType="application/vnd.ms-office.chartcolorstyle+xml"/>
  <Override PartName="/ppt/tags/tag235.xml" ContentType="application/vnd.openxmlformats-officedocument.presentationml.tags+xml"/>
  <Override PartName="/ppt/notesSlides/notesSlide76.xml" ContentType="application/vnd.openxmlformats-officedocument.presentationml.notesSlide+xml"/>
  <Override PartName="/ppt/charts/chart256.xml" ContentType="application/vnd.openxmlformats-officedocument.drawingml.chart+xml"/>
  <Override PartName="/ppt/charts/style121.xml" ContentType="application/vnd.ms-office.chartstyle+xml"/>
  <Override PartName="/ppt/charts/colors121.xml" ContentType="application/vnd.ms-office.chartcolorstyle+xml"/>
  <Override PartName="/ppt/charts/chart257.xml" ContentType="application/vnd.openxmlformats-officedocument.drawingml.chart+xml"/>
  <Override PartName="/ppt/charts/style122.xml" ContentType="application/vnd.ms-office.chartstyle+xml"/>
  <Override PartName="/ppt/charts/colors122.xml" ContentType="application/vnd.ms-office.chartcolorstyle+xml"/>
  <Override PartName="/ppt/charts/chart258.xml" ContentType="application/vnd.openxmlformats-officedocument.drawingml.chart+xml"/>
  <Override PartName="/ppt/charts/style123.xml" ContentType="application/vnd.ms-office.chartstyle+xml"/>
  <Override PartName="/ppt/charts/colors123.xml" ContentType="application/vnd.ms-office.chartcolorstyle+xml"/>
  <Override PartName="/ppt/tags/tag236.xml" ContentType="application/vnd.openxmlformats-officedocument.presentationml.tags+xml"/>
  <Override PartName="/ppt/notesSlides/notesSlide77.xml" ContentType="application/vnd.openxmlformats-officedocument.presentationml.notesSlide+xml"/>
  <Override PartName="/ppt/charts/chart259.xml" ContentType="application/vnd.openxmlformats-officedocument.drawingml.chart+xml"/>
  <Override PartName="/ppt/charts/style124.xml" ContentType="application/vnd.ms-office.chartstyle+xml"/>
  <Override PartName="/ppt/charts/colors124.xml" ContentType="application/vnd.ms-office.chartcolorstyle+xml"/>
  <Override PartName="/ppt/charts/chart260.xml" ContentType="application/vnd.openxmlformats-officedocument.drawingml.chart+xml"/>
  <Override PartName="/ppt/charts/style125.xml" ContentType="application/vnd.ms-office.chartstyle+xml"/>
  <Override PartName="/ppt/charts/colors125.xml" ContentType="application/vnd.ms-office.chartcolorstyle+xml"/>
  <Override PartName="/ppt/tags/tag237.xml" ContentType="application/vnd.openxmlformats-officedocument.presentationml.tags+xml"/>
  <Override PartName="/ppt/notesSlides/notesSlide78.xml" ContentType="application/vnd.openxmlformats-officedocument.presentationml.notesSlide+xml"/>
  <Override PartName="/ppt/charts/chart261.xml" ContentType="application/vnd.openxmlformats-officedocument.drawingml.chart+xml"/>
  <Override PartName="/ppt/charts/style126.xml" ContentType="application/vnd.ms-office.chartstyle+xml"/>
  <Override PartName="/ppt/charts/colors126.xml" ContentType="application/vnd.ms-office.chartcolorstyle+xml"/>
  <Override PartName="/ppt/charts/chart262.xml" ContentType="application/vnd.openxmlformats-officedocument.drawingml.chart+xml"/>
  <Override PartName="/ppt/charts/style127.xml" ContentType="application/vnd.ms-office.chartstyle+xml"/>
  <Override PartName="/ppt/charts/colors127.xml" ContentType="application/vnd.ms-office.chartcolorstyle+xml"/>
  <Override PartName="/ppt/charts/chart263.xml" ContentType="application/vnd.openxmlformats-officedocument.drawingml.chart+xml"/>
  <Override PartName="/ppt/charts/style128.xml" ContentType="application/vnd.ms-office.chartstyle+xml"/>
  <Override PartName="/ppt/charts/colors128.xml" ContentType="application/vnd.ms-office.chartcolorstyle+xml"/>
  <Override PartName="/ppt/charts/chart264.xml" ContentType="application/vnd.openxmlformats-officedocument.drawingml.chart+xml"/>
  <Override PartName="/ppt/charts/style129.xml" ContentType="application/vnd.ms-office.chartstyle+xml"/>
  <Override PartName="/ppt/charts/colors129.xml" ContentType="application/vnd.ms-office.chartcolorstyle+xml"/>
  <Override PartName="/ppt/tags/tag238.xml" ContentType="application/vnd.openxmlformats-officedocument.presentationml.tags+xml"/>
  <Override PartName="/ppt/notesSlides/notesSlide79.xml" ContentType="application/vnd.openxmlformats-officedocument.presentationml.notesSlide+xml"/>
  <Override PartName="/ppt/charts/chart265.xml" ContentType="application/vnd.openxmlformats-officedocument.drawingml.chart+xml"/>
  <Override PartName="/ppt/charts/style130.xml" ContentType="application/vnd.ms-office.chartstyle+xml"/>
  <Override PartName="/ppt/charts/colors130.xml" ContentType="application/vnd.ms-office.chartcolorstyle+xml"/>
  <Override PartName="/ppt/charts/chart266.xml" ContentType="application/vnd.openxmlformats-officedocument.drawingml.chart+xml"/>
  <Override PartName="/ppt/charts/style131.xml" ContentType="application/vnd.ms-office.chartstyle+xml"/>
  <Override PartName="/ppt/charts/colors131.xml" ContentType="application/vnd.ms-office.chartcolorstyle+xml"/>
  <Override PartName="/ppt/tags/tag239.xml" ContentType="application/vnd.openxmlformats-officedocument.presentationml.tags+xml"/>
  <Override PartName="/ppt/notesSlides/notesSlide80.xml" ContentType="application/vnd.openxmlformats-officedocument.presentationml.notesSlide+xml"/>
  <Override PartName="/ppt/charts/chart267.xml" ContentType="application/vnd.openxmlformats-officedocument.drawingml.chart+xml"/>
  <Override PartName="/ppt/charts/style132.xml" ContentType="application/vnd.ms-office.chartstyle+xml"/>
  <Override PartName="/ppt/charts/colors132.xml" ContentType="application/vnd.ms-office.chartcolorstyle+xml"/>
  <Override PartName="/ppt/charts/chart268.xml" ContentType="application/vnd.openxmlformats-officedocument.drawingml.chart+xml"/>
  <Override PartName="/ppt/charts/style133.xml" ContentType="application/vnd.ms-office.chartstyle+xml"/>
  <Override PartName="/ppt/charts/colors133.xml" ContentType="application/vnd.ms-office.chartcolorstyle+xml"/>
  <Override PartName="/ppt/charts/chart269.xml" ContentType="application/vnd.openxmlformats-officedocument.drawingml.chart+xml"/>
  <Override PartName="/ppt/charts/style134.xml" ContentType="application/vnd.ms-office.chartstyle+xml"/>
  <Override PartName="/ppt/charts/colors134.xml" ContentType="application/vnd.ms-office.chartcolorstyle+xml"/>
  <Override PartName="/ppt/tags/tag240.xml" ContentType="application/vnd.openxmlformats-officedocument.presentationml.tags+xml"/>
  <Override PartName="/ppt/notesSlides/notesSlide81.xml" ContentType="application/vnd.openxmlformats-officedocument.presentationml.notesSlide+xml"/>
  <Override PartName="/ppt/charts/chart270.xml" ContentType="application/vnd.openxmlformats-officedocument.drawingml.chart+xml"/>
  <Override PartName="/ppt/charts/style135.xml" ContentType="application/vnd.ms-office.chartstyle+xml"/>
  <Override PartName="/ppt/charts/colors135.xml" ContentType="application/vnd.ms-office.chartcolorstyle+xml"/>
  <Override PartName="/ppt/charts/chart271.xml" ContentType="application/vnd.openxmlformats-officedocument.drawingml.chart+xml"/>
  <Override PartName="/ppt/charts/style136.xml" ContentType="application/vnd.ms-office.chartstyle+xml"/>
  <Override PartName="/ppt/charts/colors136.xml" ContentType="application/vnd.ms-office.chartcolorstyle+xml"/>
  <Override PartName="/ppt/tags/tag241.xml" ContentType="application/vnd.openxmlformats-officedocument.presentationml.tags+xml"/>
  <Override PartName="/ppt/notesSlides/notesSlide82.xml" ContentType="application/vnd.openxmlformats-officedocument.presentationml.notesSlide+xml"/>
  <Override PartName="/ppt/charts/chart272.xml" ContentType="application/vnd.openxmlformats-officedocument.drawingml.chart+xml"/>
  <Override PartName="/ppt/charts/style137.xml" ContentType="application/vnd.ms-office.chartstyle+xml"/>
  <Override PartName="/ppt/charts/colors137.xml" ContentType="application/vnd.ms-office.chartcolorstyle+xml"/>
  <Override PartName="/ppt/charts/chart273.xml" ContentType="application/vnd.openxmlformats-officedocument.drawingml.chart+xml"/>
  <Override PartName="/ppt/charts/style138.xml" ContentType="application/vnd.ms-office.chartstyle+xml"/>
  <Override PartName="/ppt/charts/colors138.xml" ContentType="application/vnd.ms-office.chartcolorstyle+xml"/>
  <Override PartName="/ppt/charts/chart274.xml" ContentType="application/vnd.openxmlformats-officedocument.drawingml.chart+xml"/>
  <Override PartName="/ppt/charts/style139.xml" ContentType="application/vnd.ms-office.chartstyle+xml"/>
  <Override PartName="/ppt/charts/colors139.xml" ContentType="application/vnd.ms-office.chartcolorstyle+xml"/>
  <Override PartName="/ppt/tags/tag242.xml" ContentType="application/vnd.openxmlformats-officedocument.presentationml.tags+xml"/>
  <Override PartName="/ppt/notesSlides/notesSlide83.xml" ContentType="application/vnd.openxmlformats-officedocument.presentationml.notesSlide+xml"/>
  <Override PartName="/ppt/charts/chart275.xml" ContentType="application/vnd.openxmlformats-officedocument.drawingml.chart+xml"/>
  <Override PartName="/ppt/charts/style140.xml" ContentType="application/vnd.ms-office.chartstyle+xml"/>
  <Override PartName="/ppt/charts/colors140.xml" ContentType="application/vnd.ms-office.chartcolorstyle+xml"/>
  <Override PartName="/ppt/charts/chart276.xml" ContentType="application/vnd.openxmlformats-officedocument.drawingml.chart+xml"/>
  <Override PartName="/ppt/charts/style141.xml" ContentType="application/vnd.ms-office.chartstyle+xml"/>
  <Override PartName="/ppt/charts/colors141.xml" ContentType="application/vnd.ms-office.chartcolorstyle+xml"/>
  <Override PartName="/ppt/charts/chart277.xml" ContentType="application/vnd.openxmlformats-officedocument.drawingml.chart+xml"/>
  <Override PartName="/ppt/charts/style142.xml" ContentType="application/vnd.ms-office.chartstyle+xml"/>
  <Override PartName="/ppt/charts/colors142.xml" ContentType="application/vnd.ms-office.chartcolorstyle+xml"/>
  <Override PartName="/ppt/charts/chart278.xml" ContentType="application/vnd.openxmlformats-officedocument.drawingml.chart+xml"/>
  <Override PartName="/ppt/charts/style143.xml" ContentType="application/vnd.ms-office.chartstyle+xml"/>
  <Override PartName="/ppt/charts/colors143.xml" ContentType="application/vnd.ms-office.chartcolorstyle+xml"/>
  <Override PartName="/ppt/tags/tag243.xml" ContentType="application/vnd.openxmlformats-officedocument.presentationml.tags+xml"/>
  <Override PartName="/ppt/notesSlides/notesSlide84.xml" ContentType="application/vnd.openxmlformats-officedocument.presentationml.notesSlide+xml"/>
  <Override PartName="/ppt/charts/chart279.xml" ContentType="application/vnd.openxmlformats-officedocument.drawingml.chart+xml"/>
  <Override PartName="/ppt/charts/chart280.xml" ContentType="application/vnd.openxmlformats-officedocument.drawingml.chart+xml"/>
  <Override PartName="/ppt/tags/tag244.xml" ContentType="application/vnd.openxmlformats-officedocument.presentationml.tags+xml"/>
  <Override PartName="/ppt/notesSlides/notesSlide85.xml" ContentType="application/vnd.openxmlformats-officedocument.presentationml.notesSlide+xml"/>
  <Override PartName="/ppt/charts/chart281.xml" ContentType="application/vnd.openxmlformats-officedocument.drawingml.chart+xml"/>
  <Override PartName="/ppt/charts/chart282.xml" ContentType="application/vnd.openxmlformats-officedocument.drawingml.chart+xml"/>
  <Override PartName="/ppt/tags/tag245.xml" ContentType="application/vnd.openxmlformats-officedocument.presentationml.tags+xml"/>
  <Override PartName="/ppt/notesSlides/notesSlide86.xml" ContentType="application/vnd.openxmlformats-officedocument.presentationml.notesSlide+xml"/>
  <Override PartName="/ppt/charts/chart283.xml" ContentType="application/vnd.openxmlformats-officedocument.drawingml.chart+xml"/>
  <Override PartName="/ppt/charts/chart284.xml" ContentType="application/vnd.openxmlformats-officedocument.drawingml.chart+xml"/>
  <Override PartName="/ppt/tags/tag246.xml" ContentType="application/vnd.openxmlformats-officedocument.presentationml.tags+xml"/>
  <Override PartName="/ppt/notesSlides/notesSlide87.xml" ContentType="application/vnd.openxmlformats-officedocument.presentationml.notesSlide+xml"/>
  <Override PartName="/ppt/charts/chart285.xml" ContentType="application/vnd.openxmlformats-officedocument.drawingml.chart+xml"/>
  <Override PartName="/ppt/charts/chart286.xml" ContentType="application/vnd.openxmlformats-officedocument.drawingml.chart+xml"/>
  <Override PartName="/ppt/tags/tag247.xml" ContentType="application/vnd.openxmlformats-officedocument.presentationml.tags+xml"/>
  <Override PartName="/ppt/notesSlides/notesSlide88.xml" ContentType="application/vnd.openxmlformats-officedocument.presentationml.notesSlide+xml"/>
  <Override PartName="/ppt/charts/chart287.xml" ContentType="application/vnd.openxmlformats-officedocument.drawingml.chart+xml"/>
  <Override PartName="/ppt/charts/chart288.xml" ContentType="application/vnd.openxmlformats-officedocument.drawingml.chart+xml"/>
  <Override PartName="/ppt/tags/tag248.xml" ContentType="application/vnd.openxmlformats-officedocument.presentationml.tags+xml"/>
  <Override PartName="/ppt/notesSlides/notesSlide89.xml" ContentType="application/vnd.openxmlformats-officedocument.presentationml.notesSlide+xml"/>
  <Override PartName="/ppt/charts/chart289.xml" ContentType="application/vnd.openxmlformats-officedocument.drawingml.chart+xml"/>
  <Override PartName="/ppt/charts/chart290.xml" ContentType="application/vnd.openxmlformats-officedocument.drawingml.chart+xml"/>
  <Override PartName="/ppt/tags/tag249.xml" ContentType="application/vnd.openxmlformats-officedocument.presentationml.tags+xml"/>
  <Override PartName="/ppt/notesSlides/notesSlide90.xml" ContentType="application/vnd.openxmlformats-officedocument.presentationml.notesSlide+xml"/>
  <Override PartName="/ppt/charts/chart291.xml" ContentType="application/vnd.openxmlformats-officedocument.drawingml.chart+xml"/>
  <Override PartName="/ppt/charts/chart292.xml" ContentType="application/vnd.openxmlformats-officedocument.drawingml.chart+xml"/>
  <Override PartName="/ppt/tags/tag250.xml" ContentType="application/vnd.openxmlformats-officedocument.presentationml.tags+xml"/>
  <Override PartName="/ppt/notesSlides/notesSlide91.xml" ContentType="application/vnd.openxmlformats-officedocument.presentationml.notesSlide+xml"/>
  <Override PartName="/ppt/charts/chart293.xml" ContentType="application/vnd.openxmlformats-officedocument.drawingml.chart+xml"/>
  <Override PartName="/ppt/charts/chart294.xml" ContentType="application/vnd.openxmlformats-officedocument.drawingml.chart+xml"/>
  <Override PartName="/ppt/tags/tag251.xml" ContentType="application/vnd.openxmlformats-officedocument.presentationml.tags+xml"/>
  <Override PartName="/ppt/notesSlides/notesSlide92.xml" ContentType="application/vnd.openxmlformats-officedocument.presentationml.notesSlide+xml"/>
  <Override PartName="/ppt/charts/chart295.xml" ContentType="application/vnd.openxmlformats-officedocument.drawingml.chart+xml"/>
  <Override PartName="/ppt/charts/chart296.xml" ContentType="application/vnd.openxmlformats-officedocument.drawingml.chart+xml"/>
  <Override PartName="/ppt/tags/tag252.xml" ContentType="application/vnd.openxmlformats-officedocument.presentationml.tags+xml"/>
  <Override PartName="/ppt/notesSlides/notesSlide93.xml" ContentType="application/vnd.openxmlformats-officedocument.presentationml.notesSlide+xml"/>
  <Override PartName="/ppt/charts/chart297.xml" ContentType="application/vnd.openxmlformats-officedocument.drawingml.chart+xml"/>
  <Override PartName="/ppt/charts/chart298.xml" ContentType="application/vnd.openxmlformats-officedocument.drawingml.chart+xml"/>
  <Override PartName="/ppt/tags/tag253.xml" ContentType="application/vnd.openxmlformats-officedocument.presentationml.tags+xml"/>
  <Override PartName="/ppt/notesSlides/notesSlide94.xml" ContentType="application/vnd.openxmlformats-officedocument.presentationml.notesSlide+xml"/>
  <Override PartName="/ppt/charts/chart299.xml" ContentType="application/vnd.openxmlformats-officedocument.drawingml.chart+xml"/>
  <Override PartName="/ppt/charts/chart300.xml" ContentType="application/vnd.openxmlformats-officedocument.drawingml.chart+xml"/>
  <Override PartName="/ppt/tags/tag254.xml" ContentType="application/vnd.openxmlformats-officedocument.presentationml.tags+xml"/>
  <Override PartName="/ppt/notesSlides/notesSlide95.xml" ContentType="application/vnd.openxmlformats-officedocument.presentationml.notesSlide+xml"/>
  <Override PartName="/ppt/charts/chart301.xml" ContentType="application/vnd.openxmlformats-officedocument.drawingml.chart+xml"/>
  <Override PartName="/ppt/charts/chart302.xml" ContentType="application/vnd.openxmlformats-officedocument.drawingml.chart+xml"/>
  <Override PartName="/ppt/tags/tag255.xml" ContentType="application/vnd.openxmlformats-officedocument.presentationml.tags+xml"/>
  <Override PartName="/ppt/notesSlides/notesSlide96.xml" ContentType="application/vnd.openxmlformats-officedocument.presentationml.notesSlide+xml"/>
  <Override PartName="/ppt/tags/tag256.xml" ContentType="application/vnd.openxmlformats-officedocument.presentationml.tags+xml"/>
  <Override PartName="/ppt/notesSlides/notesSlide97.xml" ContentType="application/vnd.openxmlformats-officedocument.presentationml.notesSlide+xml"/>
  <Override PartName="/ppt/tags/tag257.xml" ContentType="application/vnd.openxmlformats-officedocument.presentationml.tags+xml"/>
  <Override PartName="/ppt/notesSlides/notesSlide98.xml" ContentType="application/vnd.openxmlformats-officedocument.presentationml.notesSlide+xml"/>
  <Override PartName="/ppt/tags/tag258.xml" ContentType="application/vnd.openxmlformats-officedocument.presentationml.tags+xml"/>
  <Override PartName="/ppt/notesSlides/notesSlide99.xml" ContentType="application/vnd.openxmlformats-officedocument.presentationml.notesSlide+xml"/>
  <Override PartName="/ppt/tags/tag259.xml" ContentType="application/vnd.openxmlformats-officedocument.presentationml.tags+xml"/>
  <Override PartName="/ppt/notesSlides/notesSlide100.xml" ContentType="application/vnd.openxmlformats-officedocument.presentationml.notesSlide+xml"/>
  <Override PartName="/ppt/charts/chart303.xml" ContentType="application/vnd.openxmlformats-officedocument.drawingml.chart+xml"/>
  <Override PartName="/ppt/charts/style144.xml" ContentType="application/vnd.ms-office.chartstyle+xml"/>
  <Override PartName="/ppt/charts/colors144.xml" ContentType="application/vnd.ms-office.chartcolorstyle+xml"/>
  <Override PartName="/ppt/tags/tag260.xml" ContentType="application/vnd.openxmlformats-officedocument.presentationml.tags+xml"/>
  <Override PartName="/ppt/notesSlides/notesSlide101.xml" ContentType="application/vnd.openxmlformats-officedocument.presentationml.notesSlide+xml"/>
  <Override PartName="/ppt/charts/chart304.xml" ContentType="application/vnd.openxmlformats-officedocument.drawingml.chart+xml"/>
  <Override PartName="/ppt/charts/style145.xml" ContentType="application/vnd.ms-office.chartstyle+xml"/>
  <Override PartName="/ppt/charts/colors145.xml" ContentType="application/vnd.ms-office.chartcolorstyle+xml"/>
  <Override PartName="/ppt/tags/tag261.xml" ContentType="application/vnd.openxmlformats-officedocument.presentationml.tags+xml"/>
  <Override PartName="/ppt/notesSlides/notesSlide102.xml" ContentType="application/vnd.openxmlformats-officedocument.presentationml.notesSlide+xml"/>
  <Override PartName="/ppt/charts/chart305.xml" ContentType="application/vnd.openxmlformats-officedocument.drawingml.chart+xml"/>
  <Override PartName="/ppt/charts/style146.xml" ContentType="application/vnd.ms-office.chartstyle+xml"/>
  <Override PartName="/ppt/charts/colors146.xml" ContentType="application/vnd.ms-office.chartcolorstyle+xml"/>
  <Override PartName="/ppt/tags/tag262.xml" ContentType="application/vnd.openxmlformats-officedocument.presentationml.tags+xml"/>
  <Override PartName="/ppt/notesSlides/notesSlide103.xml" ContentType="application/vnd.openxmlformats-officedocument.presentationml.notesSlide+xml"/>
  <Override PartName="/ppt/charts/chart306.xml" ContentType="application/vnd.openxmlformats-officedocument.drawingml.chart+xml"/>
  <Override PartName="/ppt/charts/style147.xml" ContentType="application/vnd.ms-office.chartstyle+xml"/>
  <Override PartName="/ppt/charts/colors147.xml" ContentType="application/vnd.ms-office.chartcolorstyle+xml"/>
  <Override PartName="/ppt/tags/tag263.xml" ContentType="application/vnd.openxmlformats-officedocument.presentationml.tags+xml"/>
  <Override PartName="/ppt/notesSlides/notesSlide104.xml" ContentType="application/vnd.openxmlformats-officedocument.presentationml.notesSlide+xml"/>
  <Override PartName="/ppt/charts/chart307.xml" ContentType="application/vnd.openxmlformats-officedocument.drawingml.chart+xml"/>
  <Override PartName="/ppt/charts/style148.xml" ContentType="application/vnd.ms-office.chartstyle+xml"/>
  <Override PartName="/ppt/charts/colors148.xml" ContentType="application/vnd.ms-office.chartcolorstyle+xml"/>
  <Override PartName="/ppt/tags/tag264.xml" ContentType="application/vnd.openxmlformats-officedocument.presentationml.tags+xml"/>
  <Override PartName="/ppt/notesSlides/notesSlide105.xml" ContentType="application/vnd.openxmlformats-officedocument.presentationml.notesSlide+xml"/>
  <Override PartName="/ppt/charts/chart308.xml" ContentType="application/vnd.openxmlformats-officedocument.drawingml.chart+xml"/>
  <Override PartName="/ppt/charts/style149.xml" ContentType="application/vnd.ms-office.chartstyle+xml"/>
  <Override PartName="/ppt/charts/colors149.xml" ContentType="application/vnd.ms-office.chartcolorstyle+xml"/>
  <Override PartName="/ppt/tags/tag265.xml" ContentType="application/vnd.openxmlformats-officedocument.presentationml.tags+xml"/>
  <Override PartName="/ppt/charts/chart309.xml" ContentType="application/vnd.openxmlformats-officedocument.drawingml.chart+xml"/>
  <Override PartName="/ppt/tags/tag266.xml" ContentType="application/vnd.openxmlformats-officedocument.presentationml.tags+xml"/>
  <Override PartName="/ppt/charts/chart310.xml" ContentType="application/vnd.openxmlformats-officedocument.drawingml.chart+xml"/>
  <Override PartName="/ppt/tags/tag267.xml" ContentType="application/vnd.openxmlformats-officedocument.presentationml.tags+xml"/>
  <Override PartName="/ppt/charts/chart311.xml" ContentType="application/vnd.openxmlformats-officedocument.drawingml.chart+xml"/>
  <Override PartName="/ppt/tags/tag268.xml" ContentType="application/vnd.openxmlformats-officedocument.presentationml.tags+xml"/>
  <Override PartName="/ppt/charts/chart312.xml" ContentType="application/vnd.openxmlformats-officedocument.drawingml.chart+xml"/>
  <Override PartName="/ppt/tags/tag269.xml" ContentType="application/vnd.openxmlformats-officedocument.presentationml.tags+xml"/>
  <Override PartName="/ppt/charts/chart313.xml" ContentType="application/vnd.openxmlformats-officedocument.drawingml.chart+xml"/>
  <Override PartName="/ppt/tags/tag270.xml" ContentType="application/vnd.openxmlformats-officedocument.presentationml.tags+xml"/>
  <Override PartName="/ppt/charts/chart314.xml" ContentType="application/vnd.openxmlformats-officedocument.drawingml.chart+xml"/>
  <Override PartName="/ppt/tags/tag271.xml" ContentType="application/vnd.openxmlformats-officedocument.presentationml.tags+xml"/>
  <Override PartName="/ppt/charts/chart315.xml" ContentType="application/vnd.openxmlformats-officedocument.drawingml.chart+xml"/>
  <Override PartName="/ppt/tags/tag272.xml" ContentType="application/vnd.openxmlformats-officedocument.presentationml.tags+xml"/>
  <Override PartName="/ppt/charts/chart316.xml" ContentType="application/vnd.openxmlformats-officedocument.drawingml.chart+xml"/>
  <Override PartName="/ppt/tags/tag273.xml" ContentType="application/vnd.openxmlformats-officedocument.presentationml.tags+xml"/>
  <Override PartName="/ppt/charts/chart317.xml" ContentType="application/vnd.openxmlformats-officedocument.drawingml.chart+xml"/>
  <Override PartName="/ppt/tags/tag274.xml" ContentType="application/vnd.openxmlformats-officedocument.presentationml.tags+xml"/>
  <Override PartName="/ppt/charts/chart318.xml" ContentType="application/vnd.openxmlformats-officedocument.drawingml.chart+xml"/>
  <Override PartName="/ppt/tags/tag275.xml" ContentType="application/vnd.openxmlformats-officedocument.presentationml.tags+xml"/>
  <Override PartName="/ppt/charts/chart319.xml" ContentType="application/vnd.openxmlformats-officedocument.drawingml.chart+xml"/>
  <Override PartName="/ppt/tags/tag276.xml" ContentType="application/vnd.openxmlformats-officedocument.presentationml.tags+xml"/>
  <Override PartName="/ppt/charts/chart320.xml" ContentType="application/vnd.openxmlformats-officedocument.drawingml.chart+xml"/>
  <Override PartName="/ppt/tags/tag277.xml" ContentType="application/vnd.openxmlformats-officedocument.presentationml.tags+xml"/>
  <Override PartName="/ppt/notesSlides/notesSlide106.xml" ContentType="application/vnd.openxmlformats-officedocument.presentationml.notesSlide+xml"/>
  <Override PartName="/ppt/charts/chart321.xml" ContentType="application/vnd.openxmlformats-officedocument.drawingml.chart+xml"/>
  <Override PartName="/ppt/charts/style150.xml" ContentType="application/vnd.ms-office.chartstyle+xml"/>
  <Override PartName="/ppt/charts/colors150.xml" ContentType="application/vnd.ms-office.chartcolorstyle+xml"/>
  <Override PartName="/ppt/tags/tag278.xml" ContentType="application/vnd.openxmlformats-officedocument.presentationml.tags+xml"/>
  <Override PartName="/ppt/notesSlides/notesSlide107.xml" ContentType="application/vnd.openxmlformats-officedocument.presentationml.notesSlide+xml"/>
  <Override PartName="/ppt/charts/chart322.xml" ContentType="application/vnd.openxmlformats-officedocument.drawingml.chart+xml"/>
  <Override PartName="/ppt/charts/style151.xml" ContentType="application/vnd.ms-office.chartstyle+xml"/>
  <Override PartName="/ppt/charts/colors151.xml" ContentType="application/vnd.ms-office.chartcolorstyle+xml"/>
  <Override PartName="/ppt/tags/tag279.xml" ContentType="application/vnd.openxmlformats-officedocument.presentationml.tags+xml"/>
  <Override PartName="/ppt/notesSlides/notesSlide108.xml" ContentType="application/vnd.openxmlformats-officedocument.presentationml.notesSlide+xml"/>
  <Override PartName="/ppt/charts/chart323.xml" ContentType="application/vnd.openxmlformats-officedocument.drawingml.chart+xml"/>
  <Override PartName="/ppt/charts/style152.xml" ContentType="application/vnd.ms-office.chartstyle+xml"/>
  <Override PartName="/ppt/charts/colors152.xml" ContentType="application/vnd.ms-office.chartcolorstyle+xml"/>
  <Override PartName="/ppt/tags/tag280.xml" ContentType="application/vnd.openxmlformats-officedocument.presentationml.tags+xml"/>
  <Override PartName="/ppt/notesSlides/notesSlide109.xml" ContentType="application/vnd.openxmlformats-officedocument.presentationml.notesSlide+xml"/>
  <Override PartName="/ppt/charts/chart324.xml" ContentType="application/vnd.openxmlformats-officedocument.drawingml.chart+xml"/>
  <Override PartName="/ppt/charts/style153.xml" ContentType="application/vnd.ms-office.chartstyle+xml"/>
  <Override PartName="/ppt/charts/colors153.xml" ContentType="application/vnd.ms-office.chartcolorstyle+xml"/>
  <Override PartName="/ppt/tags/tag281.xml" ContentType="application/vnd.openxmlformats-officedocument.presentationml.tags+xml"/>
  <Override PartName="/ppt/notesSlides/notesSlide110.xml" ContentType="application/vnd.openxmlformats-officedocument.presentationml.notesSlide+xml"/>
  <Override PartName="/ppt/charts/chart325.xml" ContentType="application/vnd.openxmlformats-officedocument.drawingml.chart+xml"/>
  <Override PartName="/ppt/charts/style154.xml" ContentType="application/vnd.ms-office.chartstyle+xml"/>
  <Override PartName="/ppt/charts/colors154.xml" ContentType="application/vnd.ms-office.chartcolorstyle+xml"/>
  <Override PartName="/ppt/tags/tag282.xml" ContentType="application/vnd.openxmlformats-officedocument.presentationml.tags+xml"/>
  <Override PartName="/ppt/notesSlides/notesSlide111.xml" ContentType="application/vnd.openxmlformats-officedocument.presentationml.notesSlide+xml"/>
  <Override PartName="/ppt/charts/chart326.xml" ContentType="application/vnd.openxmlformats-officedocument.drawingml.chart+xml"/>
  <Override PartName="/ppt/charts/style155.xml" ContentType="application/vnd.ms-office.chartstyle+xml"/>
  <Override PartName="/ppt/charts/colors155.xml" ContentType="application/vnd.ms-office.chartcolorstyl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Lst>
  <p:notesMasterIdLst>
    <p:notesMasterId r:id="rId260"/>
  </p:notesMasterIdLst>
  <p:sldIdLst>
    <p:sldId id="2147475194" r:id="rId5"/>
    <p:sldId id="2147475195" r:id="rId6"/>
    <p:sldId id="2147475196" r:id="rId7"/>
    <p:sldId id="2147475197" r:id="rId8"/>
    <p:sldId id="2147475198" r:id="rId9"/>
    <p:sldId id="2147475199" r:id="rId10"/>
    <p:sldId id="2147475200" r:id="rId11"/>
    <p:sldId id="2147475201" r:id="rId12"/>
    <p:sldId id="2147475202" r:id="rId13"/>
    <p:sldId id="2147475203" r:id="rId14"/>
    <p:sldId id="2147475204" r:id="rId15"/>
    <p:sldId id="2147475205" r:id="rId16"/>
    <p:sldId id="2147475206" r:id="rId17"/>
    <p:sldId id="2147475207" r:id="rId18"/>
    <p:sldId id="2147475208" r:id="rId19"/>
    <p:sldId id="2147475209" r:id="rId20"/>
    <p:sldId id="2147475210" r:id="rId21"/>
    <p:sldId id="2147475211" r:id="rId22"/>
    <p:sldId id="2147475212" r:id="rId23"/>
    <p:sldId id="2147475213" r:id="rId24"/>
    <p:sldId id="2147475214" r:id="rId25"/>
    <p:sldId id="2147475215" r:id="rId26"/>
    <p:sldId id="2147475216" r:id="rId27"/>
    <p:sldId id="2147475217" r:id="rId28"/>
    <p:sldId id="2147475218" r:id="rId29"/>
    <p:sldId id="2147475219" r:id="rId30"/>
    <p:sldId id="2147475220" r:id="rId31"/>
    <p:sldId id="2147475221" r:id="rId32"/>
    <p:sldId id="2147475222" r:id="rId33"/>
    <p:sldId id="2147475223" r:id="rId34"/>
    <p:sldId id="2147475224" r:id="rId35"/>
    <p:sldId id="2147475225" r:id="rId36"/>
    <p:sldId id="2147475226" r:id="rId37"/>
    <p:sldId id="2147475227" r:id="rId38"/>
    <p:sldId id="2147475228" r:id="rId39"/>
    <p:sldId id="2147475229" r:id="rId40"/>
    <p:sldId id="2147475230" r:id="rId41"/>
    <p:sldId id="2147475231" r:id="rId42"/>
    <p:sldId id="2147475232" r:id="rId43"/>
    <p:sldId id="2147475233" r:id="rId44"/>
    <p:sldId id="2147475234" r:id="rId45"/>
    <p:sldId id="2147475235" r:id="rId46"/>
    <p:sldId id="2147475236" r:id="rId47"/>
    <p:sldId id="2147475237" r:id="rId48"/>
    <p:sldId id="2147475238" r:id="rId49"/>
    <p:sldId id="2147475239" r:id="rId50"/>
    <p:sldId id="2147475240" r:id="rId51"/>
    <p:sldId id="2147475241" r:id="rId52"/>
    <p:sldId id="2147475242" r:id="rId53"/>
    <p:sldId id="2147475243" r:id="rId54"/>
    <p:sldId id="2147475244" r:id="rId55"/>
    <p:sldId id="2147475245" r:id="rId56"/>
    <p:sldId id="2147475246" r:id="rId57"/>
    <p:sldId id="2147475247" r:id="rId58"/>
    <p:sldId id="2147475248" r:id="rId59"/>
    <p:sldId id="2147475249" r:id="rId60"/>
    <p:sldId id="2147475250" r:id="rId61"/>
    <p:sldId id="2147475251" r:id="rId62"/>
    <p:sldId id="2147475252" r:id="rId63"/>
    <p:sldId id="2147475253" r:id="rId64"/>
    <p:sldId id="2147475254" r:id="rId65"/>
    <p:sldId id="2147475255" r:id="rId66"/>
    <p:sldId id="2147475256" r:id="rId67"/>
    <p:sldId id="2147475257" r:id="rId68"/>
    <p:sldId id="2147475258" r:id="rId69"/>
    <p:sldId id="2147475259" r:id="rId70"/>
    <p:sldId id="2147475260" r:id="rId71"/>
    <p:sldId id="2147475261" r:id="rId72"/>
    <p:sldId id="2147475262" r:id="rId73"/>
    <p:sldId id="2147475263" r:id="rId74"/>
    <p:sldId id="2147475264" r:id="rId75"/>
    <p:sldId id="2147475265" r:id="rId76"/>
    <p:sldId id="2147475266" r:id="rId77"/>
    <p:sldId id="2147475267" r:id="rId78"/>
    <p:sldId id="2147475268" r:id="rId79"/>
    <p:sldId id="2147475269" r:id="rId80"/>
    <p:sldId id="2147475270" r:id="rId81"/>
    <p:sldId id="2147475271" r:id="rId82"/>
    <p:sldId id="2147475272" r:id="rId83"/>
    <p:sldId id="2147475273" r:id="rId84"/>
    <p:sldId id="2147475274" r:id="rId85"/>
    <p:sldId id="2147475275" r:id="rId86"/>
    <p:sldId id="2147475276" r:id="rId87"/>
    <p:sldId id="2147475277" r:id="rId88"/>
    <p:sldId id="2147475278" r:id="rId89"/>
    <p:sldId id="2147475279" r:id="rId90"/>
    <p:sldId id="2147475280" r:id="rId91"/>
    <p:sldId id="2147475281" r:id="rId92"/>
    <p:sldId id="2147475282" r:id="rId93"/>
    <p:sldId id="2147475283" r:id="rId94"/>
    <p:sldId id="2147475284" r:id="rId95"/>
    <p:sldId id="2147475285" r:id="rId96"/>
    <p:sldId id="2147475286" r:id="rId97"/>
    <p:sldId id="2147475287" r:id="rId98"/>
    <p:sldId id="2147475288" r:id="rId99"/>
    <p:sldId id="2147475289" r:id="rId100"/>
    <p:sldId id="2147475290" r:id="rId101"/>
    <p:sldId id="2147475291" r:id="rId102"/>
    <p:sldId id="2147475292" r:id="rId103"/>
    <p:sldId id="2147475293" r:id="rId104"/>
    <p:sldId id="2147475294" r:id="rId105"/>
    <p:sldId id="2147475295" r:id="rId106"/>
    <p:sldId id="2147475296" r:id="rId107"/>
    <p:sldId id="2147475297" r:id="rId108"/>
    <p:sldId id="2147475298" r:id="rId109"/>
    <p:sldId id="2147475299" r:id="rId110"/>
    <p:sldId id="2147475300" r:id="rId111"/>
    <p:sldId id="2147475301" r:id="rId112"/>
    <p:sldId id="2147475302" r:id="rId113"/>
    <p:sldId id="2147475303" r:id="rId114"/>
    <p:sldId id="2147475304" r:id="rId115"/>
    <p:sldId id="2147475305" r:id="rId116"/>
    <p:sldId id="2147475306" r:id="rId117"/>
    <p:sldId id="2147475307" r:id="rId118"/>
    <p:sldId id="2147475308" r:id="rId119"/>
    <p:sldId id="2147475309" r:id="rId120"/>
    <p:sldId id="2147475310" r:id="rId121"/>
    <p:sldId id="2147475311" r:id="rId122"/>
    <p:sldId id="2147475312" r:id="rId123"/>
    <p:sldId id="2147475313" r:id="rId124"/>
    <p:sldId id="2147475314" r:id="rId125"/>
    <p:sldId id="2147475315" r:id="rId126"/>
    <p:sldId id="2147475316" r:id="rId127"/>
    <p:sldId id="2147475317" r:id="rId128"/>
    <p:sldId id="2147475318" r:id="rId129"/>
    <p:sldId id="2147475319" r:id="rId130"/>
    <p:sldId id="2147475320" r:id="rId131"/>
    <p:sldId id="2147475321" r:id="rId132"/>
    <p:sldId id="2147475322" r:id="rId133"/>
    <p:sldId id="2147475323" r:id="rId134"/>
    <p:sldId id="2147475324" r:id="rId135"/>
    <p:sldId id="2147475325" r:id="rId136"/>
    <p:sldId id="2147475326" r:id="rId137"/>
    <p:sldId id="2147475327" r:id="rId138"/>
    <p:sldId id="2147475328" r:id="rId139"/>
    <p:sldId id="2147475329" r:id="rId140"/>
    <p:sldId id="2147475330" r:id="rId141"/>
    <p:sldId id="2147475331" r:id="rId142"/>
    <p:sldId id="2147475332" r:id="rId143"/>
    <p:sldId id="2147475333" r:id="rId144"/>
    <p:sldId id="2147475334" r:id="rId145"/>
    <p:sldId id="2147475335" r:id="rId146"/>
    <p:sldId id="2147475336" r:id="rId147"/>
    <p:sldId id="2147475337" r:id="rId148"/>
    <p:sldId id="2147475338" r:id="rId149"/>
    <p:sldId id="2147475339" r:id="rId150"/>
    <p:sldId id="2147475340" r:id="rId151"/>
    <p:sldId id="2147475341" r:id="rId152"/>
    <p:sldId id="2147475342" r:id="rId153"/>
    <p:sldId id="2147475343" r:id="rId154"/>
    <p:sldId id="2147475344" r:id="rId155"/>
    <p:sldId id="2147475345" r:id="rId156"/>
    <p:sldId id="2147475346" r:id="rId157"/>
    <p:sldId id="2147475347" r:id="rId158"/>
    <p:sldId id="2147475348" r:id="rId159"/>
    <p:sldId id="2147475349" r:id="rId160"/>
    <p:sldId id="2147475350" r:id="rId161"/>
    <p:sldId id="2147475351" r:id="rId162"/>
    <p:sldId id="2147475352" r:id="rId163"/>
    <p:sldId id="2147475353" r:id="rId164"/>
    <p:sldId id="2147475354" r:id="rId165"/>
    <p:sldId id="2147475355" r:id="rId166"/>
    <p:sldId id="2147475356" r:id="rId167"/>
    <p:sldId id="2147475357" r:id="rId168"/>
    <p:sldId id="2147475358" r:id="rId169"/>
    <p:sldId id="2147475359" r:id="rId170"/>
    <p:sldId id="2147475360" r:id="rId171"/>
    <p:sldId id="2147475361" r:id="rId172"/>
    <p:sldId id="2147475362" r:id="rId173"/>
    <p:sldId id="2147475363" r:id="rId174"/>
    <p:sldId id="2147475364" r:id="rId175"/>
    <p:sldId id="2147475365" r:id="rId176"/>
    <p:sldId id="2147475366" r:id="rId177"/>
    <p:sldId id="2147475367" r:id="rId178"/>
    <p:sldId id="2147475368" r:id="rId179"/>
    <p:sldId id="2147475369" r:id="rId180"/>
    <p:sldId id="2147475370" r:id="rId181"/>
    <p:sldId id="2147475371" r:id="rId182"/>
    <p:sldId id="2147475372" r:id="rId183"/>
    <p:sldId id="2147475373" r:id="rId184"/>
    <p:sldId id="2147475374" r:id="rId185"/>
    <p:sldId id="2147475375" r:id="rId186"/>
    <p:sldId id="2147475376" r:id="rId187"/>
    <p:sldId id="2147475377" r:id="rId188"/>
    <p:sldId id="2147475378" r:id="rId189"/>
    <p:sldId id="2147475379" r:id="rId190"/>
    <p:sldId id="2147475380" r:id="rId191"/>
    <p:sldId id="2147475381" r:id="rId192"/>
    <p:sldId id="2147475382" r:id="rId193"/>
    <p:sldId id="2147475383" r:id="rId194"/>
    <p:sldId id="2147475384" r:id="rId195"/>
    <p:sldId id="2147475385" r:id="rId196"/>
    <p:sldId id="2147475386" r:id="rId197"/>
    <p:sldId id="2147475387" r:id="rId198"/>
    <p:sldId id="2147475388" r:id="rId199"/>
    <p:sldId id="2147475389" r:id="rId200"/>
    <p:sldId id="2147475390" r:id="rId201"/>
    <p:sldId id="2147475391" r:id="rId202"/>
    <p:sldId id="2147475392" r:id="rId203"/>
    <p:sldId id="2147475393" r:id="rId204"/>
    <p:sldId id="2147475394" r:id="rId205"/>
    <p:sldId id="2147475395" r:id="rId206"/>
    <p:sldId id="2147475396" r:id="rId207"/>
    <p:sldId id="2147475397" r:id="rId208"/>
    <p:sldId id="2147475398" r:id="rId209"/>
    <p:sldId id="2147475399" r:id="rId210"/>
    <p:sldId id="2147475400" r:id="rId211"/>
    <p:sldId id="2147475401" r:id="rId212"/>
    <p:sldId id="2147475402" r:id="rId213"/>
    <p:sldId id="2147475403" r:id="rId214"/>
    <p:sldId id="2147475404" r:id="rId215"/>
    <p:sldId id="2147475405" r:id="rId216"/>
    <p:sldId id="2147475406" r:id="rId217"/>
    <p:sldId id="2147475407" r:id="rId218"/>
    <p:sldId id="2147475408" r:id="rId219"/>
    <p:sldId id="2147475409" r:id="rId220"/>
    <p:sldId id="2147475410" r:id="rId221"/>
    <p:sldId id="2147475411" r:id="rId222"/>
    <p:sldId id="2147475412" r:id="rId223"/>
    <p:sldId id="2147475413" r:id="rId224"/>
    <p:sldId id="2147475414" r:id="rId225"/>
    <p:sldId id="2147475415" r:id="rId226"/>
    <p:sldId id="2147475416" r:id="rId227"/>
    <p:sldId id="2147475417" r:id="rId228"/>
    <p:sldId id="2147475418" r:id="rId229"/>
    <p:sldId id="2147475419" r:id="rId230"/>
    <p:sldId id="2147475420" r:id="rId231"/>
    <p:sldId id="2147475421" r:id="rId232"/>
    <p:sldId id="2147475422" r:id="rId233"/>
    <p:sldId id="2147475423" r:id="rId234"/>
    <p:sldId id="2147475424" r:id="rId235"/>
    <p:sldId id="2147475425" r:id="rId236"/>
    <p:sldId id="2147475426" r:id="rId237"/>
    <p:sldId id="2147475427" r:id="rId238"/>
    <p:sldId id="2147475428" r:id="rId239"/>
    <p:sldId id="2147475429" r:id="rId240"/>
    <p:sldId id="2147475430" r:id="rId241"/>
    <p:sldId id="2147475431" r:id="rId242"/>
    <p:sldId id="2147475432" r:id="rId243"/>
    <p:sldId id="2147475433" r:id="rId244"/>
    <p:sldId id="2147475434" r:id="rId245"/>
    <p:sldId id="2147475435" r:id="rId246"/>
    <p:sldId id="2147475436" r:id="rId247"/>
    <p:sldId id="2147475437" r:id="rId248"/>
    <p:sldId id="2147475438" r:id="rId249"/>
    <p:sldId id="2147475439" r:id="rId250"/>
    <p:sldId id="2147475440" r:id="rId251"/>
    <p:sldId id="2147475441" r:id="rId252"/>
    <p:sldId id="2147475442" r:id="rId253"/>
    <p:sldId id="2147475443" r:id="rId254"/>
    <p:sldId id="2147475444" r:id="rId255"/>
    <p:sldId id="2147475445" r:id="rId256"/>
    <p:sldId id="2147475446" r:id="rId257"/>
    <p:sldId id="2147475447" r:id="rId258"/>
    <p:sldId id="2147475448" r:id="rId25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omo Evolution Category" id="{09D1F84B-015A-4EAF-928F-633F3BEAB6DA}">
          <p14:sldIdLst>
            <p14:sldId id="2147475194"/>
            <p14:sldId id="2147475195"/>
          </p14:sldIdLst>
        </p14:section>
        <p14:section name="Promo Evolution Sector" id="{CE7CD3BE-22BB-4B27-BEBE-79EB3465FCFF}">
          <p14:sldIdLst>
            <p14:sldId id="2147475196"/>
            <p14:sldId id="2147475197"/>
            <p14:sldId id="2147475198"/>
            <p14:sldId id="2147475199"/>
          </p14:sldIdLst>
        </p14:section>
        <p14:section name="Promo Evolution Segment" id="{9D61717F-2E76-4490-B7F6-DAA7ECAA7278}">
          <p14:sldIdLst>
            <p14:sldId id="2147475200"/>
            <p14:sldId id="2147475201"/>
            <p14:sldId id="2147475202"/>
            <p14:sldId id="2147475203"/>
            <p14:sldId id="2147475204"/>
            <p14:sldId id="2147475205"/>
          </p14:sldIdLst>
        </p14:section>
        <p14:section name="VSOD Summary by Sector Sector" id="{06E06F17-F829-4A61-9A5A-1997464A1B5C}">
          <p14:sldIdLst>
            <p14:sldId id="2147475206"/>
            <p14:sldId id="2147475207"/>
          </p14:sldIdLst>
        </p14:section>
        <p14:section name="VSOD Summary by Sector Segment" id="{DAB263B1-AE19-4690-8772-42BD320D05AA}">
          <p14:sldIdLst>
            <p14:sldId id="2147475208"/>
            <p14:sldId id="2147475209"/>
          </p14:sldIdLst>
        </p14:section>
        <p14:section name="Value uplift by retailer by brand Category" id="{3B4A8F8A-5DDF-4EA4-B66A-B7167A499A6B}">
          <p14:sldIdLst>
            <p14:sldId id="2147475210"/>
          </p14:sldIdLst>
        </p14:section>
        <p14:section name="Value uplift by retailer by brand Sector" id="{7385D825-533A-4E57-9B42-99CE192191C8}">
          <p14:sldIdLst>
            <p14:sldId id="2147475211"/>
            <p14:sldId id="2147475212"/>
          </p14:sldIdLst>
        </p14:section>
        <p14:section name="Value uplift by retailer by brand Segment" id="{D2443531-C1EE-4EBF-9A67-5FFD685D22D0}">
          <p14:sldIdLst>
            <p14:sldId id="2147475213"/>
            <p14:sldId id="2147475214"/>
            <p14:sldId id="2147475215"/>
          </p14:sldIdLst>
        </p14:section>
        <p14:section name="Volume Uplift vs discount depth Category" id="{FD5466FD-F05D-4A16-AD72-DE36384FD39A}">
          <p14:sldIdLst>
            <p14:sldId id="2147475216"/>
            <p14:sldId id="2147475217"/>
          </p14:sldIdLst>
        </p14:section>
        <p14:section name="Volume Uplift vs discount depth Sector" id="{D5E3F01D-9196-4E68-B671-D95895D23EE3}">
          <p14:sldIdLst>
            <p14:sldId id="2147475218"/>
            <p14:sldId id="2147475219"/>
            <p14:sldId id="2147475220"/>
            <p14:sldId id="2147475221"/>
          </p14:sldIdLst>
        </p14:section>
        <p14:section name="Volume Uplift vs discount depth Segment" id="{FA0615CB-1DD3-4069-833E-5D884D13533A}">
          <p14:sldIdLst>
            <p14:sldId id="2147475222"/>
            <p14:sldId id="2147475223"/>
            <p14:sldId id="2147475224"/>
            <p14:sldId id="2147475225"/>
            <p14:sldId id="2147475226"/>
            <p14:sldId id="2147475227"/>
          </p14:sldIdLst>
        </p14:section>
        <p14:section name="Value Uplift vs Promo Efficiency Quadrant Category" id="{CB5D1301-F6D2-4E6F-A235-3A5F749D94A7}">
          <p14:sldIdLst>
            <p14:sldId id="2147475228"/>
            <p14:sldId id="2147475229"/>
          </p14:sldIdLst>
        </p14:section>
        <p14:section name="Value Uplift vs Promo Efficiency Quadrant Sector" id="{E25D5AB5-339E-4E8F-8424-965E408D5E9F}">
          <p14:sldIdLst>
            <p14:sldId id="2147475230"/>
            <p14:sldId id="2147475231"/>
            <p14:sldId id="2147475232"/>
            <p14:sldId id="2147475233"/>
          </p14:sldIdLst>
        </p14:section>
        <p14:section name="Value Uplift vs Promo Efficiency Quadrant Segment" id="{50CE1EE4-7942-4363-A293-C7115073875A}">
          <p14:sldIdLst>
            <p14:sldId id="2147475234"/>
            <p14:sldId id="2147475235"/>
            <p14:sldId id="2147475236"/>
            <p14:sldId id="2147475237"/>
            <p14:sldId id="2147475238"/>
            <p14:sldId id="2147475239"/>
          </p14:sldIdLst>
        </p14:section>
        <p14:section name="Top 20 promotions Category" id="{DC2A08EE-24B1-4CE6-8EB4-95F3EB905428}">
          <p14:sldIdLst>
            <p14:sldId id="2147475240"/>
            <p14:sldId id="2147475241"/>
          </p14:sldIdLst>
        </p14:section>
        <p14:section name="Top 20 promotions Sector" id="{E0CB8F6C-2C25-4990-A45D-73CAEADE115C}">
          <p14:sldIdLst>
            <p14:sldId id="2147475242"/>
            <p14:sldId id="2147475243"/>
            <p14:sldId id="2147475244"/>
            <p14:sldId id="2147475245"/>
          </p14:sldIdLst>
        </p14:section>
        <p14:section name="Top 20 promotions Segment" id="{25641F25-3E87-45F7-B942-B78A210C60E4}">
          <p14:sldIdLst>
            <p14:sldId id="2147475246"/>
            <p14:sldId id="2147475247"/>
            <p14:sldId id="2147475248"/>
            <p14:sldId id="2147475249"/>
            <p14:sldId id="2147475250"/>
            <p14:sldId id="2147475251"/>
          </p14:sldIdLst>
        </p14:section>
        <p14:section name="Top 20 promotions CLIENT ONLY Category" id="{E9F68BFC-C399-44B2-8368-EFECBEE0BE02}">
          <p14:sldIdLst>
            <p14:sldId id="2147475252"/>
            <p14:sldId id="2147475253"/>
          </p14:sldIdLst>
        </p14:section>
        <p14:section name="Top 20 promotions CLIENT ONLY Sector" id="{E3D292DC-E523-42DB-A68E-D665D0A2360F}">
          <p14:sldIdLst>
            <p14:sldId id="2147475254"/>
            <p14:sldId id="2147475255"/>
            <p14:sldId id="2147475256"/>
            <p14:sldId id="2147475257"/>
          </p14:sldIdLst>
        </p14:section>
        <p14:section name="Top 20 promotions CLIENT ONLY Segment" id="{E41BC9A0-C22E-4600-B627-1BA07FC0C9C7}">
          <p14:sldIdLst>
            <p14:sldId id="2147475258"/>
            <p14:sldId id="2147475259"/>
            <p14:sldId id="2147475260"/>
            <p14:sldId id="2147475261"/>
            <p14:sldId id="2147475262"/>
          </p14:sldIdLst>
        </p14:section>
        <p14:section name="Bottom 20 promotions CLIENT ONLY Category" id="{B2EE7661-D105-4E81-BA79-0DF641E7D649}">
          <p14:sldIdLst>
            <p14:sldId id="2147475263"/>
            <p14:sldId id="2147475264"/>
          </p14:sldIdLst>
        </p14:section>
        <p14:section name="Bottom 20 promotions CLIENT ONLY Sector" id="{7FD2026A-BE7E-40B5-AF83-337A45CDAA31}">
          <p14:sldIdLst>
            <p14:sldId id="2147475265"/>
            <p14:sldId id="2147475266"/>
            <p14:sldId id="2147475267"/>
            <p14:sldId id="2147475268"/>
          </p14:sldIdLst>
        </p14:section>
        <p14:section name="Bottom 20 promotions CLIENT ONLY Segment" id="{6B4D15F6-BE01-423A-939F-9B67B637F9E8}">
          <p14:sldIdLst>
            <p14:sldId id="2147475269"/>
            <p14:sldId id="2147475270"/>
            <p14:sldId id="2147475271"/>
            <p14:sldId id="2147475272"/>
            <p14:sldId id="2147475273"/>
          </p14:sldIdLst>
        </p14:section>
        <p14:section name="Volume Sold on Deal Sector" id="{EF07E8F0-C218-4D11-87B8-B3306F6E3AC8}">
          <p14:sldIdLst>
            <p14:sldId id="2147475274"/>
            <p14:sldId id="2147475275"/>
            <p14:sldId id="2147475276"/>
            <p14:sldId id="2147475277"/>
            <p14:sldId id="2147475278"/>
            <p14:sldId id="2147475279"/>
            <p14:sldId id="2147475280"/>
          </p14:sldIdLst>
        </p14:section>
        <p14:section name="Volume Sold on Deal Segment" id="{71D10D93-3533-44D3-8B7F-CE5A07B2444C}">
          <p14:sldIdLst>
            <p14:sldId id="2147475281"/>
            <p14:sldId id="2147475282"/>
            <p14:sldId id="2147475283"/>
            <p14:sldId id="2147475284"/>
            <p14:sldId id="2147475285"/>
            <p14:sldId id="2147475286"/>
            <p14:sldId id="2147475287"/>
            <p14:sldId id="2147475288"/>
            <p14:sldId id="2147475289"/>
            <p14:sldId id="2147475290"/>
            <p14:sldId id="2147475291"/>
            <p14:sldId id="2147475292"/>
            <p14:sldId id="2147475293"/>
            <p14:sldId id="2147475294"/>
          </p14:sldIdLst>
        </p14:section>
        <p14:section name="Promo share vs Value Share Category" id="{71C0DEBC-1981-4E87-8274-64FFE0883EE6}">
          <p14:sldIdLst>
            <p14:sldId id="2147475295"/>
            <p14:sldId id="2147475296"/>
          </p14:sldIdLst>
        </p14:section>
        <p14:section name="Promo share vs Value Share Sector" id="{83D9FF2A-D78C-4111-B402-17918F059383}">
          <p14:sldIdLst>
            <p14:sldId id="2147475297"/>
            <p14:sldId id="2147475298"/>
            <p14:sldId id="2147475299"/>
            <p14:sldId id="2147475300"/>
          </p14:sldIdLst>
        </p14:section>
        <p14:section name="Promo share vs Value Share Segment" id="{3EF6ED07-CAB0-4FC3-A93B-2ACF761E3840}">
          <p14:sldIdLst>
            <p14:sldId id="2147475301"/>
            <p14:sldId id="2147475302"/>
            <p14:sldId id="2147475303"/>
            <p14:sldId id="2147475304"/>
            <p14:sldId id="2147475305"/>
            <p14:sldId id="2147475306"/>
          </p14:sldIdLst>
        </p14:section>
        <p14:section name="Promo Sales by total size Category" id="{8856A1A7-A7CB-41A5-B4D8-2DC4D490ABE6}">
          <p14:sldIdLst>
            <p14:sldId id="2147475307"/>
          </p14:sldIdLst>
        </p14:section>
        <p14:section name="Promo Sales by total size Sector" id="{1A5F05AF-63CB-49D4-9139-7E3117F5B03F}">
          <p14:sldIdLst>
            <p14:sldId id="2147475308"/>
            <p14:sldId id="2147475309"/>
          </p14:sldIdLst>
        </p14:section>
        <p14:section name="Promo Sales by total size Segment" id="{C47C4742-92E3-4017-B26A-BB738F5E2BCA}">
          <p14:sldIdLst>
            <p14:sldId id="2147475310"/>
            <p14:sldId id="2147475311"/>
            <p14:sldId id="2147475312"/>
          </p14:sldIdLst>
        </p14:section>
        <p14:section name="Promo Sales by promo type Category" id="{B1E28A8E-E8C3-4E66-AD6A-6C47FFC2F9E8}">
          <p14:sldIdLst>
            <p14:sldId id="2147475313"/>
            <p14:sldId id="2147475314"/>
          </p14:sldIdLst>
        </p14:section>
        <p14:section name="Promo Sales by promo type Sector" id="{F3E0E77F-D13E-48A9-92D7-0402DAE065FC}">
          <p14:sldIdLst>
            <p14:sldId id="2147475315"/>
            <p14:sldId id="2147475316"/>
            <p14:sldId id="2147475317"/>
            <p14:sldId id="2147475318"/>
          </p14:sldIdLst>
        </p14:section>
        <p14:section name="Promo Sales by promo type Segment" id="{58BB743F-F5AE-4CB0-BE4A-3CD75D65346E}">
          <p14:sldIdLst>
            <p14:sldId id="2147475319"/>
            <p14:sldId id="2147475320"/>
            <p14:sldId id="2147475321"/>
            <p14:sldId id="2147475322"/>
            <p14:sldId id="2147475323"/>
          </p14:sldIdLst>
        </p14:section>
        <p14:section name="Promo Frequency learnings Category" id="{95F779AF-2649-4EFB-89E0-074CFC448C4B}">
          <p14:sldIdLst>
            <p14:sldId id="2147475324"/>
            <p14:sldId id="2147475325"/>
            <p14:sldId id="2147475326"/>
            <p14:sldId id="2147475327"/>
            <p14:sldId id="2147475328"/>
            <p14:sldId id="2147475329"/>
            <p14:sldId id="2147475330"/>
          </p14:sldIdLst>
        </p14:section>
        <p14:section name="Promo Frequency learnings Sector" id="{280DAC74-54FC-463F-902F-B44A3623D0A2}">
          <p14:sldIdLst>
            <p14:sldId id="2147475331"/>
            <p14:sldId id="2147475332"/>
            <p14:sldId id="2147475333"/>
            <p14:sldId id="2147475334"/>
            <p14:sldId id="2147475335"/>
            <p14:sldId id="2147475336"/>
            <p14:sldId id="2147475337"/>
            <p14:sldId id="2147475338"/>
            <p14:sldId id="2147475339"/>
            <p14:sldId id="2147475340"/>
            <p14:sldId id="2147475341"/>
          </p14:sldIdLst>
        </p14:section>
        <p14:section name="Promo Frequency learnings Segment" id="{F2EA9299-96AB-40FA-BFD7-71BDD6810CFB}">
          <p14:sldIdLst>
            <p14:sldId id="2147475342"/>
            <p14:sldId id="2147475343"/>
            <p14:sldId id="2147475344"/>
            <p14:sldId id="2147475345"/>
            <p14:sldId id="2147475346"/>
            <p14:sldId id="2147475347"/>
            <p14:sldId id="2147475348"/>
            <p14:sldId id="2147475349"/>
            <p14:sldId id="2147475350"/>
            <p14:sldId id="2147475351"/>
            <p14:sldId id="2147475352"/>
            <p14:sldId id="2147475353"/>
            <p14:sldId id="2147475354"/>
            <p14:sldId id="2147475355"/>
            <p14:sldId id="2147475356"/>
          </p14:sldIdLst>
        </p14:section>
        <p14:section name="Promo sales per retailer Category" id="{CDEED24F-7985-40FF-A00A-6A5B9BBEAB66}">
          <p14:sldIdLst>
            <p14:sldId id="2147475357"/>
            <p14:sldId id="2147475358"/>
          </p14:sldIdLst>
        </p14:section>
        <p14:section name="Promo sales per retailer Sector" id="{9D3F29CB-C3E4-4AA9-8498-C19B01FAD1C2}">
          <p14:sldIdLst>
            <p14:sldId id="2147475359"/>
            <p14:sldId id="2147475360"/>
            <p14:sldId id="2147475361"/>
            <p14:sldId id="2147475362"/>
          </p14:sldIdLst>
        </p14:section>
        <p14:section name="Promo sales per retailer Segment" id="{96B09F8B-8E45-43B6-A2C2-33B9020D360F}">
          <p14:sldIdLst>
            <p14:sldId id="2147475363"/>
            <p14:sldId id="2147475364"/>
            <p14:sldId id="2147475365"/>
            <p14:sldId id="2147475366"/>
            <p14:sldId id="2147475367"/>
          </p14:sldIdLst>
        </p14:section>
        <p14:section name="Promo sales per retailer SubSegment" id="{C251ED6D-4518-4056-B9FF-F52BD3D76D52}">
          <p14:sldIdLst/>
        </p14:section>
        <p14:section name="Value Uplift vs discount depth Category" id="{7E94D10D-9F3C-4B55-888C-A34FBB62760D}">
          <p14:sldIdLst>
            <p14:sldId id="2147475368"/>
            <p14:sldId id="2147475369"/>
            <p14:sldId id="2147475370"/>
            <p14:sldId id="2147475371"/>
            <p14:sldId id="2147475372"/>
          </p14:sldIdLst>
        </p14:section>
        <p14:section name="Value Uplift vs discount depth Sector" id="{A3D1F55C-1CA7-4F45-B1F3-74422818DE1D}">
          <p14:sldIdLst>
            <p14:sldId id="2147475373"/>
            <p14:sldId id="2147475374"/>
            <p14:sldId id="2147475375"/>
            <p14:sldId id="2147475376"/>
            <p14:sldId id="2147475377"/>
            <p14:sldId id="2147475378"/>
            <p14:sldId id="2147475379"/>
          </p14:sldIdLst>
        </p14:section>
        <p14:section name="Value Uplift vs discount depth Segment" id="{B890946A-653C-45F5-A0A2-5B9CBC45210D}">
          <p14:sldIdLst>
            <p14:sldId id="2147475380"/>
            <p14:sldId id="2147475381"/>
            <p14:sldId id="2147475382"/>
            <p14:sldId id="2147475383"/>
            <p14:sldId id="2147475384"/>
            <p14:sldId id="2147475385"/>
            <p14:sldId id="2147475386"/>
            <p14:sldId id="2147475387"/>
            <p14:sldId id="2147475388"/>
            <p14:sldId id="2147475389"/>
          </p14:sldIdLst>
        </p14:section>
        <p14:section name="Seasonality Index Category" id="{2EE02496-8F67-402C-A5A2-4E1F70DB4143}">
          <p14:sldIdLst>
            <p14:sldId id="2147475390"/>
            <p14:sldId id="2147475391"/>
          </p14:sldIdLst>
        </p14:section>
        <p14:section name="Seasonality Index Sector" id="{2682E7A3-B5F6-4935-8C69-10377D73C4D8}">
          <p14:sldIdLst>
            <p14:sldId id="2147475392"/>
            <p14:sldId id="2147475393"/>
          </p14:sldIdLst>
        </p14:section>
        <p14:section name="Seasonality Index Segment" id="{9456791A-4538-4F3D-B7D5-5520281A99C4}">
          <p14:sldIdLst>
            <p14:sldId id="2147475394"/>
            <p14:sldId id="2147475395"/>
            <p14:sldId id="2147475396"/>
            <p14:sldId id="2147475397"/>
          </p14:sldIdLst>
        </p14:section>
        <p14:section name="Seasonality Index Subsegment" id="{1BFF765D-2B13-413D-8A3D-70F88FFB89FF}">
          <p14:sldIdLst/>
        </p14:section>
        <p14:section name="Promotional Frequency Analysis Category" id="{4CEE2305-A1FD-44B4-A1C9-331B31A1D3D1}">
          <p14:sldIdLst>
            <p14:sldId id="2147475398"/>
            <p14:sldId id="2147475399"/>
          </p14:sldIdLst>
        </p14:section>
        <p14:section name="Promotional Frequency Analysis Sector" id="{77AC4DF3-4A48-4CB4-887D-1536B816C1F4}">
          <p14:sldIdLst>
            <p14:sldId id="2147475400"/>
            <p14:sldId id="2147475401"/>
            <p14:sldId id="2147475402"/>
            <p14:sldId id="2147475403"/>
          </p14:sldIdLst>
        </p14:section>
        <p14:section name="Promotional Frequency Analysis Segment" id="{6636D8BA-FD10-4893-94C6-66B28C9B3A27}">
          <p14:sldIdLst>
            <p14:sldId id="2147475404"/>
            <p14:sldId id="2147475405"/>
            <p14:sldId id="2147475406"/>
            <p14:sldId id="2147475407"/>
            <p14:sldId id="2147475408"/>
          </p14:sldIdLst>
        </p14:section>
        <p14:section name="Promotional Frequency Analysis Subsegment" id="{C0B9F9A4-6B69-4D86-B68F-E16AD3F2577D}">
          <p14:sldIdLst/>
        </p14:section>
        <p14:section name="Promo Evolution no client prio Category" id="{61C424B7-ADE8-41FB-8B6E-8E1A639EDAC4}">
          <p14:sldIdLst>
            <p14:sldId id="2147475409"/>
            <p14:sldId id="2147475410"/>
          </p14:sldIdLst>
        </p14:section>
        <p14:section name="Promo Evolution no client prio Sector" id="{C6746326-924A-4B70-AF38-D2DA885ABCC4}">
          <p14:sldIdLst>
            <p14:sldId id="2147475411"/>
            <p14:sldId id="2147475412"/>
            <p14:sldId id="2147475413"/>
            <p14:sldId id="2147475414"/>
          </p14:sldIdLst>
        </p14:section>
        <p14:section name="Promo Evolution no client prio Segment" id="{72626C65-B72A-4B15-8103-7CA48FADA875}">
          <p14:sldIdLst>
            <p14:sldId id="2147475415"/>
            <p14:sldId id="2147475416"/>
            <p14:sldId id="2147475417"/>
            <p14:sldId id="2147475418"/>
            <p14:sldId id="2147475419"/>
            <p14:sldId id="2147475420"/>
          </p14:sldIdLst>
        </p14:section>
        <p14:section name="VSOD Summary by Sector no client prio Sector" id="{11B1E243-0867-467E-8EC6-299B9B6B546D}">
          <p14:sldIdLst>
            <p14:sldId id="2147475421"/>
            <p14:sldId id="2147475422"/>
          </p14:sldIdLst>
        </p14:section>
        <p14:section name="VSOD Summary by Sector no client prio Segment" id="{D82BE304-E233-454B-9B31-255877FE8382}">
          <p14:sldIdLst>
            <p14:sldId id="2147475423"/>
            <p14:sldId id="2147475424"/>
          </p14:sldIdLst>
        </p14:section>
        <p14:section name="Value uplift by retailer by brand no client prio Category" id="{7B898205-26FF-460C-88EC-39D10B8BD3B5}">
          <p14:sldIdLst>
            <p14:sldId id="2147475425"/>
          </p14:sldIdLst>
        </p14:section>
        <p14:section name="Value uplift by retailer by brand no client prio Sector" id="{839BA034-4BC2-47AA-96DE-5FDADA73E674}">
          <p14:sldIdLst>
            <p14:sldId id="2147475426"/>
            <p14:sldId id="2147475427"/>
          </p14:sldIdLst>
        </p14:section>
        <p14:section name="Value uplift by retailer by brand no client prio Segment" id="{C8022F7F-B0B6-4723-987C-A64B9FAC24A3}">
          <p14:sldIdLst>
            <p14:sldId id="2147475428"/>
            <p14:sldId id="2147475429"/>
            <p14:sldId id="2147475430"/>
          </p14:sldIdLst>
        </p14:section>
        <p14:section name="Promo share vs Value Share no client prio Category" id="{A8D2BE56-EF1A-4491-B853-1D3E98062500}">
          <p14:sldIdLst>
            <p14:sldId id="2147475431"/>
            <p14:sldId id="2147475432"/>
          </p14:sldIdLst>
        </p14:section>
        <p14:section name="Promo share vs Value Share no client prio Sector" id="{B4E4BE16-2F4B-4753-A9F3-01D2BF76FCAA}">
          <p14:sldIdLst>
            <p14:sldId id="2147475433"/>
            <p14:sldId id="2147475434"/>
            <p14:sldId id="2147475435"/>
            <p14:sldId id="2147475436"/>
          </p14:sldIdLst>
        </p14:section>
        <p14:section name="Promo share vs Value Share no client prio Segment" id="{A061F5B6-629A-44CB-88E5-DD15029DAA63}">
          <p14:sldIdLst>
            <p14:sldId id="2147475437"/>
            <p14:sldId id="2147475438"/>
            <p14:sldId id="2147475439"/>
            <p14:sldId id="2147475440"/>
            <p14:sldId id="2147475441"/>
            <p14:sldId id="2147475442"/>
          </p14:sldIdLst>
        </p14:section>
        <p14:section name="Promo Sales by total size no client prio Category" id="{D6C92E14-EB1C-45BB-BC5A-3D67A3B64873}">
          <p14:sldIdLst>
            <p14:sldId id="2147475443"/>
          </p14:sldIdLst>
        </p14:section>
        <p14:section name="Promo Sales by total size no client prio Sector" id="{E07FE699-79D4-4A5C-9E9F-9EBFFA2D13F3}">
          <p14:sldIdLst>
            <p14:sldId id="2147475444"/>
            <p14:sldId id="2147475445"/>
          </p14:sldIdLst>
        </p14:section>
        <p14:section name="Promo Sales by total size no client prio Segment" id="{6B4FF2C3-3F1B-4253-9F09-51EC9F333B7A}">
          <p14:sldIdLst>
            <p14:sldId id="2147475446"/>
            <p14:sldId id="2147475447"/>
            <p14:sldId id="214747544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C2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EC2644B-FBB3-4E70-8177-D39ED5E85D5B}" v="17" dt="2024-11-01T09:06:09.73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91" d="100"/>
          <a:sy n="91" d="100"/>
        </p:scale>
        <p:origin x="810" y="66"/>
      </p:cViewPr>
      <p:guideLst>
        <p:guide orient="horz" pos="940"/>
        <p:guide pos="2880"/>
        <p:guide orient="horz" pos="17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63" Type="http://schemas.openxmlformats.org/officeDocument/2006/relationships/slide" Target="slides/slide59.xml"/><Relationship Id="rId159" Type="http://schemas.openxmlformats.org/officeDocument/2006/relationships/slide" Target="slides/slide155.xml"/><Relationship Id="rId170" Type="http://schemas.openxmlformats.org/officeDocument/2006/relationships/slide" Target="slides/slide166.xml"/><Relationship Id="rId226" Type="http://schemas.openxmlformats.org/officeDocument/2006/relationships/slide" Target="slides/slide22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181" Type="http://schemas.openxmlformats.org/officeDocument/2006/relationships/slide" Target="slides/slide177.xml"/><Relationship Id="rId216" Type="http://schemas.openxmlformats.org/officeDocument/2006/relationships/slide" Target="slides/slide212.xml"/><Relationship Id="rId237" Type="http://schemas.openxmlformats.org/officeDocument/2006/relationships/slide" Target="slides/slide233.xml"/><Relationship Id="rId258" Type="http://schemas.openxmlformats.org/officeDocument/2006/relationships/slide" Target="slides/slide254.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slide" Target="slides/slide167.xml"/><Relationship Id="rId192" Type="http://schemas.openxmlformats.org/officeDocument/2006/relationships/slide" Target="slides/slide188.xml"/><Relationship Id="rId206" Type="http://schemas.openxmlformats.org/officeDocument/2006/relationships/slide" Target="slides/slide202.xml"/><Relationship Id="rId227" Type="http://schemas.openxmlformats.org/officeDocument/2006/relationships/slide" Target="slides/slide223.xml"/><Relationship Id="rId248" Type="http://schemas.openxmlformats.org/officeDocument/2006/relationships/slide" Target="slides/slide244.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182" Type="http://schemas.openxmlformats.org/officeDocument/2006/relationships/slide" Target="slides/slide178.xml"/><Relationship Id="rId217" Type="http://schemas.openxmlformats.org/officeDocument/2006/relationships/slide" Target="slides/slide213.xml"/><Relationship Id="rId6" Type="http://schemas.openxmlformats.org/officeDocument/2006/relationships/slide" Target="slides/slide2.xml"/><Relationship Id="rId238" Type="http://schemas.openxmlformats.org/officeDocument/2006/relationships/slide" Target="slides/slide234.xml"/><Relationship Id="rId259" Type="http://schemas.openxmlformats.org/officeDocument/2006/relationships/slide" Target="slides/slide255.xml"/><Relationship Id="rId23" Type="http://schemas.openxmlformats.org/officeDocument/2006/relationships/slide" Target="slides/slide19.xml"/><Relationship Id="rId119" Type="http://schemas.openxmlformats.org/officeDocument/2006/relationships/slide" Target="slides/slide115.xml"/><Relationship Id="rId44" Type="http://schemas.openxmlformats.org/officeDocument/2006/relationships/slide" Target="slides/slide40.xml"/><Relationship Id="rId65" Type="http://schemas.openxmlformats.org/officeDocument/2006/relationships/slide" Target="slides/slide61.xml"/><Relationship Id="rId86" Type="http://schemas.openxmlformats.org/officeDocument/2006/relationships/slide" Target="slides/slide82.xml"/><Relationship Id="rId130" Type="http://schemas.openxmlformats.org/officeDocument/2006/relationships/slide" Target="slides/slide126.xml"/><Relationship Id="rId151" Type="http://schemas.openxmlformats.org/officeDocument/2006/relationships/slide" Target="slides/slide147.xml"/><Relationship Id="rId172" Type="http://schemas.openxmlformats.org/officeDocument/2006/relationships/slide" Target="slides/slide168.xml"/><Relationship Id="rId193" Type="http://schemas.openxmlformats.org/officeDocument/2006/relationships/slide" Target="slides/slide189.xml"/><Relationship Id="rId207" Type="http://schemas.openxmlformats.org/officeDocument/2006/relationships/slide" Target="slides/slide203.xml"/><Relationship Id="rId228" Type="http://schemas.openxmlformats.org/officeDocument/2006/relationships/slide" Target="slides/slide224.xml"/><Relationship Id="rId249" Type="http://schemas.openxmlformats.org/officeDocument/2006/relationships/slide" Target="slides/slide245.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notesMaster" Target="notesMasters/notesMaster1.xml"/><Relationship Id="rId34" Type="http://schemas.openxmlformats.org/officeDocument/2006/relationships/slide" Target="slides/slide30.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20" Type="http://schemas.openxmlformats.org/officeDocument/2006/relationships/slide" Target="slides/slide116.xml"/><Relationship Id="rId141" Type="http://schemas.openxmlformats.org/officeDocument/2006/relationships/slide" Target="slides/slide137.xml"/><Relationship Id="rId7" Type="http://schemas.openxmlformats.org/officeDocument/2006/relationships/slide" Target="slides/slide3.xml"/><Relationship Id="rId162" Type="http://schemas.openxmlformats.org/officeDocument/2006/relationships/slide" Target="slides/slide158.xml"/><Relationship Id="rId183" Type="http://schemas.openxmlformats.org/officeDocument/2006/relationships/slide" Target="slides/slide179.xml"/><Relationship Id="rId218" Type="http://schemas.openxmlformats.org/officeDocument/2006/relationships/slide" Target="slides/slide214.xml"/><Relationship Id="rId239" Type="http://schemas.openxmlformats.org/officeDocument/2006/relationships/slide" Target="slides/slide235.xml"/><Relationship Id="rId250" Type="http://schemas.openxmlformats.org/officeDocument/2006/relationships/slide" Target="slides/slide246.xml"/><Relationship Id="rId24" Type="http://schemas.openxmlformats.org/officeDocument/2006/relationships/slide" Target="slides/slide20.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31" Type="http://schemas.openxmlformats.org/officeDocument/2006/relationships/slide" Target="slides/slide127.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208" Type="http://schemas.openxmlformats.org/officeDocument/2006/relationships/slide" Target="slides/slide204.xml"/><Relationship Id="rId229" Type="http://schemas.openxmlformats.org/officeDocument/2006/relationships/slide" Target="slides/slide225.xml"/><Relationship Id="rId240" Type="http://schemas.openxmlformats.org/officeDocument/2006/relationships/slide" Target="slides/slide236.xml"/><Relationship Id="rId261" Type="http://schemas.openxmlformats.org/officeDocument/2006/relationships/presProps" Target="presProps.xml"/><Relationship Id="rId14" Type="http://schemas.openxmlformats.org/officeDocument/2006/relationships/slide" Target="slides/slide10.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8" Type="http://schemas.openxmlformats.org/officeDocument/2006/relationships/slide" Target="slides/slide4.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219" Type="http://schemas.openxmlformats.org/officeDocument/2006/relationships/slide" Target="slides/slide215.xml"/><Relationship Id="rId230" Type="http://schemas.openxmlformats.org/officeDocument/2006/relationships/slide" Target="slides/slide226.xml"/><Relationship Id="rId251" Type="http://schemas.openxmlformats.org/officeDocument/2006/relationships/slide" Target="slides/slide247.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95" Type="http://schemas.openxmlformats.org/officeDocument/2006/relationships/slide" Target="slides/slide191.xml"/><Relationship Id="rId209" Type="http://schemas.openxmlformats.org/officeDocument/2006/relationships/slide" Target="slides/slide205.xml"/><Relationship Id="rId220" Type="http://schemas.openxmlformats.org/officeDocument/2006/relationships/slide" Target="slides/slide216.xml"/><Relationship Id="rId241" Type="http://schemas.openxmlformats.org/officeDocument/2006/relationships/slide" Target="slides/slide23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262" Type="http://schemas.openxmlformats.org/officeDocument/2006/relationships/viewProps" Target="viewProps.xml"/><Relationship Id="rId78" Type="http://schemas.openxmlformats.org/officeDocument/2006/relationships/slide" Target="slides/slide74.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64" Type="http://schemas.openxmlformats.org/officeDocument/2006/relationships/slide" Target="slides/slide160.xml"/><Relationship Id="rId185" Type="http://schemas.openxmlformats.org/officeDocument/2006/relationships/slide" Target="slides/slide181.xml"/><Relationship Id="rId9" Type="http://schemas.openxmlformats.org/officeDocument/2006/relationships/slide" Target="slides/slide5.xml"/><Relationship Id="rId210" Type="http://schemas.openxmlformats.org/officeDocument/2006/relationships/slide" Target="slides/slide206.xml"/><Relationship Id="rId26" Type="http://schemas.openxmlformats.org/officeDocument/2006/relationships/slide" Target="slides/slide22.xml"/><Relationship Id="rId231" Type="http://schemas.openxmlformats.org/officeDocument/2006/relationships/slide" Target="slides/slide227.xml"/><Relationship Id="rId252" Type="http://schemas.openxmlformats.org/officeDocument/2006/relationships/slide" Target="slides/slide248.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slide" Target="slides/slide196.xml"/><Relationship Id="rId16" Type="http://schemas.openxmlformats.org/officeDocument/2006/relationships/slide" Target="slides/slide12.xml"/><Relationship Id="rId221" Type="http://schemas.openxmlformats.org/officeDocument/2006/relationships/slide" Target="slides/slide217.xml"/><Relationship Id="rId242" Type="http://schemas.openxmlformats.org/officeDocument/2006/relationships/slide" Target="slides/slide238.xml"/><Relationship Id="rId263" Type="http://schemas.openxmlformats.org/officeDocument/2006/relationships/theme" Target="theme/theme1.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11" Type="http://schemas.openxmlformats.org/officeDocument/2006/relationships/slide" Target="slides/slide207.xml"/><Relationship Id="rId232" Type="http://schemas.openxmlformats.org/officeDocument/2006/relationships/slide" Target="slides/slide228.xml"/><Relationship Id="rId253" Type="http://schemas.openxmlformats.org/officeDocument/2006/relationships/slide" Target="slides/slide249.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slide" Target="slides/slide193.xml"/><Relationship Id="rId201" Type="http://schemas.openxmlformats.org/officeDocument/2006/relationships/slide" Target="slides/slide197.xml"/><Relationship Id="rId222" Type="http://schemas.openxmlformats.org/officeDocument/2006/relationships/slide" Target="slides/slide218.xml"/><Relationship Id="rId243" Type="http://schemas.openxmlformats.org/officeDocument/2006/relationships/slide" Target="slides/slide239.xml"/><Relationship Id="rId264" Type="http://schemas.openxmlformats.org/officeDocument/2006/relationships/tableStyles" Target="tableStyles.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1" Type="http://schemas.openxmlformats.org/officeDocument/2006/relationships/customXml" Target="../customXml/item1.xml"/><Relationship Id="rId212" Type="http://schemas.openxmlformats.org/officeDocument/2006/relationships/slide" Target="slides/slide208.xml"/><Relationship Id="rId233" Type="http://schemas.openxmlformats.org/officeDocument/2006/relationships/slide" Target="slides/slide229.xml"/><Relationship Id="rId254" Type="http://schemas.openxmlformats.org/officeDocument/2006/relationships/slide" Target="slides/slide250.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202" Type="http://schemas.openxmlformats.org/officeDocument/2006/relationships/slide" Target="slides/slide198.xml"/><Relationship Id="rId223" Type="http://schemas.openxmlformats.org/officeDocument/2006/relationships/slide" Target="slides/slide219.xml"/><Relationship Id="rId244" Type="http://schemas.openxmlformats.org/officeDocument/2006/relationships/slide" Target="slides/slide240.xml"/><Relationship Id="rId18" Type="http://schemas.openxmlformats.org/officeDocument/2006/relationships/slide" Target="slides/slide14.xml"/><Relationship Id="rId39" Type="http://schemas.openxmlformats.org/officeDocument/2006/relationships/slide" Target="slides/slide35.xml"/><Relationship Id="rId265" Type="http://schemas.microsoft.com/office/2015/10/relationships/revisionInfo" Target="revisionInfo.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71" Type="http://schemas.openxmlformats.org/officeDocument/2006/relationships/slide" Target="slides/slide67.xml"/><Relationship Id="rId92" Type="http://schemas.openxmlformats.org/officeDocument/2006/relationships/slide" Target="slides/slide88.xml"/><Relationship Id="rId213" Type="http://schemas.openxmlformats.org/officeDocument/2006/relationships/slide" Target="slides/slide209.xml"/><Relationship Id="rId234" Type="http://schemas.openxmlformats.org/officeDocument/2006/relationships/slide" Target="slides/slide230.xml"/><Relationship Id="rId2" Type="http://schemas.openxmlformats.org/officeDocument/2006/relationships/customXml" Target="../customXml/item2.xml"/><Relationship Id="rId29" Type="http://schemas.openxmlformats.org/officeDocument/2006/relationships/slide" Target="slides/slide25.xml"/><Relationship Id="rId255" Type="http://schemas.openxmlformats.org/officeDocument/2006/relationships/slide" Target="slides/slide251.xml"/><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19" Type="http://schemas.openxmlformats.org/officeDocument/2006/relationships/slide" Target="slides/slide15.xml"/><Relationship Id="rId224" Type="http://schemas.openxmlformats.org/officeDocument/2006/relationships/slide" Target="slides/slide220.xml"/><Relationship Id="rId245" Type="http://schemas.openxmlformats.org/officeDocument/2006/relationships/slide" Target="slides/slide241.xml"/><Relationship Id="rId266" Type="http://schemas.microsoft.com/office/2018/10/relationships/authors" Target="authors.xml"/><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 Id="rId3" Type="http://schemas.openxmlformats.org/officeDocument/2006/relationships/customXml" Target="../customXml/item3.xml"/><Relationship Id="rId214" Type="http://schemas.openxmlformats.org/officeDocument/2006/relationships/slide" Target="slides/slide210.xml"/><Relationship Id="rId235" Type="http://schemas.openxmlformats.org/officeDocument/2006/relationships/slide" Target="slides/slide231.xml"/><Relationship Id="rId256" Type="http://schemas.openxmlformats.org/officeDocument/2006/relationships/slide" Target="slides/slide252.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179" Type="http://schemas.openxmlformats.org/officeDocument/2006/relationships/slide" Target="slides/slide175.xml"/><Relationship Id="rId190" Type="http://schemas.openxmlformats.org/officeDocument/2006/relationships/slide" Target="slides/slide186.xml"/><Relationship Id="rId204" Type="http://schemas.openxmlformats.org/officeDocument/2006/relationships/slide" Target="slides/slide200.xml"/><Relationship Id="rId225" Type="http://schemas.openxmlformats.org/officeDocument/2006/relationships/slide" Target="slides/slide221.xml"/><Relationship Id="rId246" Type="http://schemas.openxmlformats.org/officeDocument/2006/relationships/slide" Target="slides/slide242.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94" Type="http://schemas.openxmlformats.org/officeDocument/2006/relationships/slide" Target="slides/slide90.xml"/><Relationship Id="rId148" Type="http://schemas.openxmlformats.org/officeDocument/2006/relationships/slide" Target="slides/slide144.xml"/><Relationship Id="rId169" Type="http://schemas.openxmlformats.org/officeDocument/2006/relationships/slide" Target="slides/slide165.xml"/><Relationship Id="rId4" Type="http://schemas.openxmlformats.org/officeDocument/2006/relationships/slideMaster" Target="slideMasters/slideMaster1.xml"/><Relationship Id="rId180" Type="http://schemas.openxmlformats.org/officeDocument/2006/relationships/slide" Target="slides/slide176.xml"/><Relationship Id="rId215" Type="http://schemas.openxmlformats.org/officeDocument/2006/relationships/slide" Target="slides/slide211.xml"/><Relationship Id="rId236" Type="http://schemas.openxmlformats.org/officeDocument/2006/relationships/slide" Target="slides/slide232.xml"/><Relationship Id="rId257" Type="http://schemas.openxmlformats.org/officeDocument/2006/relationships/slide" Target="slides/slide253.xml"/><Relationship Id="rId42" Type="http://schemas.openxmlformats.org/officeDocument/2006/relationships/slide" Target="slides/slide38.xml"/><Relationship Id="rId84" Type="http://schemas.openxmlformats.org/officeDocument/2006/relationships/slide" Target="slides/slide80.xml"/><Relationship Id="rId138" Type="http://schemas.openxmlformats.org/officeDocument/2006/relationships/slide" Target="slides/slide134.xml"/><Relationship Id="rId191" Type="http://schemas.openxmlformats.org/officeDocument/2006/relationships/slide" Target="slides/slide187.xml"/><Relationship Id="rId205" Type="http://schemas.openxmlformats.org/officeDocument/2006/relationships/slide" Target="slides/slide201.xml"/><Relationship Id="rId247" Type="http://schemas.openxmlformats.org/officeDocument/2006/relationships/slide" Target="slides/slide24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3" Type="http://schemas.openxmlformats.org/officeDocument/2006/relationships/package" Target="../embeddings/Microsoft_Excel_Worksheet109.xlsx"/><Relationship Id="rId2" Type="http://schemas.microsoft.com/office/2011/relationships/chartColorStyle" Target="colors20.xml"/><Relationship Id="rId1" Type="http://schemas.microsoft.com/office/2011/relationships/chartStyle" Target="style20.xml"/></Relationships>
</file>

<file path=ppt/charts/_rels/chart111.xml.rels><?xml version="1.0" encoding="UTF-8" standalone="yes"?>
<Relationships xmlns="http://schemas.openxmlformats.org/package/2006/relationships"><Relationship Id="rId3" Type="http://schemas.openxmlformats.org/officeDocument/2006/relationships/package" Target="../embeddings/Microsoft_Excel_Worksheet110.xlsx"/><Relationship Id="rId2" Type="http://schemas.microsoft.com/office/2011/relationships/chartColorStyle" Target="colors21.xml"/><Relationship Id="rId1" Type="http://schemas.microsoft.com/office/2011/relationships/chartStyle" Target="style21.xml"/></Relationships>
</file>

<file path=ppt/charts/_rels/chart112.xml.rels><?xml version="1.0" encoding="UTF-8" standalone="yes"?>
<Relationships xmlns="http://schemas.openxmlformats.org/package/2006/relationships"><Relationship Id="rId3" Type="http://schemas.openxmlformats.org/officeDocument/2006/relationships/package" Target="../embeddings/Microsoft_Excel_Worksheet111.xlsx"/><Relationship Id="rId2" Type="http://schemas.microsoft.com/office/2011/relationships/chartColorStyle" Target="colors22.xml"/><Relationship Id="rId1" Type="http://schemas.microsoft.com/office/2011/relationships/chartStyle" Target="style22.xml"/></Relationships>
</file>

<file path=ppt/charts/_rels/chart113.xml.rels><?xml version="1.0" encoding="UTF-8" standalone="yes"?>
<Relationships xmlns="http://schemas.openxmlformats.org/package/2006/relationships"><Relationship Id="rId3" Type="http://schemas.openxmlformats.org/officeDocument/2006/relationships/package" Target="../embeddings/Microsoft_Excel_Worksheet112.xlsx"/><Relationship Id="rId2" Type="http://schemas.microsoft.com/office/2011/relationships/chartColorStyle" Target="colors23.xml"/><Relationship Id="rId1" Type="http://schemas.microsoft.com/office/2011/relationships/chartStyle" Target="style23.xml"/></Relationships>
</file>

<file path=ppt/charts/_rels/chart114.xml.rels><?xml version="1.0" encoding="UTF-8" standalone="yes"?>
<Relationships xmlns="http://schemas.openxmlformats.org/package/2006/relationships"><Relationship Id="rId3" Type="http://schemas.openxmlformats.org/officeDocument/2006/relationships/package" Target="../embeddings/Microsoft_Excel_Worksheet113.xlsx"/><Relationship Id="rId2" Type="http://schemas.microsoft.com/office/2011/relationships/chartColorStyle" Target="colors24.xml"/><Relationship Id="rId1" Type="http://schemas.microsoft.com/office/2011/relationships/chartStyle" Target="style24.xml"/></Relationships>
</file>

<file path=ppt/charts/_rels/chart115.xml.rels><?xml version="1.0" encoding="UTF-8" standalone="yes"?>
<Relationships xmlns="http://schemas.openxmlformats.org/package/2006/relationships"><Relationship Id="rId3" Type="http://schemas.openxmlformats.org/officeDocument/2006/relationships/package" Target="../embeddings/Microsoft_Excel_Worksheet114.xlsx"/><Relationship Id="rId2" Type="http://schemas.microsoft.com/office/2011/relationships/chartColorStyle" Target="colors25.xml"/><Relationship Id="rId1" Type="http://schemas.microsoft.com/office/2011/relationships/chartStyle" Target="style25.xml"/></Relationships>
</file>

<file path=ppt/charts/_rels/chart116.xml.rels><?xml version="1.0" encoding="UTF-8" standalone="yes"?>
<Relationships xmlns="http://schemas.openxmlformats.org/package/2006/relationships"><Relationship Id="rId3" Type="http://schemas.openxmlformats.org/officeDocument/2006/relationships/package" Target="../embeddings/Microsoft_Excel_Worksheet115.xlsx"/><Relationship Id="rId2" Type="http://schemas.microsoft.com/office/2011/relationships/chartColorStyle" Target="colors26.xml"/><Relationship Id="rId1" Type="http://schemas.microsoft.com/office/2011/relationships/chartStyle" Target="style26.xml"/></Relationships>
</file>

<file path=ppt/charts/_rels/chart117.xml.rels><?xml version="1.0" encoding="UTF-8" standalone="yes"?>
<Relationships xmlns="http://schemas.openxmlformats.org/package/2006/relationships"><Relationship Id="rId3" Type="http://schemas.openxmlformats.org/officeDocument/2006/relationships/package" Target="../embeddings/Microsoft_Excel_Worksheet116.xlsx"/><Relationship Id="rId2" Type="http://schemas.microsoft.com/office/2011/relationships/chartColorStyle" Target="colors27.xml"/><Relationship Id="rId1" Type="http://schemas.microsoft.com/office/2011/relationships/chartStyle" Target="style27.xml"/></Relationships>
</file>

<file path=ppt/charts/_rels/chart118.xml.rels><?xml version="1.0" encoding="UTF-8" standalone="yes"?>
<Relationships xmlns="http://schemas.openxmlformats.org/package/2006/relationships"><Relationship Id="rId3" Type="http://schemas.openxmlformats.org/officeDocument/2006/relationships/package" Target="../embeddings/Microsoft_Excel_Worksheet117.xlsx"/><Relationship Id="rId2" Type="http://schemas.microsoft.com/office/2011/relationships/chartColorStyle" Target="colors28.xml"/><Relationship Id="rId1" Type="http://schemas.microsoft.com/office/2011/relationships/chartStyle" Target="style28.xml"/></Relationships>
</file>

<file path=ppt/charts/_rels/chart119.xml.rels><?xml version="1.0" encoding="UTF-8" standalone="yes"?>
<Relationships xmlns="http://schemas.openxmlformats.org/package/2006/relationships"><Relationship Id="rId3" Type="http://schemas.openxmlformats.org/officeDocument/2006/relationships/package" Target="../embeddings/Microsoft_Excel_Worksheet118.xlsx"/><Relationship Id="rId2" Type="http://schemas.microsoft.com/office/2011/relationships/chartColorStyle" Target="colors29.xml"/><Relationship Id="rId1" Type="http://schemas.microsoft.com/office/2011/relationships/chartStyle" Target="style29.xml"/></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3" Type="http://schemas.openxmlformats.org/officeDocument/2006/relationships/package" Target="../embeddings/Microsoft_Excel_Worksheet119.xlsx"/><Relationship Id="rId2" Type="http://schemas.microsoft.com/office/2011/relationships/chartColorStyle" Target="colors30.xml"/><Relationship Id="rId1" Type="http://schemas.microsoft.com/office/2011/relationships/chartStyle" Target="style30.xml"/></Relationships>
</file>

<file path=ppt/charts/_rels/chart121.xml.rels><?xml version="1.0" encoding="UTF-8" standalone="yes"?>
<Relationships xmlns="http://schemas.openxmlformats.org/package/2006/relationships"><Relationship Id="rId3" Type="http://schemas.openxmlformats.org/officeDocument/2006/relationships/package" Target="../embeddings/Microsoft_Excel_Worksheet120.xlsx"/><Relationship Id="rId2" Type="http://schemas.microsoft.com/office/2011/relationships/chartColorStyle" Target="colors31.xml"/><Relationship Id="rId1" Type="http://schemas.microsoft.com/office/2011/relationships/chartStyle" Target="style31.xml"/></Relationships>
</file>

<file path=ppt/charts/_rels/chart122.xml.rels><?xml version="1.0" encoding="UTF-8" standalone="yes"?>
<Relationships xmlns="http://schemas.openxmlformats.org/package/2006/relationships"><Relationship Id="rId3" Type="http://schemas.openxmlformats.org/officeDocument/2006/relationships/package" Target="../embeddings/Microsoft_Excel_Worksheet121.xlsx"/><Relationship Id="rId2" Type="http://schemas.microsoft.com/office/2011/relationships/chartColorStyle" Target="colors32.xml"/><Relationship Id="rId1" Type="http://schemas.microsoft.com/office/2011/relationships/chartStyle" Target="style32.xml"/></Relationships>
</file>

<file path=ppt/charts/_rels/chart123.xml.rels><?xml version="1.0" encoding="UTF-8" standalone="yes"?>
<Relationships xmlns="http://schemas.openxmlformats.org/package/2006/relationships"><Relationship Id="rId3" Type="http://schemas.openxmlformats.org/officeDocument/2006/relationships/package" Target="../embeddings/Microsoft_Excel_Worksheet122.xlsx"/><Relationship Id="rId2" Type="http://schemas.microsoft.com/office/2011/relationships/chartColorStyle" Target="colors33.xml"/><Relationship Id="rId1" Type="http://schemas.microsoft.com/office/2011/relationships/chartStyle" Target="style33.xml"/></Relationships>
</file>

<file path=ppt/charts/_rels/chart124.xml.rels><?xml version="1.0" encoding="UTF-8" standalone="yes"?>
<Relationships xmlns="http://schemas.openxmlformats.org/package/2006/relationships"><Relationship Id="rId3" Type="http://schemas.openxmlformats.org/officeDocument/2006/relationships/package" Target="../embeddings/Microsoft_Excel_Worksheet123.xlsx"/><Relationship Id="rId2" Type="http://schemas.microsoft.com/office/2011/relationships/chartColorStyle" Target="colors34.xml"/><Relationship Id="rId1" Type="http://schemas.microsoft.com/office/2011/relationships/chartStyle" Target="style34.xml"/></Relationships>
</file>

<file path=ppt/charts/_rels/chart125.xml.rels><?xml version="1.0" encoding="UTF-8" standalone="yes"?>
<Relationships xmlns="http://schemas.openxmlformats.org/package/2006/relationships"><Relationship Id="rId3" Type="http://schemas.openxmlformats.org/officeDocument/2006/relationships/package" Target="../embeddings/Microsoft_Excel_Worksheet124.xlsx"/><Relationship Id="rId2" Type="http://schemas.microsoft.com/office/2011/relationships/chartColorStyle" Target="colors35.xml"/><Relationship Id="rId1" Type="http://schemas.microsoft.com/office/2011/relationships/chartStyle" Target="style35.xml"/></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3" Type="http://schemas.openxmlformats.org/officeDocument/2006/relationships/package" Target="../embeddings/Microsoft_Excel_Worksheet158.xlsx"/><Relationship Id="rId2" Type="http://schemas.microsoft.com/office/2011/relationships/chartColorStyle" Target="colors36.xml"/><Relationship Id="rId1" Type="http://schemas.microsoft.com/office/2011/relationships/chartStyle" Target="style36.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3" Type="http://schemas.openxmlformats.org/officeDocument/2006/relationships/package" Target="../embeddings/Microsoft_Excel_Worksheet159.xlsx"/><Relationship Id="rId2" Type="http://schemas.microsoft.com/office/2011/relationships/chartColorStyle" Target="colors37.xml"/><Relationship Id="rId1" Type="http://schemas.microsoft.com/office/2011/relationships/chartStyle" Target="style37.xml"/></Relationships>
</file>

<file path=ppt/charts/_rels/chart161.xml.rels><?xml version="1.0" encoding="UTF-8" standalone="yes"?>
<Relationships xmlns="http://schemas.openxmlformats.org/package/2006/relationships"><Relationship Id="rId3" Type="http://schemas.openxmlformats.org/officeDocument/2006/relationships/package" Target="../embeddings/Microsoft_Excel_Worksheet160.xlsx"/><Relationship Id="rId2" Type="http://schemas.microsoft.com/office/2011/relationships/chartColorStyle" Target="colors38.xml"/><Relationship Id="rId1" Type="http://schemas.microsoft.com/office/2011/relationships/chartStyle" Target="style38.xml"/></Relationships>
</file>

<file path=ppt/charts/_rels/chart162.xml.rels><?xml version="1.0" encoding="UTF-8" standalone="yes"?>
<Relationships xmlns="http://schemas.openxmlformats.org/package/2006/relationships"><Relationship Id="rId3" Type="http://schemas.openxmlformats.org/officeDocument/2006/relationships/package" Target="../embeddings/Microsoft_Excel_Worksheet161.xlsx"/><Relationship Id="rId2" Type="http://schemas.microsoft.com/office/2011/relationships/chartColorStyle" Target="colors39.xml"/><Relationship Id="rId1" Type="http://schemas.microsoft.com/office/2011/relationships/chartStyle" Target="style39.xml"/></Relationships>
</file>

<file path=ppt/charts/_rels/chart163.xml.rels><?xml version="1.0" encoding="UTF-8" standalone="yes"?>
<Relationships xmlns="http://schemas.openxmlformats.org/package/2006/relationships"><Relationship Id="rId3" Type="http://schemas.openxmlformats.org/officeDocument/2006/relationships/package" Target="../embeddings/Microsoft_Excel_Worksheet162.xlsx"/><Relationship Id="rId2" Type="http://schemas.microsoft.com/office/2011/relationships/chartColorStyle" Target="colors40.xml"/><Relationship Id="rId1" Type="http://schemas.microsoft.com/office/2011/relationships/chartStyle" Target="style40.xml"/></Relationships>
</file>

<file path=ppt/charts/_rels/chart164.xml.rels><?xml version="1.0" encoding="UTF-8" standalone="yes"?>
<Relationships xmlns="http://schemas.openxmlformats.org/package/2006/relationships"><Relationship Id="rId3" Type="http://schemas.openxmlformats.org/officeDocument/2006/relationships/package" Target="../embeddings/Microsoft_Excel_Worksheet163.xlsx"/><Relationship Id="rId2" Type="http://schemas.microsoft.com/office/2011/relationships/chartColorStyle" Target="colors41.xml"/><Relationship Id="rId1" Type="http://schemas.microsoft.com/office/2011/relationships/chartStyle" Target="style41.xml"/></Relationships>
</file>

<file path=ppt/charts/_rels/chart165.xml.rels><?xml version="1.0" encoding="UTF-8" standalone="yes"?>
<Relationships xmlns="http://schemas.openxmlformats.org/package/2006/relationships"><Relationship Id="rId3" Type="http://schemas.openxmlformats.org/officeDocument/2006/relationships/package" Target="../embeddings/Microsoft_Excel_Worksheet164.xlsx"/><Relationship Id="rId2" Type="http://schemas.microsoft.com/office/2011/relationships/chartColorStyle" Target="colors42.xml"/><Relationship Id="rId1" Type="http://schemas.microsoft.com/office/2011/relationships/chartStyle" Target="style42.xml"/></Relationships>
</file>

<file path=ppt/charts/_rels/chart166.xml.rels><?xml version="1.0" encoding="UTF-8" standalone="yes"?>
<Relationships xmlns="http://schemas.openxmlformats.org/package/2006/relationships"><Relationship Id="rId3" Type="http://schemas.openxmlformats.org/officeDocument/2006/relationships/package" Target="../embeddings/Microsoft_Excel_Worksheet165.xlsx"/><Relationship Id="rId2" Type="http://schemas.microsoft.com/office/2011/relationships/chartColorStyle" Target="colors43.xml"/><Relationship Id="rId1" Type="http://schemas.microsoft.com/office/2011/relationships/chartStyle" Target="style43.xml"/></Relationships>
</file>

<file path=ppt/charts/_rels/chart167.xml.rels><?xml version="1.0" encoding="UTF-8" standalone="yes"?>
<Relationships xmlns="http://schemas.openxmlformats.org/package/2006/relationships"><Relationship Id="rId3" Type="http://schemas.openxmlformats.org/officeDocument/2006/relationships/package" Target="../embeddings/Microsoft_Excel_Worksheet166.xlsx"/><Relationship Id="rId2" Type="http://schemas.microsoft.com/office/2011/relationships/chartColorStyle" Target="colors44.xml"/><Relationship Id="rId1" Type="http://schemas.microsoft.com/office/2011/relationships/chartStyle" Target="style44.xml"/></Relationships>
</file>

<file path=ppt/charts/_rels/chart168.xml.rels><?xml version="1.0" encoding="UTF-8" standalone="yes"?>
<Relationships xmlns="http://schemas.openxmlformats.org/package/2006/relationships"><Relationship Id="rId3" Type="http://schemas.openxmlformats.org/officeDocument/2006/relationships/package" Target="../embeddings/Microsoft_Excel_Worksheet167.xlsx"/><Relationship Id="rId2" Type="http://schemas.microsoft.com/office/2011/relationships/chartColorStyle" Target="colors45.xml"/><Relationship Id="rId1" Type="http://schemas.microsoft.com/office/2011/relationships/chartStyle" Target="style45.xml"/></Relationships>
</file>

<file path=ppt/charts/_rels/chart169.xml.rels><?xml version="1.0" encoding="UTF-8" standalone="yes"?>
<Relationships xmlns="http://schemas.openxmlformats.org/package/2006/relationships"><Relationship Id="rId3" Type="http://schemas.openxmlformats.org/officeDocument/2006/relationships/package" Target="../embeddings/Microsoft_Excel_Worksheet168.xlsx"/><Relationship Id="rId2" Type="http://schemas.microsoft.com/office/2011/relationships/chartColorStyle" Target="colors46.xml"/><Relationship Id="rId1" Type="http://schemas.microsoft.com/office/2011/relationships/chartStyle" Target="style46.xml"/></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3" Type="http://schemas.openxmlformats.org/officeDocument/2006/relationships/package" Target="../embeddings/Microsoft_Excel_Worksheet169.xlsx"/><Relationship Id="rId2" Type="http://schemas.microsoft.com/office/2011/relationships/chartColorStyle" Target="colors47.xml"/><Relationship Id="rId1" Type="http://schemas.microsoft.com/office/2011/relationships/chartStyle" Target="style47.xml"/></Relationships>
</file>

<file path=ppt/charts/_rels/chart171.xml.rels><?xml version="1.0" encoding="UTF-8" standalone="yes"?>
<Relationships xmlns="http://schemas.openxmlformats.org/package/2006/relationships"><Relationship Id="rId3" Type="http://schemas.openxmlformats.org/officeDocument/2006/relationships/package" Target="../embeddings/Microsoft_Excel_Worksheet170.xlsx"/><Relationship Id="rId2" Type="http://schemas.microsoft.com/office/2011/relationships/chartColorStyle" Target="colors48.xml"/><Relationship Id="rId1" Type="http://schemas.microsoft.com/office/2011/relationships/chartStyle" Target="style48.xml"/></Relationships>
</file>

<file path=ppt/charts/_rels/chart172.xml.rels><?xml version="1.0" encoding="UTF-8" standalone="yes"?>
<Relationships xmlns="http://schemas.openxmlformats.org/package/2006/relationships"><Relationship Id="rId3" Type="http://schemas.openxmlformats.org/officeDocument/2006/relationships/package" Target="../embeddings/Microsoft_Excel_Worksheet171.xlsx"/><Relationship Id="rId2" Type="http://schemas.microsoft.com/office/2011/relationships/chartColorStyle" Target="colors49.xml"/><Relationship Id="rId1" Type="http://schemas.microsoft.com/office/2011/relationships/chartStyle" Target="style49.xml"/></Relationships>
</file>

<file path=ppt/charts/_rels/chart173.xml.rels><?xml version="1.0" encoding="UTF-8" standalone="yes"?>
<Relationships xmlns="http://schemas.openxmlformats.org/package/2006/relationships"><Relationship Id="rId3" Type="http://schemas.openxmlformats.org/officeDocument/2006/relationships/package" Target="../embeddings/Microsoft_Excel_Worksheet172.xlsx"/><Relationship Id="rId2" Type="http://schemas.microsoft.com/office/2011/relationships/chartColorStyle" Target="colors50.xml"/><Relationship Id="rId1" Type="http://schemas.microsoft.com/office/2011/relationships/chartStyle" Target="style50.xml"/></Relationships>
</file>

<file path=ppt/charts/_rels/chart174.xml.rels><?xml version="1.0" encoding="UTF-8" standalone="yes"?>
<Relationships xmlns="http://schemas.openxmlformats.org/package/2006/relationships"><Relationship Id="rId3" Type="http://schemas.openxmlformats.org/officeDocument/2006/relationships/package" Target="../embeddings/Microsoft_Excel_Worksheet173.xlsx"/><Relationship Id="rId2" Type="http://schemas.microsoft.com/office/2011/relationships/chartColorStyle" Target="colors51.xml"/><Relationship Id="rId1" Type="http://schemas.microsoft.com/office/2011/relationships/chartStyle" Target="style51.xml"/></Relationships>
</file>

<file path=ppt/charts/_rels/chart175.xml.rels><?xml version="1.0" encoding="UTF-8" standalone="yes"?>
<Relationships xmlns="http://schemas.openxmlformats.org/package/2006/relationships"><Relationship Id="rId3" Type="http://schemas.openxmlformats.org/officeDocument/2006/relationships/package" Target="../embeddings/Microsoft_Excel_Worksheet174.xlsx"/><Relationship Id="rId2" Type="http://schemas.microsoft.com/office/2011/relationships/chartColorStyle" Target="colors52.xml"/><Relationship Id="rId1" Type="http://schemas.microsoft.com/office/2011/relationships/chartStyle" Target="style52.xml"/></Relationships>
</file>

<file path=ppt/charts/_rels/chart176.xml.rels><?xml version="1.0" encoding="UTF-8" standalone="yes"?>
<Relationships xmlns="http://schemas.openxmlformats.org/package/2006/relationships"><Relationship Id="rId3" Type="http://schemas.openxmlformats.org/officeDocument/2006/relationships/package" Target="../embeddings/Microsoft_Excel_Worksheet175.xlsx"/><Relationship Id="rId2" Type="http://schemas.microsoft.com/office/2011/relationships/chartColorStyle" Target="colors53.xml"/><Relationship Id="rId1" Type="http://schemas.microsoft.com/office/2011/relationships/chartStyle" Target="style53.xml"/></Relationships>
</file>

<file path=ppt/charts/_rels/chart177.xml.rels><?xml version="1.0" encoding="UTF-8" standalone="yes"?>
<Relationships xmlns="http://schemas.openxmlformats.org/package/2006/relationships"><Relationship Id="rId3" Type="http://schemas.openxmlformats.org/officeDocument/2006/relationships/package" Target="../embeddings/Microsoft_Excel_Worksheet176.xlsx"/><Relationship Id="rId2" Type="http://schemas.microsoft.com/office/2011/relationships/chartColorStyle" Target="colors54.xml"/><Relationship Id="rId1" Type="http://schemas.microsoft.com/office/2011/relationships/chartStyle" Target="style54.xml"/></Relationships>
</file>

<file path=ppt/charts/_rels/chart178.xml.rels><?xml version="1.0" encoding="UTF-8" standalone="yes"?>
<Relationships xmlns="http://schemas.openxmlformats.org/package/2006/relationships"><Relationship Id="rId3" Type="http://schemas.openxmlformats.org/officeDocument/2006/relationships/package" Target="../embeddings/Microsoft_Excel_Worksheet177.xlsx"/><Relationship Id="rId2" Type="http://schemas.microsoft.com/office/2011/relationships/chartColorStyle" Target="colors55.xml"/><Relationship Id="rId1" Type="http://schemas.microsoft.com/office/2011/relationships/chartStyle" Target="style55.xml"/></Relationships>
</file>

<file path=ppt/charts/_rels/chart179.xml.rels><?xml version="1.0" encoding="UTF-8" standalone="yes"?>
<Relationships xmlns="http://schemas.openxmlformats.org/package/2006/relationships"><Relationship Id="rId3" Type="http://schemas.openxmlformats.org/officeDocument/2006/relationships/package" Target="../embeddings/Microsoft_Excel_Worksheet178.xlsx"/><Relationship Id="rId2" Type="http://schemas.microsoft.com/office/2011/relationships/chartColorStyle" Target="colors56.xml"/><Relationship Id="rId1" Type="http://schemas.microsoft.com/office/2011/relationships/chartStyle" Target="style56.xml"/></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3" Type="http://schemas.openxmlformats.org/officeDocument/2006/relationships/package" Target="../embeddings/Microsoft_Excel_Worksheet179.xlsx"/><Relationship Id="rId2" Type="http://schemas.microsoft.com/office/2011/relationships/chartColorStyle" Target="colors57.xml"/><Relationship Id="rId1" Type="http://schemas.microsoft.com/office/2011/relationships/chartStyle" Target="style57.xml"/></Relationships>
</file>

<file path=ppt/charts/_rels/chart181.xml.rels><?xml version="1.0" encoding="UTF-8" standalone="yes"?>
<Relationships xmlns="http://schemas.openxmlformats.org/package/2006/relationships"><Relationship Id="rId3" Type="http://schemas.openxmlformats.org/officeDocument/2006/relationships/package" Target="../embeddings/Microsoft_Excel_Worksheet180.xlsx"/><Relationship Id="rId2" Type="http://schemas.microsoft.com/office/2011/relationships/chartColorStyle" Target="colors58.xml"/><Relationship Id="rId1" Type="http://schemas.microsoft.com/office/2011/relationships/chartStyle" Target="style58.xml"/></Relationships>
</file>

<file path=ppt/charts/_rels/chart182.xml.rels><?xml version="1.0" encoding="UTF-8" standalone="yes"?>
<Relationships xmlns="http://schemas.openxmlformats.org/package/2006/relationships"><Relationship Id="rId3" Type="http://schemas.openxmlformats.org/officeDocument/2006/relationships/package" Target="../embeddings/Microsoft_Excel_Worksheet181.xlsx"/><Relationship Id="rId2" Type="http://schemas.microsoft.com/office/2011/relationships/chartColorStyle" Target="colors59.xml"/><Relationship Id="rId1" Type="http://schemas.microsoft.com/office/2011/relationships/chartStyle" Target="style59.xml"/></Relationships>
</file>

<file path=ppt/charts/_rels/chart183.xml.rels><?xml version="1.0" encoding="UTF-8" standalone="yes"?>
<Relationships xmlns="http://schemas.openxmlformats.org/package/2006/relationships"><Relationship Id="rId3" Type="http://schemas.openxmlformats.org/officeDocument/2006/relationships/package" Target="../embeddings/Microsoft_Excel_Worksheet182.xlsx"/><Relationship Id="rId2" Type="http://schemas.microsoft.com/office/2011/relationships/chartColorStyle" Target="colors60.xml"/><Relationship Id="rId1" Type="http://schemas.microsoft.com/office/2011/relationships/chartStyle" Target="style60.xml"/></Relationships>
</file>

<file path=ppt/charts/_rels/chart184.xml.rels><?xml version="1.0" encoding="UTF-8" standalone="yes"?>
<Relationships xmlns="http://schemas.openxmlformats.org/package/2006/relationships"><Relationship Id="rId3" Type="http://schemas.openxmlformats.org/officeDocument/2006/relationships/package" Target="../embeddings/Microsoft_Excel_Worksheet183.xlsx"/><Relationship Id="rId2" Type="http://schemas.microsoft.com/office/2011/relationships/chartColorStyle" Target="colors61.xml"/><Relationship Id="rId1" Type="http://schemas.microsoft.com/office/2011/relationships/chartStyle" Target="style61.xml"/></Relationships>
</file>

<file path=ppt/charts/_rels/chart185.xml.rels><?xml version="1.0" encoding="UTF-8" standalone="yes"?>
<Relationships xmlns="http://schemas.openxmlformats.org/package/2006/relationships"><Relationship Id="rId3" Type="http://schemas.openxmlformats.org/officeDocument/2006/relationships/package" Target="../embeddings/Microsoft_Excel_Worksheet184.xlsx"/><Relationship Id="rId2" Type="http://schemas.microsoft.com/office/2011/relationships/chartColorStyle" Target="colors62.xml"/><Relationship Id="rId1" Type="http://schemas.microsoft.com/office/2011/relationships/chartStyle" Target="style62.xml"/></Relationships>
</file>

<file path=ppt/charts/_rels/chart186.xml.rels><?xml version="1.0" encoding="UTF-8" standalone="yes"?>
<Relationships xmlns="http://schemas.openxmlformats.org/package/2006/relationships"><Relationship Id="rId3" Type="http://schemas.openxmlformats.org/officeDocument/2006/relationships/package" Target="../embeddings/Microsoft_Excel_Worksheet185.xlsx"/><Relationship Id="rId2" Type="http://schemas.microsoft.com/office/2011/relationships/chartColorStyle" Target="colors63.xml"/><Relationship Id="rId1" Type="http://schemas.microsoft.com/office/2011/relationships/chartStyle" Target="style63.xml"/></Relationships>
</file>

<file path=ppt/charts/_rels/chart187.xml.rels><?xml version="1.0" encoding="UTF-8" standalone="yes"?>
<Relationships xmlns="http://schemas.openxmlformats.org/package/2006/relationships"><Relationship Id="rId3" Type="http://schemas.openxmlformats.org/officeDocument/2006/relationships/package" Target="../embeddings/Microsoft_Excel_Worksheet186.xlsx"/><Relationship Id="rId2" Type="http://schemas.microsoft.com/office/2011/relationships/chartColorStyle" Target="colors64.xml"/><Relationship Id="rId1" Type="http://schemas.microsoft.com/office/2011/relationships/chartStyle" Target="style64.xml"/></Relationships>
</file>

<file path=ppt/charts/_rels/chart188.xml.rels><?xml version="1.0" encoding="UTF-8" standalone="yes"?>
<Relationships xmlns="http://schemas.openxmlformats.org/package/2006/relationships"><Relationship Id="rId3" Type="http://schemas.openxmlformats.org/officeDocument/2006/relationships/package" Target="../embeddings/Microsoft_Excel_Worksheet187.xlsx"/><Relationship Id="rId2" Type="http://schemas.microsoft.com/office/2011/relationships/chartColorStyle" Target="colors65.xml"/><Relationship Id="rId1" Type="http://schemas.microsoft.com/office/2011/relationships/chartStyle" Target="style65.xml"/></Relationships>
</file>

<file path=ppt/charts/_rels/chart189.xml.rels><?xml version="1.0" encoding="UTF-8" standalone="yes"?>
<Relationships xmlns="http://schemas.openxmlformats.org/package/2006/relationships"><Relationship Id="rId3" Type="http://schemas.openxmlformats.org/officeDocument/2006/relationships/package" Target="../embeddings/Microsoft_Excel_Worksheet188.xlsx"/><Relationship Id="rId2" Type="http://schemas.microsoft.com/office/2011/relationships/chartColorStyle" Target="colors66.xml"/><Relationship Id="rId1" Type="http://schemas.microsoft.com/office/2011/relationships/chartStyle" Target="style66.xml"/></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3" Type="http://schemas.openxmlformats.org/officeDocument/2006/relationships/package" Target="../embeddings/Microsoft_Excel_Worksheet189.xlsx"/><Relationship Id="rId2" Type="http://schemas.microsoft.com/office/2011/relationships/chartColorStyle" Target="colors67.xml"/><Relationship Id="rId1" Type="http://schemas.microsoft.com/office/2011/relationships/chartStyle" Target="style67.xml"/></Relationships>
</file>

<file path=ppt/charts/_rels/chart191.xml.rels><?xml version="1.0" encoding="UTF-8" standalone="yes"?>
<Relationships xmlns="http://schemas.openxmlformats.org/package/2006/relationships"><Relationship Id="rId3" Type="http://schemas.openxmlformats.org/officeDocument/2006/relationships/package" Target="../embeddings/Microsoft_Excel_Worksheet190.xlsx"/><Relationship Id="rId2" Type="http://schemas.microsoft.com/office/2011/relationships/chartColorStyle" Target="colors68.xml"/><Relationship Id="rId1" Type="http://schemas.microsoft.com/office/2011/relationships/chartStyle" Target="style68.xml"/></Relationships>
</file>

<file path=ppt/charts/_rels/chart192.xml.rels><?xml version="1.0" encoding="UTF-8" standalone="yes"?>
<Relationships xmlns="http://schemas.openxmlformats.org/package/2006/relationships"><Relationship Id="rId3" Type="http://schemas.openxmlformats.org/officeDocument/2006/relationships/package" Target="../embeddings/Microsoft_Excel_Worksheet191.xlsx"/><Relationship Id="rId2" Type="http://schemas.microsoft.com/office/2011/relationships/chartColorStyle" Target="colors69.xml"/><Relationship Id="rId1" Type="http://schemas.microsoft.com/office/2011/relationships/chartStyle" Target="style69.xml"/></Relationships>
</file>

<file path=ppt/charts/_rels/chart193.xml.rels><?xml version="1.0" encoding="UTF-8" standalone="yes"?>
<Relationships xmlns="http://schemas.openxmlformats.org/package/2006/relationships"><Relationship Id="rId3" Type="http://schemas.openxmlformats.org/officeDocument/2006/relationships/package" Target="../embeddings/Microsoft_Excel_Worksheet192.xlsx"/><Relationship Id="rId2" Type="http://schemas.microsoft.com/office/2011/relationships/chartColorStyle" Target="colors70.xml"/><Relationship Id="rId1" Type="http://schemas.microsoft.com/office/2011/relationships/chartStyle" Target="style70.xml"/></Relationships>
</file>

<file path=ppt/charts/_rels/chart194.xml.rels><?xml version="1.0" encoding="UTF-8" standalone="yes"?>
<Relationships xmlns="http://schemas.openxmlformats.org/package/2006/relationships"><Relationship Id="rId3" Type="http://schemas.openxmlformats.org/officeDocument/2006/relationships/package" Target="../embeddings/Microsoft_Excel_Worksheet193.xlsx"/><Relationship Id="rId2" Type="http://schemas.microsoft.com/office/2011/relationships/chartColorStyle" Target="colors71.xml"/><Relationship Id="rId1" Type="http://schemas.microsoft.com/office/2011/relationships/chartStyle" Target="style71.xml"/></Relationships>
</file>

<file path=ppt/charts/_rels/chart195.xml.rels><?xml version="1.0" encoding="UTF-8" standalone="yes"?>
<Relationships xmlns="http://schemas.openxmlformats.org/package/2006/relationships"><Relationship Id="rId3" Type="http://schemas.openxmlformats.org/officeDocument/2006/relationships/package" Target="../embeddings/Microsoft_Excel_Worksheet194.xlsx"/><Relationship Id="rId2" Type="http://schemas.microsoft.com/office/2011/relationships/chartColorStyle" Target="colors72.xml"/><Relationship Id="rId1" Type="http://schemas.microsoft.com/office/2011/relationships/chartStyle" Target="style72.xml"/></Relationships>
</file>

<file path=ppt/charts/_rels/chart196.xml.rels><?xml version="1.0" encoding="UTF-8" standalone="yes"?>
<Relationships xmlns="http://schemas.openxmlformats.org/package/2006/relationships"><Relationship Id="rId3" Type="http://schemas.openxmlformats.org/officeDocument/2006/relationships/package" Target="../embeddings/Microsoft_Excel_Worksheet195.xlsx"/><Relationship Id="rId2" Type="http://schemas.microsoft.com/office/2011/relationships/chartColorStyle" Target="colors73.xml"/><Relationship Id="rId1" Type="http://schemas.microsoft.com/office/2011/relationships/chartStyle" Target="style73.xml"/></Relationships>
</file>

<file path=ppt/charts/_rels/chart197.xml.rels><?xml version="1.0" encoding="UTF-8" standalone="yes"?>
<Relationships xmlns="http://schemas.openxmlformats.org/package/2006/relationships"><Relationship Id="rId3" Type="http://schemas.openxmlformats.org/officeDocument/2006/relationships/package" Target="../embeddings/Microsoft_Excel_Worksheet196.xlsx"/><Relationship Id="rId2" Type="http://schemas.microsoft.com/office/2011/relationships/chartColorStyle" Target="colors74.xml"/><Relationship Id="rId1" Type="http://schemas.microsoft.com/office/2011/relationships/chartStyle" Target="style74.xml"/></Relationships>
</file>

<file path=ppt/charts/_rels/chart198.xml.rels><?xml version="1.0" encoding="UTF-8" standalone="yes"?>
<Relationships xmlns="http://schemas.openxmlformats.org/package/2006/relationships"><Relationship Id="rId3" Type="http://schemas.openxmlformats.org/officeDocument/2006/relationships/package" Target="../embeddings/Microsoft_Excel_Worksheet197.xlsx"/><Relationship Id="rId2" Type="http://schemas.microsoft.com/office/2011/relationships/chartColorStyle" Target="colors75.xml"/><Relationship Id="rId1" Type="http://schemas.microsoft.com/office/2011/relationships/chartStyle" Target="style75.xml"/></Relationships>
</file>

<file path=ppt/charts/_rels/chart199.xml.rels><?xml version="1.0" encoding="UTF-8" standalone="yes"?>
<Relationships xmlns="http://schemas.openxmlformats.org/package/2006/relationships"><Relationship Id="rId3" Type="http://schemas.openxmlformats.org/officeDocument/2006/relationships/package" Target="../embeddings/Microsoft_Excel_Worksheet198.xlsx"/><Relationship Id="rId2" Type="http://schemas.microsoft.com/office/2011/relationships/chartColorStyle" Target="colors76.xml"/><Relationship Id="rId1" Type="http://schemas.microsoft.com/office/2011/relationships/chartStyle" Target="style76.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3" Type="http://schemas.openxmlformats.org/officeDocument/2006/relationships/package" Target="../embeddings/Microsoft_Excel_Worksheet199.xlsx"/><Relationship Id="rId2" Type="http://schemas.microsoft.com/office/2011/relationships/chartColorStyle" Target="colors77.xml"/><Relationship Id="rId1" Type="http://schemas.microsoft.com/office/2011/relationships/chartStyle" Target="style77.xml"/></Relationships>
</file>

<file path=ppt/charts/_rels/chart201.xml.rels><?xml version="1.0" encoding="UTF-8" standalone="yes"?>
<Relationships xmlns="http://schemas.openxmlformats.org/package/2006/relationships"><Relationship Id="rId3" Type="http://schemas.openxmlformats.org/officeDocument/2006/relationships/package" Target="../embeddings/Microsoft_Excel_Worksheet200.xlsx"/><Relationship Id="rId2" Type="http://schemas.microsoft.com/office/2011/relationships/chartColorStyle" Target="colors78.xml"/><Relationship Id="rId1" Type="http://schemas.microsoft.com/office/2011/relationships/chartStyle" Target="style78.xml"/></Relationships>
</file>

<file path=ppt/charts/_rels/chart202.xml.rels><?xml version="1.0" encoding="UTF-8" standalone="yes"?>
<Relationships xmlns="http://schemas.openxmlformats.org/package/2006/relationships"><Relationship Id="rId3" Type="http://schemas.openxmlformats.org/officeDocument/2006/relationships/package" Target="../embeddings/Microsoft_Excel_Worksheet201.xlsx"/><Relationship Id="rId2" Type="http://schemas.microsoft.com/office/2011/relationships/chartColorStyle" Target="colors79.xml"/><Relationship Id="rId1" Type="http://schemas.microsoft.com/office/2011/relationships/chartStyle" Target="style79.xml"/></Relationships>
</file>

<file path=ppt/charts/_rels/chart203.xml.rels><?xml version="1.0" encoding="UTF-8" standalone="yes"?>
<Relationships xmlns="http://schemas.openxmlformats.org/package/2006/relationships"><Relationship Id="rId3" Type="http://schemas.openxmlformats.org/officeDocument/2006/relationships/package" Target="../embeddings/Microsoft_Excel_Worksheet202.xlsx"/><Relationship Id="rId2" Type="http://schemas.microsoft.com/office/2011/relationships/chartColorStyle" Target="colors80.xml"/><Relationship Id="rId1" Type="http://schemas.microsoft.com/office/2011/relationships/chartStyle" Target="style80.xml"/></Relationships>
</file>

<file path=ppt/charts/_rels/chart204.xml.rels><?xml version="1.0" encoding="UTF-8" standalone="yes"?>
<Relationships xmlns="http://schemas.openxmlformats.org/package/2006/relationships"><Relationship Id="rId3" Type="http://schemas.openxmlformats.org/officeDocument/2006/relationships/package" Target="../embeddings/Microsoft_Excel_Worksheet203.xlsx"/><Relationship Id="rId2" Type="http://schemas.microsoft.com/office/2011/relationships/chartColorStyle" Target="colors81.xml"/><Relationship Id="rId1" Type="http://schemas.microsoft.com/office/2011/relationships/chartStyle" Target="style81.xml"/></Relationships>
</file>

<file path=ppt/charts/_rels/chart205.xml.rels><?xml version="1.0" encoding="UTF-8" standalone="yes"?>
<Relationships xmlns="http://schemas.openxmlformats.org/package/2006/relationships"><Relationship Id="rId3" Type="http://schemas.openxmlformats.org/officeDocument/2006/relationships/package" Target="../embeddings/Microsoft_Excel_Worksheet204.xlsx"/><Relationship Id="rId2" Type="http://schemas.microsoft.com/office/2011/relationships/chartColorStyle" Target="colors82.xml"/><Relationship Id="rId1" Type="http://schemas.microsoft.com/office/2011/relationships/chartStyle" Target="style82.xml"/></Relationships>
</file>

<file path=ppt/charts/_rels/chart206.xml.rels><?xml version="1.0" encoding="UTF-8" standalone="yes"?>
<Relationships xmlns="http://schemas.openxmlformats.org/package/2006/relationships"><Relationship Id="rId3" Type="http://schemas.openxmlformats.org/officeDocument/2006/relationships/package" Target="../embeddings/Microsoft_Excel_Worksheet205.xlsx"/><Relationship Id="rId2" Type="http://schemas.microsoft.com/office/2011/relationships/chartColorStyle" Target="colors83.xml"/><Relationship Id="rId1" Type="http://schemas.microsoft.com/office/2011/relationships/chartStyle" Target="style83.xml"/></Relationships>
</file>

<file path=ppt/charts/_rels/chart207.xml.rels><?xml version="1.0" encoding="UTF-8" standalone="yes"?>
<Relationships xmlns="http://schemas.openxmlformats.org/package/2006/relationships"><Relationship Id="rId3" Type="http://schemas.openxmlformats.org/officeDocument/2006/relationships/package" Target="../embeddings/Microsoft_Excel_Worksheet206.xlsx"/><Relationship Id="rId2" Type="http://schemas.microsoft.com/office/2011/relationships/chartColorStyle" Target="colors84.xml"/><Relationship Id="rId1" Type="http://schemas.microsoft.com/office/2011/relationships/chartStyle" Target="style84.xml"/></Relationships>
</file>

<file path=ppt/charts/_rels/chart208.xml.rels><?xml version="1.0" encoding="UTF-8" standalone="yes"?>
<Relationships xmlns="http://schemas.openxmlformats.org/package/2006/relationships"><Relationship Id="rId3" Type="http://schemas.openxmlformats.org/officeDocument/2006/relationships/package" Target="../embeddings/Microsoft_Excel_Worksheet207.xlsx"/><Relationship Id="rId2" Type="http://schemas.microsoft.com/office/2011/relationships/chartColorStyle" Target="colors85.xml"/><Relationship Id="rId1" Type="http://schemas.microsoft.com/office/2011/relationships/chartStyle" Target="style85.xml"/></Relationships>
</file>

<file path=ppt/charts/_rels/chart209.xml.rels><?xml version="1.0" encoding="UTF-8" standalone="yes"?>
<Relationships xmlns="http://schemas.openxmlformats.org/package/2006/relationships"><Relationship Id="rId3" Type="http://schemas.openxmlformats.org/officeDocument/2006/relationships/package" Target="../embeddings/Microsoft_Excel_Worksheet208.xlsx"/><Relationship Id="rId2" Type="http://schemas.microsoft.com/office/2011/relationships/chartColorStyle" Target="colors86.xml"/><Relationship Id="rId1" Type="http://schemas.microsoft.com/office/2011/relationships/chartStyle" Target="style86.xml"/></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3" Type="http://schemas.openxmlformats.org/officeDocument/2006/relationships/package" Target="../embeddings/Microsoft_Excel_Worksheet209.xlsx"/><Relationship Id="rId2" Type="http://schemas.microsoft.com/office/2011/relationships/chartColorStyle" Target="colors87.xml"/><Relationship Id="rId1" Type="http://schemas.microsoft.com/office/2011/relationships/chartStyle" Target="style87.xml"/></Relationships>
</file>

<file path=ppt/charts/_rels/chart211.xml.rels><?xml version="1.0" encoding="UTF-8" standalone="yes"?>
<Relationships xmlns="http://schemas.openxmlformats.org/package/2006/relationships"><Relationship Id="rId3" Type="http://schemas.openxmlformats.org/officeDocument/2006/relationships/package" Target="../embeddings/Microsoft_Excel_Worksheet210.xlsx"/><Relationship Id="rId2" Type="http://schemas.microsoft.com/office/2011/relationships/chartColorStyle" Target="colors88.xml"/><Relationship Id="rId1" Type="http://schemas.microsoft.com/office/2011/relationships/chartStyle" Target="style88.xml"/></Relationships>
</file>

<file path=ppt/charts/_rels/chart212.xml.rels><?xml version="1.0" encoding="UTF-8" standalone="yes"?>
<Relationships xmlns="http://schemas.openxmlformats.org/package/2006/relationships"><Relationship Id="rId3" Type="http://schemas.openxmlformats.org/officeDocument/2006/relationships/package" Target="../embeddings/Microsoft_Excel_Worksheet211.xlsx"/><Relationship Id="rId2" Type="http://schemas.microsoft.com/office/2011/relationships/chartColorStyle" Target="colors89.xml"/><Relationship Id="rId1" Type="http://schemas.microsoft.com/office/2011/relationships/chartStyle" Target="style89.xml"/></Relationships>
</file>

<file path=ppt/charts/_rels/chart213.xml.rels><?xml version="1.0" encoding="UTF-8" standalone="yes"?>
<Relationships xmlns="http://schemas.openxmlformats.org/package/2006/relationships"><Relationship Id="rId3" Type="http://schemas.openxmlformats.org/officeDocument/2006/relationships/package" Target="../embeddings/Microsoft_Excel_Worksheet212.xlsx"/><Relationship Id="rId2" Type="http://schemas.microsoft.com/office/2011/relationships/chartColorStyle" Target="colors90.xml"/><Relationship Id="rId1" Type="http://schemas.microsoft.com/office/2011/relationships/chartStyle" Target="style90.xml"/></Relationships>
</file>

<file path=ppt/charts/_rels/chart214.xml.rels><?xml version="1.0" encoding="UTF-8" standalone="yes"?>
<Relationships xmlns="http://schemas.openxmlformats.org/package/2006/relationships"><Relationship Id="rId3" Type="http://schemas.openxmlformats.org/officeDocument/2006/relationships/package" Target="../embeddings/Microsoft_Excel_Worksheet213.xlsx"/><Relationship Id="rId2" Type="http://schemas.microsoft.com/office/2011/relationships/chartColorStyle" Target="colors91.xml"/><Relationship Id="rId1" Type="http://schemas.microsoft.com/office/2011/relationships/chartStyle" Target="style91.xml"/></Relationships>
</file>

<file path=ppt/charts/_rels/chart215.xml.rels><?xml version="1.0" encoding="UTF-8" standalone="yes"?>
<Relationships xmlns="http://schemas.openxmlformats.org/package/2006/relationships"><Relationship Id="rId3" Type="http://schemas.openxmlformats.org/officeDocument/2006/relationships/package" Target="../embeddings/Microsoft_Excel_Worksheet214.xlsx"/><Relationship Id="rId2" Type="http://schemas.microsoft.com/office/2011/relationships/chartColorStyle" Target="colors92.xml"/><Relationship Id="rId1" Type="http://schemas.microsoft.com/office/2011/relationships/chartStyle" Target="style92.xml"/></Relationships>
</file>

<file path=ppt/charts/_rels/chart216.xml.rels><?xml version="1.0" encoding="UTF-8" standalone="yes"?>
<Relationships xmlns="http://schemas.openxmlformats.org/package/2006/relationships"><Relationship Id="rId3" Type="http://schemas.openxmlformats.org/officeDocument/2006/relationships/package" Target="../embeddings/Microsoft_Excel_Worksheet215.xlsx"/><Relationship Id="rId2" Type="http://schemas.microsoft.com/office/2011/relationships/chartColorStyle" Target="colors93.xml"/><Relationship Id="rId1" Type="http://schemas.microsoft.com/office/2011/relationships/chartStyle" Target="style93.xml"/></Relationships>
</file>

<file path=ppt/charts/_rels/chart217.xml.rels><?xml version="1.0" encoding="UTF-8" standalone="yes"?>
<Relationships xmlns="http://schemas.openxmlformats.org/package/2006/relationships"><Relationship Id="rId3" Type="http://schemas.openxmlformats.org/officeDocument/2006/relationships/package" Target="../embeddings/Microsoft_Excel_Worksheet216.xlsx"/><Relationship Id="rId2" Type="http://schemas.microsoft.com/office/2011/relationships/chartColorStyle" Target="colors94.xml"/><Relationship Id="rId1" Type="http://schemas.microsoft.com/office/2011/relationships/chartStyle" Target="style94.xml"/></Relationships>
</file>

<file path=ppt/charts/_rels/chart218.xml.rels><?xml version="1.0" encoding="UTF-8" standalone="yes"?>
<Relationships xmlns="http://schemas.openxmlformats.org/package/2006/relationships"><Relationship Id="rId3" Type="http://schemas.openxmlformats.org/officeDocument/2006/relationships/package" Target="../embeddings/Microsoft_Excel_Worksheet217.xlsx"/><Relationship Id="rId2" Type="http://schemas.microsoft.com/office/2011/relationships/chartColorStyle" Target="colors95.xml"/><Relationship Id="rId1" Type="http://schemas.microsoft.com/office/2011/relationships/chartStyle" Target="style95.xml"/></Relationships>
</file>

<file path=ppt/charts/_rels/chart219.xml.rels><?xml version="1.0" encoding="UTF-8" standalone="yes"?>
<Relationships xmlns="http://schemas.openxmlformats.org/package/2006/relationships"><Relationship Id="rId3" Type="http://schemas.openxmlformats.org/officeDocument/2006/relationships/package" Target="../embeddings/Microsoft_Excel_Worksheet218.xlsx"/><Relationship Id="rId2" Type="http://schemas.microsoft.com/office/2011/relationships/chartColorStyle" Target="colors96.xml"/><Relationship Id="rId1" Type="http://schemas.microsoft.com/office/2011/relationships/chartStyle" Target="style96.xml"/></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3" Type="http://schemas.openxmlformats.org/officeDocument/2006/relationships/package" Target="../embeddings/Microsoft_Excel_Worksheet219.xlsx"/><Relationship Id="rId2" Type="http://schemas.microsoft.com/office/2011/relationships/chartColorStyle" Target="colors97.xml"/><Relationship Id="rId1" Type="http://schemas.microsoft.com/office/2011/relationships/chartStyle" Target="style97.xml"/></Relationships>
</file>

<file path=ppt/charts/_rels/chart221.xml.rels><?xml version="1.0" encoding="UTF-8" standalone="yes"?>
<Relationships xmlns="http://schemas.openxmlformats.org/package/2006/relationships"><Relationship Id="rId3" Type="http://schemas.openxmlformats.org/officeDocument/2006/relationships/package" Target="../embeddings/Microsoft_Excel_Worksheet220.xlsx"/><Relationship Id="rId2" Type="http://schemas.microsoft.com/office/2011/relationships/chartColorStyle" Target="colors98.xml"/><Relationship Id="rId1" Type="http://schemas.microsoft.com/office/2011/relationships/chartStyle" Target="style98.xml"/></Relationships>
</file>

<file path=ppt/charts/_rels/chart222.xml.rels><?xml version="1.0" encoding="UTF-8" standalone="yes"?>
<Relationships xmlns="http://schemas.openxmlformats.org/package/2006/relationships"><Relationship Id="rId3" Type="http://schemas.openxmlformats.org/officeDocument/2006/relationships/package" Target="../embeddings/Microsoft_Excel_Worksheet221.xlsx"/><Relationship Id="rId2" Type="http://schemas.microsoft.com/office/2011/relationships/chartColorStyle" Target="colors99.xml"/><Relationship Id="rId1" Type="http://schemas.microsoft.com/office/2011/relationships/chartStyle" Target="style99.xml"/></Relationships>
</file>

<file path=ppt/charts/_rels/chart223.xml.rels><?xml version="1.0" encoding="UTF-8" standalone="yes"?>
<Relationships xmlns="http://schemas.openxmlformats.org/package/2006/relationships"><Relationship Id="rId3" Type="http://schemas.openxmlformats.org/officeDocument/2006/relationships/package" Target="../embeddings/Microsoft_Excel_Worksheet222.xlsx"/><Relationship Id="rId2" Type="http://schemas.microsoft.com/office/2011/relationships/chartColorStyle" Target="colors100.xml"/><Relationship Id="rId1" Type="http://schemas.microsoft.com/office/2011/relationships/chartStyle" Target="style100.xml"/></Relationships>
</file>

<file path=ppt/charts/_rels/chart224.xml.rels><?xml version="1.0" encoding="UTF-8" standalone="yes"?>
<Relationships xmlns="http://schemas.openxmlformats.org/package/2006/relationships"><Relationship Id="rId3" Type="http://schemas.openxmlformats.org/officeDocument/2006/relationships/package" Target="../embeddings/Microsoft_Excel_Worksheet223.xlsx"/><Relationship Id="rId2" Type="http://schemas.microsoft.com/office/2011/relationships/chartColorStyle" Target="colors101.xml"/><Relationship Id="rId1" Type="http://schemas.microsoft.com/office/2011/relationships/chartStyle" Target="style101.xml"/></Relationships>
</file>

<file path=ppt/charts/_rels/chart225.xml.rels><?xml version="1.0" encoding="UTF-8" standalone="yes"?>
<Relationships xmlns="http://schemas.openxmlformats.org/package/2006/relationships"><Relationship Id="rId3" Type="http://schemas.openxmlformats.org/officeDocument/2006/relationships/package" Target="../embeddings/Microsoft_Excel_Worksheet224.xlsx"/><Relationship Id="rId2" Type="http://schemas.microsoft.com/office/2011/relationships/chartColorStyle" Target="colors102.xml"/><Relationship Id="rId1" Type="http://schemas.microsoft.com/office/2011/relationships/chartStyle" Target="style102.xml"/></Relationships>
</file>

<file path=ppt/charts/_rels/chart226.xml.rels><?xml version="1.0" encoding="UTF-8" standalone="yes"?>
<Relationships xmlns="http://schemas.openxmlformats.org/package/2006/relationships"><Relationship Id="rId3" Type="http://schemas.openxmlformats.org/officeDocument/2006/relationships/package" Target="../embeddings/Microsoft_Excel_Worksheet225.xlsx"/><Relationship Id="rId2" Type="http://schemas.microsoft.com/office/2011/relationships/chartColorStyle" Target="colors103.xml"/><Relationship Id="rId1" Type="http://schemas.microsoft.com/office/2011/relationships/chartStyle" Target="style103.xml"/></Relationships>
</file>

<file path=ppt/charts/_rels/chart227.xml.rels><?xml version="1.0" encoding="UTF-8" standalone="yes"?>
<Relationships xmlns="http://schemas.openxmlformats.org/package/2006/relationships"><Relationship Id="rId3" Type="http://schemas.openxmlformats.org/officeDocument/2006/relationships/package" Target="../embeddings/Microsoft_Excel_Worksheet226.xlsx"/><Relationship Id="rId2" Type="http://schemas.microsoft.com/office/2011/relationships/chartColorStyle" Target="colors104.xml"/><Relationship Id="rId1" Type="http://schemas.microsoft.com/office/2011/relationships/chartStyle" Target="style104.xml"/></Relationships>
</file>

<file path=ppt/charts/_rels/chart228.xml.rels><?xml version="1.0" encoding="UTF-8" standalone="yes"?>
<Relationships xmlns="http://schemas.openxmlformats.org/package/2006/relationships"><Relationship Id="rId3" Type="http://schemas.openxmlformats.org/officeDocument/2006/relationships/package" Target="../embeddings/Microsoft_Excel_Worksheet227.xlsx"/><Relationship Id="rId2" Type="http://schemas.microsoft.com/office/2011/relationships/chartColorStyle" Target="colors105.xml"/><Relationship Id="rId1" Type="http://schemas.microsoft.com/office/2011/relationships/chartStyle" Target="style105.xml"/></Relationships>
</file>

<file path=ppt/charts/_rels/chart229.xml.rels><?xml version="1.0" encoding="UTF-8" standalone="yes"?>
<Relationships xmlns="http://schemas.openxmlformats.org/package/2006/relationships"><Relationship Id="rId3" Type="http://schemas.openxmlformats.org/officeDocument/2006/relationships/package" Target="../embeddings/Microsoft_Excel_Worksheet228.xlsx"/><Relationship Id="rId2" Type="http://schemas.microsoft.com/office/2011/relationships/chartColorStyle" Target="colors106.xml"/><Relationship Id="rId1" Type="http://schemas.microsoft.com/office/2011/relationships/chartStyle" Target="style106.xml"/></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3" Type="http://schemas.openxmlformats.org/officeDocument/2006/relationships/package" Target="../embeddings/Microsoft_Excel_Worksheet229.xlsx"/><Relationship Id="rId2" Type="http://schemas.microsoft.com/office/2011/relationships/chartColorStyle" Target="colors107.xml"/><Relationship Id="rId1" Type="http://schemas.microsoft.com/office/2011/relationships/chartStyle" Target="style107.xml"/></Relationships>
</file>

<file path=ppt/charts/_rels/chart231.xml.rels><?xml version="1.0" encoding="UTF-8" standalone="yes"?>
<Relationships xmlns="http://schemas.openxmlformats.org/package/2006/relationships"><Relationship Id="rId3" Type="http://schemas.openxmlformats.org/officeDocument/2006/relationships/package" Target="../embeddings/Microsoft_Excel_Worksheet230.xlsx"/><Relationship Id="rId2" Type="http://schemas.microsoft.com/office/2011/relationships/chartColorStyle" Target="colors108.xml"/><Relationship Id="rId1" Type="http://schemas.microsoft.com/office/2011/relationships/chartStyle" Target="style108.xml"/></Relationships>
</file>

<file path=ppt/charts/_rels/chart232.xml.rels><?xml version="1.0" encoding="UTF-8" standalone="yes"?>
<Relationships xmlns="http://schemas.openxmlformats.org/package/2006/relationships"><Relationship Id="rId3" Type="http://schemas.openxmlformats.org/officeDocument/2006/relationships/package" Target="../embeddings/Microsoft_Excel_Worksheet231.xlsx"/><Relationship Id="rId2" Type="http://schemas.microsoft.com/office/2011/relationships/chartColorStyle" Target="colors109.xml"/><Relationship Id="rId1" Type="http://schemas.microsoft.com/office/2011/relationships/chartStyle" Target="style109.xml"/></Relationships>
</file>

<file path=ppt/charts/_rels/chart233.xml.rels><?xml version="1.0" encoding="UTF-8" standalone="yes"?>
<Relationships xmlns="http://schemas.openxmlformats.org/package/2006/relationships"><Relationship Id="rId3" Type="http://schemas.openxmlformats.org/officeDocument/2006/relationships/package" Target="../embeddings/Microsoft_Excel_Worksheet232.xlsx"/><Relationship Id="rId2" Type="http://schemas.microsoft.com/office/2011/relationships/chartColorStyle" Target="colors110.xml"/><Relationship Id="rId1" Type="http://schemas.microsoft.com/office/2011/relationships/chartStyle" Target="style110.xml"/></Relationships>
</file>

<file path=ppt/charts/_rels/chart234.xml.rels><?xml version="1.0" encoding="UTF-8" standalone="yes"?>
<Relationships xmlns="http://schemas.openxmlformats.org/package/2006/relationships"><Relationship Id="rId3" Type="http://schemas.openxmlformats.org/officeDocument/2006/relationships/package" Target="../embeddings/Microsoft_Excel_Worksheet233.xlsx"/><Relationship Id="rId2" Type="http://schemas.microsoft.com/office/2011/relationships/chartColorStyle" Target="colors111.xml"/><Relationship Id="rId1" Type="http://schemas.microsoft.com/office/2011/relationships/chartStyle" Target="style111.xml"/></Relationships>
</file>

<file path=ppt/charts/_rels/chart235.xml.rels><?xml version="1.0" encoding="UTF-8" standalone="yes"?>
<Relationships xmlns="http://schemas.openxmlformats.org/package/2006/relationships"><Relationship Id="rId3" Type="http://schemas.openxmlformats.org/officeDocument/2006/relationships/package" Target="../embeddings/Microsoft_Excel_Worksheet234.xlsx"/><Relationship Id="rId2" Type="http://schemas.microsoft.com/office/2011/relationships/chartColorStyle" Target="colors112.xml"/><Relationship Id="rId1" Type="http://schemas.microsoft.com/office/2011/relationships/chartStyle" Target="style112.xml"/></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3" Type="http://schemas.openxmlformats.org/officeDocument/2006/relationships/package" Target="../embeddings/Microsoft_Excel_Worksheet247.xlsx"/><Relationship Id="rId2" Type="http://schemas.microsoft.com/office/2011/relationships/chartColorStyle" Target="colors113.xml"/><Relationship Id="rId1" Type="http://schemas.microsoft.com/office/2011/relationships/chartStyle" Target="style113.xml"/></Relationships>
</file>

<file path=ppt/charts/_rels/chart249.xml.rels><?xml version="1.0" encoding="UTF-8" standalone="yes"?>
<Relationships xmlns="http://schemas.openxmlformats.org/package/2006/relationships"><Relationship Id="rId3" Type="http://schemas.openxmlformats.org/officeDocument/2006/relationships/package" Target="../embeddings/Microsoft_Excel_Worksheet248.xlsx"/><Relationship Id="rId2" Type="http://schemas.microsoft.com/office/2011/relationships/chartColorStyle" Target="colors114.xml"/><Relationship Id="rId1" Type="http://schemas.microsoft.com/office/2011/relationships/chartStyle" Target="style11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xml"/><Relationship Id="rId1" Type="http://schemas.microsoft.com/office/2011/relationships/chartStyle" Target="style1.xml"/></Relationships>
</file>

<file path=ppt/charts/_rels/chart250.xml.rels><?xml version="1.0" encoding="UTF-8" standalone="yes"?>
<Relationships xmlns="http://schemas.openxmlformats.org/package/2006/relationships"><Relationship Id="rId3" Type="http://schemas.openxmlformats.org/officeDocument/2006/relationships/package" Target="../embeddings/Microsoft_Excel_Worksheet249.xlsx"/><Relationship Id="rId2" Type="http://schemas.microsoft.com/office/2011/relationships/chartColorStyle" Target="colors115.xml"/><Relationship Id="rId1" Type="http://schemas.microsoft.com/office/2011/relationships/chartStyle" Target="style115.xml"/></Relationships>
</file>

<file path=ppt/charts/_rels/chart251.xml.rels><?xml version="1.0" encoding="UTF-8" standalone="yes"?>
<Relationships xmlns="http://schemas.openxmlformats.org/package/2006/relationships"><Relationship Id="rId3" Type="http://schemas.openxmlformats.org/officeDocument/2006/relationships/package" Target="../embeddings/Microsoft_Excel_Worksheet250.xlsx"/><Relationship Id="rId2" Type="http://schemas.microsoft.com/office/2011/relationships/chartColorStyle" Target="colors116.xml"/><Relationship Id="rId1" Type="http://schemas.microsoft.com/office/2011/relationships/chartStyle" Target="style116.xml"/></Relationships>
</file>

<file path=ppt/charts/_rels/chart252.xml.rels><?xml version="1.0" encoding="UTF-8" standalone="yes"?>
<Relationships xmlns="http://schemas.openxmlformats.org/package/2006/relationships"><Relationship Id="rId3" Type="http://schemas.openxmlformats.org/officeDocument/2006/relationships/package" Target="../embeddings/Microsoft_Excel_Worksheet251.xlsx"/><Relationship Id="rId2" Type="http://schemas.microsoft.com/office/2011/relationships/chartColorStyle" Target="colors117.xml"/><Relationship Id="rId1" Type="http://schemas.microsoft.com/office/2011/relationships/chartStyle" Target="style117.xml"/></Relationships>
</file>

<file path=ppt/charts/_rels/chart253.xml.rels><?xml version="1.0" encoding="UTF-8" standalone="yes"?>
<Relationships xmlns="http://schemas.openxmlformats.org/package/2006/relationships"><Relationship Id="rId3" Type="http://schemas.openxmlformats.org/officeDocument/2006/relationships/package" Target="../embeddings/Microsoft_Excel_Worksheet252.xlsx"/><Relationship Id="rId2" Type="http://schemas.microsoft.com/office/2011/relationships/chartColorStyle" Target="colors118.xml"/><Relationship Id="rId1" Type="http://schemas.microsoft.com/office/2011/relationships/chartStyle" Target="style118.xml"/></Relationships>
</file>

<file path=ppt/charts/_rels/chart254.xml.rels><?xml version="1.0" encoding="UTF-8" standalone="yes"?>
<Relationships xmlns="http://schemas.openxmlformats.org/package/2006/relationships"><Relationship Id="rId3" Type="http://schemas.openxmlformats.org/officeDocument/2006/relationships/package" Target="../embeddings/Microsoft_Excel_Worksheet253.xlsx"/><Relationship Id="rId2" Type="http://schemas.microsoft.com/office/2011/relationships/chartColorStyle" Target="colors119.xml"/><Relationship Id="rId1" Type="http://schemas.microsoft.com/office/2011/relationships/chartStyle" Target="style119.xml"/></Relationships>
</file>

<file path=ppt/charts/_rels/chart255.xml.rels><?xml version="1.0" encoding="UTF-8" standalone="yes"?>
<Relationships xmlns="http://schemas.openxmlformats.org/package/2006/relationships"><Relationship Id="rId3" Type="http://schemas.openxmlformats.org/officeDocument/2006/relationships/package" Target="../embeddings/Microsoft_Excel_Worksheet254.xlsx"/><Relationship Id="rId2" Type="http://schemas.microsoft.com/office/2011/relationships/chartColorStyle" Target="colors120.xml"/><Relationship Id="rId1" Type="http://schemas.microsoft.com/office/2011/relationships/chartStyle" Target="style120.xml"/></Relationships>
</file>

<file path=ppt/charts/_rels/chart256.xml.rels><?xml version="1.0" encoding="UTF-8" standalone="yes"?>
<Relationships xmlns="http://schemas.openxmlformats.org/package/2006/relationships"><Relationship Id="rId3" Type="http://schemas.openxmlformats.org/officeDocument/2006/relationships/package" Target="../embeddings/Microsoft_Excel_Worksheet255.xlsx"/><Relationship Id="rId2" Type="http://schemas.microsoft.com/office/2011/relationships/chartColorStyle" Target="colors121.xml"/><Relationship Id="rId1" Type="http://schemas.microsoft.com/office/2011/relationships/chartStyle" Target="style121.xml"/></Relationships>
</file>

<file path=ppt/charts/_rels/chart257.xml.rels><?xml version="1.0" encoding="UTF-8" standalone="yes"?>
<Relationships xmlns="http://schemas.openxmlformats.org/package/2006/relationships"><Relationship Id="rId3" Type="http://schemas.openxmlformats.org/officeDocument/2006/relationships/package" Target="../embeddings/Microsoft_Excel_Worksheet256.xlsx"/><Relationship Id="rId2" Type="http://schemas.microsoft.com/office/2011/relationships/chartColorStyle" Target="colors122.xml"/><Relationship Id="rId1" Type="http://schemas.microsoft.com/office/2011/relationships/chartStyle" Target="style122.xml"/></Relationships>
</file>

<file path=ppt/charts/_rels/chart258.xml.rels><?xml version="1.0" encoding="UTF-8" standalone="yes"?>
<Relationships xmlns="http://schemas.openxmlformats.org/package/2006/relationships"><Relationship Id="rId3" Type="http://schemas.openxmlformats.org/officeDocument/2006/relationships/package" Target="../embeddings/Microsoft_Excel_Worksheet257.xlsx"/><Relationship Id="rId2" Type="http://schemas.microsoft.com/office/2011/relationships/chartColorStyle" Target="colors123.xml"/><Relationship Id="rId1" Type="http://schemas.microsoft.com/office/2011/relationships/chartStyle" Target="style123.xml"/></Relationships>
</file>

<file path=ppt/charts/_rels/chart259.xml.rels><?xml version="1.0" encoding="UTF-8" standalone="yes"?>
<Relationships xmlns="http://schemas.openxmlformats.org/package/2006/relationships"><Relationship Id="rId3" Type="http://schemas.openxmlformats.org/officeDocument/2006/relationships/package" Target="../embeddings/Microsoft_Excel_Worksheet258.xlsx"/><Relationship Id="rId2" Type="http://schemas.microsoft.com/office/2011/relationships/chartColorStyle" Target="colors124.xml"/><Relationship Id="rId1" Type="http://schemas.microsoft.com/office/2011/relationships/chartStyle" Target="style124.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xml"/><Relationship Id="rId1" Type="http://schemas.microsoft.com/office/2011/relationships/chartStyle" Target="style2.xml"/></Relationships>
</file>

<file path=ppt/charts/_rels/chart260.xml.rels><?xml version="1.0" encoding="UTF-8" standalone="yes"?>
<Relationships xmlns="http://schemas.openxmlformats.org/package/2006/relationships"><Relationship Id="rId3" Type="http://schemas.openxmlformats.org/officeDocument/2006/relationships/package" Target="../embeddings/Microsoft_Excel_Worksheet259.xlsx"/><Relationship Id="rId2" Type="http://schemas.microsoft.com/office/2011/relationships/chartColorStyle" Target="colors125.xml"/><Relationship Id="rId1" Type="http://schemas.microsoft.com/office/2011/relationships/chartStyle" Target="style125.xml"/></Relationships>
</file>

<file path=ppt/charts/_rels/chart261.xml.rels><?xml version="1.0" encoding="UTF-8" standalone="yes"?>
<Relationships xmlns="http://schemas.openxmlformats.org/package/2006/relationships"><Relationship Id="rId3" Type="http://schemas.openxmlformats.org/officeDocument/2006/relationships/package" Target="../embeddings/Microsoft_Excel_Worksheet260.xlsx"/><Relationship Id="rId2" Type="http://schemas.microsoft.com/office/2011/relationships/chartColorStyle" Target="colors126.xml"/><Relationship Id="rId1" Type="http://schemas.microsoft.com/office/2011/relationships/chartStyle" Target="style126.xml"/></Relationships>
</file>

<file path=ppt/charts/_rels/chart262.xml.rels><?xml version="1.0" encoding="UTF-8" standalone="yes"?>
<Relationships xmlns="http://schemas.openxmlformats.org/package/2006/relationships"><Relationship Id="rId3" Type="http://schemas.openxmlformats.org/officeDocument/2006/relationships/package" Target="../embeddings/Microsoft_Excel_Worksheet261.xlsx"/><Relationship Id="rId2" Type="http://schemas.microsoft.com/office/2011/relationships/chartColorStyle" Target="colors127.xml"/><Relationship Id="rId1" Type="http://schemas.microsoft.com/office/2011/relationships/chartStyle" Target="style127.xml"/></Relationships>
</file>

<file path=ppt/charts/_rels/chart263.xml.rels><?xml version="1.0" encoding="UTF-8" standalone="yes"?>
<Relationships xmlns="http://schemas.openxmlformats.org/package/2006/relationships"><Relationship Id="rId3" Type="http://schemas.openxmlformats.org/officeDocument/2006/relationships/package" Target="../embeddings/Microsoft_Excel_Worksheet262.xlsx"/><Relationship Id="rId2" Type="http://schemas.microsoft.com/office/2011/relationships/chartColorStyle" Target="colors128.xml"/><Relationship Id="rId1" Type="http://schemas.microsoft.com/office/2011/relationships/chartStyle" Target="style128.xml"/></Relationships>
</file>

<file path=ppt/charts/_rels/chart264.xml.rels><?xml version="1.0" encoding="UTF-8" standalone="yes"?>
<Relationships xmlns="http://schemas.openxmlformats.org/package/2006/relationships"><Relationship Id="rId3" Type="http://schemas.openxmlformats.org/officeDocument/2006/relationships/package" Target="../embeddings/Microsoft_Excel_Worksheet263.xlsx"/><Relationship Id="rId2" Type="http://schemas.microsoft.com/office/2011/relationships/chartColorStyle" Target="colors129.xml"/><Relationship Id="rId1" Type="http://schemas.microsoft.com/office/2011/relationships/chartStyle" Target="style129.xml"/></Relationships>
</file>

<file path=ppt/charts/_rels/chart265.xml.rels><?xml version="1.0" encoding="UTF-8" standalone="yes"?>
<Relationships xmlns="http://schemas.openxmlformats.org/package/2006/relationships"><Relationship Id="rId3" Type="http://schemas.openxmlformats.org/officeDocument/2006/relationships/package" Target="../embeddings/Microsoft_Excel_Worksheet264.xlsx"/><Relationship Id="rId2" Type="http://schemas.microsoft.com/office/2011/relationships/chartColorStyle" Target="colors130.xml"/><Relationship Id="rId1" Type="http://schemas.microsoft.com/office/2011/relationships/chartStyle" Target="style130.xml"/></Relationships>
</file>

<file path=ppt/charts/_rels/chart266.xml.rels><?xml version="1.0" encoding="UTF-8" standalone="yes"?>
<Relationships xmlns="http://schemas.openxmlformats.org/package/2006/relationships"><Relationship Id="rId3" Type="http://schemas.openxmlformats.org/officeDocument/2006/relationships/package" Target="../embeddings/Microsoft_Excel_Worksheet265.xlsx"/><Relationship Id="rId2" Type="http://schemas.microsoft.com/office/2011/relationships/chartColorStyle" Target="colors131.xml"/><Relationship Id="rId1" Type="http://schemas.microsoft.com/office/2011/relationships/chartStyle" Target="style131.xml"/></Relationships>
</file>

<file path=ppt/charts/_rels/chart267.xml.rels><?xml version="1.0" encoding="UTF-8" standalone="yes"?>
<Relationships xmlns="http://schemas.openxmlformats.org/package/2006/relationships"><Relationship Id="rId3" Type="http://schemas.openxmlformats.org/officeDocument/2006/relationships/package" Target="../embeddings/Microsoft_Excel_Worksheet266.xlsx"/><Relationship Id="rId2" Type="http://schemas.microsoft.com/office/2011/relationships/chartColorStyle" Target="colors132.xml"/><Relationship Id="rId1" Type="http://schemas.microsoft.com/office/2011/relationships/chartStyle" Target="style132.xml"/></Relationships>
</file>

<file path=ppt/charts/_rels/chart268.xml.rels><?xml version="1.0" encoding="UTF-8" standalone="yes"?>
<Relationships xmlns="http://schemas.openxmlformats.org/package/2006/relationships"><Relationship Id="rId3" Type="http://schemas.openxmlformats.org/officeDocument/2006/relationships/package" Target="../embeddings/Microsoft_Excel_Worksheet267.xlsx"/><Relationship Id="rId2" Type="http://schemas.microsoft.com/office/2011/relationships/chartColorStyle" Target="colors133.xml"/><Relationship Id="rId1" Type="http://schemas.microsoft.com/office/2011/relationships/chartStyle" Target="style133.xml"/></Relationships>
</file>

<file path=ppt/charts/_rels/chart269.xml.rels><?xml version="1.0" encoding="UTF-8" standalone="yes"?>
<Relationships xmlns="http://schemas.openxmlformats.org/package/2006/relationships"><Relationship Id="rId3" Type="http://schemas.openxmlformats.org/officeDocument/2006/relationships/package" Target="../embeddings/Microsoft_Excel_Worksheet268.xlsx"/><Relationship Id="rId2" Type="http://schemas.microsoft.com/office/2011/relationships/chartColorStyle" Target="colors134.xml"/><Relationship Id="rId1" Type="http://schemas.microsoft.com/office/2011/relationships/chartStyle" Target="style134.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3.xml"/><Relationship Id="rId1" Type="http://schemas.microsoft.com/office/2011/relationships/chartStyle" Target="style3.xml"/></Relationships>
</file>

<file path=ppt/charts/_rels/chart270.xml.rels><?xml version="1.0" encoding="UTF-8" standalone="yes"?>
<Relationships xmlns="http://schemas.openxmlformats.org/package/2006/relationships"><Relationship Id="rId3" Type="http://schemas.openxmlformats.org/officeDocument/2006/relationships/package" Target="../embeddings/Microsoft_Excel_Worksheet269.xlsx"/><Relationship Id="rId2" Type="http://schemas.microsoft.com/office/2011/relationships/chartColorStyle" Target="colors135.xml"/><Relationship Id="rId1" Type="http://schemas.microsoft.com/office/2011/relationships/chartStyle" Target="style135.xml"/></Relationships>
</file>

<file path=ppt/charts/_rels/chart271.xml.rels><?xml version="1.0" encoding="UTF-8" standalone="yes"?>
<Relationships xmlns="http://schemas.openxmlformats.org/package/2006/relationships"><Relationship Id="rId3" Type="http://schemas.openxmlformats.org/officeDocument/2006/relationships/package" Target="../embeddings/Microsoft_Excel_Worksheet270.xlsx"/><Relationship Id="rId2" Type="http://schemas.microsoft.com/office/2011/relationships/chartColorStyle" Target="colors136.xml"/><Relationship Id="rId1" Type="http://schemas.microsoft.com/office/2011/relationships/chartStyle" Target="style136.xml"/></Relationships>
</file>

<file path=ppt/charts/_rels/chart272.xml.rels><?xml version="1.0" encoding="UTF-8" standalone="yes"?>
<Relationships xmlns="http://schemas.openxmlformats.org/package/2006/relationships"><Relationship Id="rId3" Type="http://schemas.openxmlformats.org/officeDocument/2006/relationships/package" Target="../embeddings/Microsoft_Excel_Worksheet271.xlsx"/><Relationship Id="rId2" Type="http://schemas.microsoft.com/office/2011/relationships/chartColorStyle" Target="colors137.xml"/><Relationship Id="rId1" Type="http://schemas.microsoft.com/office/2011/relationships/chartStyle" Target="style137.xml"/></Relationships>
</file>

<file path=ppt/charts/_rels/chart273.xml.rels><?xml version="1.0" encoding="UTF-8" standalone="yes"?>
<Relationships xmlns="http://schemas.openxmlformats.org/package/2006/relationships"><Relationship Id="rId3" Type="http://schemas.openxmlformats.org/officeDocument/2006/relationships/package" Target="../embeddings/Microsoft_Excel_Worksheet272.xlsx"/><Relationship Id="rId2" Type="http://schemas.microsoft.com/office/2011/relationships/chartColorStyle" Target="colors138.xml"/><Relationship Id="rId1" Type="http://schemas.microsoft.com/office/2011/relationships/chartStyle" Target="style138.xml"/></Relationships>
</file>

<file path=ppt/charts/_rels/chart274.xml.rels><?xml version="1.0" encoding="UTF-8" standalone="yes"?>
<Relationships xmlns="http://schemas.openxmlformats.org/package/2006/relationships"><Relationship Id="rId3" Type="http://schemas.openxmlformats.org/officeDocument/2006/relationships/package" Target="../embeddings/Microsoft_Excel_Worksheet273.xlsx"/><Relationship Id="rId2" Type="http://schemas.microsoft.com/office/2011/relationships/chartColorStyle" Target="colors139.xml"/><Relationship Id="rId1" Type="http://schemas.microsoft.com/office/2011/relationships/chartStyle" Target="style139.xml"/></Relationships>
</file>

<file path=ppt/charts/_rels/chart275.xml.rels><?xml version="1.0" encoding="UTF-8" standalone="yes"?>
<Relationships xmlns="http://schemas.openxmlformats.org/package/2006/relationships"><Relationship Id="rId3" Type="http://schemas.openxmlformats.org/officeDocument/2006/relationships/package" Target="../embeddings/Microsoft_Excel_Worksheet274.xlsx"/><Relationship Id="rId2" Type="http://schemas.microsoft.com/office/2011/relationships/chartColorStyle" Target="colors140.xml"/><Relationship Id="rId1" Type="http://schemas.microsoft.com/office/2011/relationships/chartStyle" Target="style140.xml"/></Relationships>
</file>

<file path=ppt/charts/_rels/chart276.xml.rels><?xml version="1.0" encoding="UTF-8" standalone="yes"?>
<Relationships xmlns="http://schemas.openxmlformats.org/package/2006/relationships"><Relationship Id="rId3" Type="http://schemas.openxmlformats.org/officeDocument/2006/relationships/package" Target="../embeddings/Microsoft_Excel_Worksheet275.xlsx"/><Relationship Id="rId2" Type="http://schemas.microsoft.com/office/2011/relationships/chartColorStyle" Target="colors141.xml"/><Relationship Id="rId1" Type="http://schemas.microsoft.com/office/2011/relationships/chartStyle" Target="style141.xml"/></Relationships>
</file>

<file path=ppt/charts/_rels/chart277.xml.rels><?xml version="1.0" encoding="UTF-8" standalone="yes"?>
<Relationships xmlns="http://schemas.openxmlformats.org/package/2006/relationships"><Relationship Id="rId3" Type="http://schemas.openxmlformats.org/officeDocument/2006/relationships/package" Target="../embeddings/Microsoft_Excel_Worksheet276.xlsx"/><Relationship Id="rId2" Type="http://schemas.microsoft.com/office/2011/relationships/chartColorStyle" Target="colors142.xml"/><Relationship Id="rId1" Type="http://schemas.microsoft.com/office/2011/relationships/chartStyle" Target="style142.xml"/></Relationships>
</file>

<file path=ppt/charts/_rels/chart278.xml.rels><?xml version="1.0" encoding="UTF-8" standalone="yes"?>
<Relationships xmlns="http://schemas.openxmlformats.org/package/2006/relationships"><Relationship Id="rId3" Type="http://schemas.openxmlformats.org/officeDocument/2006/relationships/package" Target="../embeddings/Microsoft_Excel_Worksheet277.xlsx"/><Relationship Id="rId2" Type="http://schemas.microsoft.com/office/2011/relationships/chartColorStyle" Target="colors143.xml"/><Relationship Id="rId1" Type="http://schemas.microsoft.com/office/2011/relationships/chartStyle" Target="style143.xml"/></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4.xml"/><Relationship Id="rId1" Type="http://schemas.microsoft.com/office/2011/relationships/chartStyle" Target="style4.xml"/></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5.xml"/><Relationship Id="rId1" Type="http://schemas.microsoft.com/office/2011/relationships/chartStyle" Target="style5.xml"/></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6.xml"/><Relationship Id="rId1" Type="http://schemas.microsoft.com/office/2011/relationships/chartStyle" Target="style6.xml"/></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3" Type="http://schemas.openxmlformats.org/officeDocument/2006/relationships/package" Target="../embeddings/Microsoft_Excel_Worksheet302.xlsx"/><Relationship Id="rId2" Type="http://schemas.microsoft.com/office/2011/relationships/chartColorStyle" Target="colors144.xml"/><Relationship Id="rId1" Type="http://schemas.microsoft.com/office/2011/relationships/chartStyle" Target="style144.xml"/></Relationships>
</file>

<file path=ppt/charts/_rels/chart304.xml.rels><?xml version="1.0" encoding="UTF-8" standalone="yes"?>
<Relationships xmlns="http://schemas.openxmlformats.org/package/2006/relationships"><Relationship Id="rId3" Type="http://schemas.openxmlformats.org/officeDocument/2006/relationships/package" Target="../embeddings/Microsoft_Excel_Worksheet303.xlsx"/><Relationship Id="rId2" Type="http://schemas.microsoft.com/office/2011/relationships/chartColorStyle" Target="colors145.xml"/><Relationship Id="rId1" Type="http://schemas.microsoft.com/office/2011/relationships/chartStyle" Target="style145.xml"/></Relationships>
</file>

<file path=ppt/charts/_rels/chart305.xml.rels><?xml version="1.0" encoding="UTF-8" standalone="yes"?>
<Relationships xmlns="http://schemas.openxmlformats.org/package/2006/relationships"><Relationship Id="rId3" Type="http://schemas.openxmlformats.org/officeDocument/2006/relationships/package" Target="../embeddings/Microsoft_Excel_Worksheet304.xlsx"/><Relationship Id="rId2" Type="http://schemas.microsoft.com/office/2011/relationships/chartColorStyle" Target="colors146.xml"/><Relationship Id="rId1" Type="http://schemas.microsoft.com/office/2011/relationships/chartStyle" Target="style146.xml"/></Relationships>
</file>

<file path=ppt/charts/_rels/chart306.xml.rels><?xml version="1.0" encoding="UTF-8" standalone="yes"?>
<Relationships xmlns="http://schemas.openxmlformats.org/package/2006/relationships"><Relationship Id="rId3" Type="http://schemas.openxmlformats.org/officeDocument/2006/relationships/package" Target="../embeddings/Microsoft_Excel_Worksheet305.xlsx"/><Relationship Id="rId2" Type="http://schemas.microsoft.com/office/2011/relationships/chartColorStyle" Target="colors147.xml"/><Relationship Id="rId1" Type="http://schemas.microsoft.com/office/2011/relationships/chartStyle" Target="style147.xml"/></Relationships>
</file>

<file path=ppt/charts/_rels/chart307.xml.rels><?xml version="1.0" encoding="UTF-8" standalone="yes"?>
<Relationships xmlns="http://schemas.openxmlformats.org/package/2006/relationships"><Relationship Id="rId3" Type="http://schemas.openxmlformats.org/officeDocument/2006/relationships/package" Target="../embeddings/Microsoft_Excel_Worksheet306.xlsx"/><Relationship Id="rId2" Type="http://schemas.microsoft.com/office/2011/relationships/chartColorStyle" Target="colors148.xml"/><Relationship Id="rId1" Type="http://schemas.microsoft.com/office/2011/relationships/chartStyle" Target="style148.xml"/></Relationships>
</file>

<file path=ppt/charts/_rels/chart308.xml.rels><?xml version="1.0" encoding="UTF-8" standalone="yes"?>
<Relationships xmlns="http://schemas.openxmlformats.org/package/2006/relationships"><Relationship Id="rId3" Type="http://schemas.openxmlformats.org/officeDocument/2006/relationships/package" Target="../embeddings/Microsoft_Excel_Worksheet307.xlsx"/><Relationship Id="rId2" Type="http://schemas.microsoft.com/office/2011/relationships/chartColorStyle" Target="colors149.xml"/><Relationship Id="rId1" Type="http://schemas.microsoft.com/office/2011/relationships/chartStyle" Target="style149.xml"/></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7.xml"/><Relationship Id="rId1" Type="http://schemas.microsoft.com/office/2011/relationships/chartStyle" Target="style7.xml"/></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8.xml"/><Relationship Id="rId1" Type="http://schemas.microsoft.com/office/2011/relationships/chartStyle" Target="style8.xml"/></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3" Type="http://schemas.openxmlformats.org/officeDocument/2006/relationships/package" Target="../embeddings/Microsoft_Excel_Worksheet320.xlsx"/><Relationship Id="rId2" Type="http://schemas.microsoft.com/office/2011/relationships/chartColorStyle" Target="colors150.xml"/><Relationship Id="rId1" Type="http://schemas.microsoft.com/office/2011/relationships/chartStyle" Target="style150.xml"/></Relationships>
</file>

<file path=ppt/charts/_rels/chart322.xml.rels><?xml version="1.0" encoding="UTF-8" standalone="yes"?>
<Relationships xmlns="http://schemas.openxmlformats.org/package/2006/relationships"><Relationship Id="rId3" Type="http://schemas.openxmlformats.org/officeDocument/2006/relationships/package" Target="../embeddings/Microsoft_Excel_Worksheet321.xlsx"/><Relationship Id="rId2" Type="http://schemas.microsoft.com/office/2011/relationships/chartColorStyle" Target="colors151.xml"/><Relationship Id="rId1" Type="http://schemas.microsoft.com/office/2011/relationships/chartStyle" Target="style151.xml"/></Relationships>
</file>

<file path=ppt/charts/_rels/chart323.xml.rels><?xml version="1.0" encoding="UTF-8" standalone="yes"?>
<Relationships xmlns="http://schemas.openxmlformats.org/package/2006/relationships"><Relationship Id="rId3" Type="http://schemas.openxmlformats.org/officeDocument/2006/relationships/package" Target="../embeddings/Microsoft_Excel_Worksheet322.xlsx"/><Relationship Id="rId2" Type="http://schemas.microsoft.com/office/2011/relationships/chartColorStyle" Target="colors152.xml"/><Relationship Id="rId1" Type="http://schemas.microsoft.com/office/2011/relationships/chartStyle" Target="style152.xml"/></Relationships>
</file>

<file path=ppt/charts/_rels/chart324.xml.rels><?xml version="1.0" encoding="UTF-8" standalone="yes"?>
<Relationships xmlns="http://schemas.openxmlformats.org/package/2006/relationships"><Relationship Id="rId3" Type="http://schemas.openxmlformats.org/officeDocument/2006/relationships/package" Target="../embeddings/Microsoft_Excel_Worksheet323.xlsx"/><Relationship Id="rId2" Type="http://schemas.microsoft.com/office/2011/relationships/chartColorStyle" Target="colors153.xml"/><Relationship Id="rId1" Type="http://schemas.microsoft.com/office/2011/relationships/chartStyle" Target="style153.xml"/></Relationships>
</file>

<file path=ppt/charts/_rels/chart325.xml.rels><?xml version="1.0" encoding="UTF-8" standalone="yes"?>
<Relationships xmlns="http://schemas.openxmlformats.org/package/2006/relationships"><Relationship Id="rId3" Type="http://schemas.openxmlformats.org/officeDocument/2006/relationships/package" Target="../embeddings/Microsoft_Excel_Worksheet324.xlsx"/><Relationship Id="rId2" Type="http://schemas.microsoft.com/office/2011/relationships/chartColorStyle" Target="colors154.xml"/><Relationship Id="rId1" Type="http://schemas.microsoft.com/office/2011/relationships/chartStyle" Target="style154.xml"/></Relationships>
</file>

<file path=ppt/charts/_rels/chart326.xml.rels><?xml version="1.0" encoding="UTF-8" standalone="yes"?>
<Relationships xmlns="http://schemas.openxmlformats.org/package/2006/relationships"><Relationship Id="rId3" Type="http://schemas.openxmlformats.org/officeDocument/2006/relationships/package" Target="../embeddings/Microsoft_Excel_Worksheet325.xlsx"/><Relationship Id="rId2" Type="http://schemas.microsoft.com/office/2011/relationships/chartColorStyle" Target="colors155.xml"/><Relationship Id="rId1" Type="http://schemas.microsoft.com/office/2011/relationships/chartStyle" Target="style155.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9.xml"/><Relationship Id="rId1" Type="http://schemas.microsoft.com/office/2011/relationships/chartStyle" Target="style9.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10.xml"/><Relationship Id="rId1" Type="http://schemas.microsoft.com/office/2011/relationships/chartStyle" Target="style10.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11.xml"/><Relationship Id="rId1" Type="http://schemas.microsoft.com/office/2011/relationships/chartStyle" Target="style11.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12.xml"/><Relationship Id="rId1" Type="http://schemas.microsoft.com/office/2011/relationships/chartStyle" Target="style12.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13.xml"/><Relationship Id="rId1" Type="http://schemas.microsoft.com/office/2011/relationships/chartStyle" Target="style13.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14.xml"/><Relationship Id="rId1" Type="http://schemas.microsoft.com/office/2011/relationships/chartStyle" Target="style14.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15.xml"/><Relationship Id="rId1" Type="http://schemas.microsoft.com/office/2011/relationships/chartStyle" Target="style15.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16.xml"/><Relationship Id="rId1" Type="http://schemas.microsoft.com/office/2011/relationships/chartStyle" Target="style16.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17.xml"/><Relationship Id="rId1" Type="http://schemas.microsoft.com/office/2011/relationships/chartStyle" Target="style17.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18.xml"/><Relationship Id="rId1" Type="http://schemas.microsoft.com/office/2011/relationships/chartStyle" Target="style18.xml"/></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B$2:$B$11</c:f>
              <c:numCache>
                <c:formatCode>General</c:formatCode>
                <c:ptCount val="10"/>
                <c:pt idx="0">
                  <c:v>0.97553731504482122</c:v>
                </c:pt>
                <c:pt idx="1">
                  <c:v>1</c:v>
                </c:pt>
                <c:pt idx="2">
                  <c:v>0.96560128666794454</c:v>
                </c:pt>
                <c:pt idx="3">
                  <c:v>1</c:v>
                </c:pt>
                <c:pt idx="4">
                  <c:v>4.2670982812054552E-2</c:v>
                </c:pt>
                <c:pt idx="5">
                  <c:v>1</c:v>
                </c:pt>
                <c:pt idx="6">
                  <c:v>0.71063588973412994</c:v>
                </c:pt>
                <c:pt idx="7">
                  <c:v>4.152747056740308E-2</c:v>
                </c:pt>
                <c:pt idx="8">
                  <c:v>0.88317257601959165</c:v>
                </c:pt>
                <c:pt idx="9">
                  <c:v>0.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C$2:$C$11</c:f>
              <c:numCache>
                <c:formatCode>General</c:formatCode>
                <c:ptCount val="10"/>
                <c:pt idx="0">
                  <c:v>2.446268495517874E-2</c:v>
                </c:pt>
                <c:pt idx="2">
                  <c:v>3.4398713332055492E-2</c:v>
                </c:pt>
                <c:pt idx="4">
                  <c:v>0.9573290171879455</c:v>
                </c:pt>
                <c:pt idx="6">
                  <c:v>0.28936411026586994</c:v>
                </c:pt>
                <c:pt idx="7">
                  <c:v>0.95847252943259698</c:v>
                </c:pt>
                <c:pt idx="8">
                  <c:v>0.11682742398040841</c:v>
                </c:pt>
                <c:pt idx="9">
                  <c:v>0.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B$2:$B$11</c:f>
              <c:numCache>
                <c:formatCode>General</c:formatCode>
                <c:ptCount val="10"/>
                <c:pt idx="0">
                  <c:v>0.97553731504482122</c:v>
                </c:pt>
                <c:pt idx="1">
                  <c:v>1</c:v>
                </c:pt>
                <c:pt idx="2">
                  <c:v>0.96560128666794454</c:v>
                </c:pt>
                <c:pt idx="3">
                  <c:v>1</c:v>
                </c:pt>
                <c:pt idx="4">
                  <c:v>4.2670982812054552E-2</c:v>
                </c:pt>
                <c:pt idx="5">
                  <c:v>1</c:v>
                </c:pt>
                <c:pt idx="6">
                  <c:v>0.71063588973412994</c:v>
                </c:pt>
                <c:pt idx="7">
                  <c:v>4.152747056740308E-2</c:v>
                </c:pt>
                <c:pt idx="8">
                  <c:v>0.88317257601959165</c:v>
                </c:pt>
                <c:pt idx="9">
                  <c:v>0.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C$2:$C$11</c:f>
              <c:numCache>
                <c:formatCode>General</c:formatCode>
                <c:ptCount val="10"/>
                <c:pt idx="0">
                  <c:v>2.446268495517874E-2</c:v>
                </c:pt>
                <c:pt idx="2">
                  <c:v>3.4398713332055492E-2</c:v>
                </c:pt>
                <c:pt idx="4">
                  <c:v>0.9573290171879455</c:v>
                </c:pt>
                <c:pt idx="6">
                  <c:v>0.28936411026586994</c:v>
                </c:pt>
                <c:pt idx="7">
                  <c:v>0.95847252943259698</c:v>
                </c:pt>
                <c:pt idx="8">
                  <c:v>0.11682742398040841</c:v>
                </c:pt>
                <c:pt idx="9">
                  <c:v>0.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B$2:$B$11</c:f>
              <c:numCache>
                <c:formatCode>General</c:formatCode>
                <c:ptCount val="10"/>
                <c:pt idx="0">
                  <c:v>0.97553731504482122</c:v>
                </c:pt>
                <c:pt idx="1">
                  <c:v>1</c:v>
                </c:pt>
                <c:pt idx="2">
                  <c:v>0.96560128666794454</c:v>
                </c:pt>
                <c:pt idx="3">
                  <c:v>1</c:v>
                </c:pt>
                <c:pt idx="4">
                  <c:v>4.2670982812054552E-2</c:v>
                </c:pt>
                <c:pt idx="5">
                  <c:v>1</c:v>
                </c:pt>
                <c:pt idx="6">
                  <c:v>0.71063588973412994</c:v>
                </c:pt>
                <c:pt idx="7">
                  <c:v>4.152747056740308E-2</c:v>
                </c:pt>
                <c:pt idx="8">
                  <c:v>0.88317257601959165</c:v>
                </c:pt>
                <c:pt idx="9">
                  <c:v>0.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C$2:$C$11</c:f>
              <c:numCache>
                <c:formatCode>General</c:formatCode>
                <c:ptCount val="10"/>
                <c:pt idx="0">
                  <c:v>2.446268495517874E-2</c:v>
                </c:pt>
                <c:pt idx="2">
                  <c:v>3.4398713332055492E-2</c:v>
                </c:pt>
                <c:pt idx="4">
                  <c:v>0.9573290171879455</c:v>
                </c:pt>
                <c:pt idx="6">
                  <c:v>0.28936411026586994</c:v>
                </c:pt>
                <c:pt idx="7">
                  <c:v>0.95847252943259698</c:v>
                </c:pt>
                <c:pt idx="8">
                  <c:v>0.11682742398040841</c:v>
                </c:pt>
                <c:pt idx="9">
                  <c:v>0.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B$2:$B$11</c:f>
              <c:numCache>
                <c:formatCode>General</c:formatCode>
                <c:ptCount val="10"/>
                <c:pt idx="0">
                  <c:v>0.97553731504482122</c:v>
                </c:pt>
                <c:pt idx="1">
                  <c:v>1</c:v>
                </c:pt>
                <c:pt idx="2">
                  <c:v>0.96560128666794454</c:v>
                </c:pt>
                <c:pt idx="3">
                  <c:v>1</c:v>
                </c:pt>
                <c:pt idx="4">
                  <c:v>4.2670982812054552E-2</c:v>
                </c:pt>
                <c:pt idx="5">
                  <c:v>1</c:v>
                </c:pt>
                <c:pt idx="6">
                  <c:v>0.71063588973412994</c:v>
                </c:pt>
                <c:pt idx="7">
                  <c:v>4.152747056740308E-2</c:v>
                </c:pt>
                <c:pt idx="8">
                  <c:v>0.88317257601959165</c:v>
                </c:pt>
                <c:pt idx="9">
                  <c:v>0.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C$2:$C$11</c:f>
              <c:numCache>
                <c:formatCode>General</c:formatCode>
                <c:ptCount val="10"/>
                <c:pt idx="0">
                  <c:v>2.446268495517874E-2</c:v>
                </c:pt>
                <c:pt idx="2">
                  <c:v>3.4398713332055492E-2</c:v>
                </c:pt>
                <c:pt idx="4">
                  <c:v>0.9573290171879455</c:v>
                </c:pt>
                <c:pt idx="6">
                  <c:v>0.28936411026586994</c:v>
                </c:pt>
                <c:pt idx="7">
                  <c:v>0.95847252943259698</c:v>
                </c:pt>
                <c:pt idx="8">
                  <c:v>0.11682742398040841</c:v>
                </c:pt>
                <c:pt idx="9">
                  <c:v>0.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B$2:$B$11</c:f>
              <c:numCache>
                <c:formatCode>General</c:formatCode>
                <c:ptCount val="10"/>
                <c:pt idx="0">
                  <c:v>0.97553731504482122</c:v>
                </c:pt>
                <c:pt idx="1">
                  <c:v>1</c:v>
                </c:pt>
                <c:pt idx="2">
                  <c:v>0.96560128666794454</c:v>
                </c:pt>
                <c:pt idx="3">
                  <c:v>1</c:v>
                </c:pt>
                <c:pt idx="4">
                  <c:v>4.2670982812054552E-2</c:v>
                </c:pt>
                <c:pt idx="5">
                  <c:v>1</c:v>
                </c:pt>
                <c:pt idx="6">
                  <c:v>0.71063588973412994</c:v>
                </c:pt>
                <c:pt idx="7">
                  <c:v>4.152747056740308E-2</c:v>
                </c:pt>
                <c:pt idx="8">
                  <c:v>0.88317257601959165</c:v>
                </c:pt>
                <c:pt idx="9">
                  <c:v>0.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C$2:$C$11</c:f>
              <c:numCache>
                <c:formatCode>General</c:formatCode>
                <c:ptCount val="10"/>
                <c:pt idx="0">
                  <c:v>2.446268495517874E-2</c:v>
                </c:pt>
                <c:pt idx="2">
                  <c:v>3.4398713332055492E-2</c:v>
                </c:pt>
                <c:pt idx="4">
                  <c:v>0.9573290171879455</c:v>
                </c:pt>
                <c:pt idx="6">
                  <c:v>0.28936411026586994</c:v>
                </c:pt>
                <c:pt idx="7">
                  <c:v>0.95847252943259698</c:v>
                </c:pt>
                <c:pt idx="8">
                  <c:v>0.11682742398040841</c:v>
                </c:pt>
                <c:pt idx="9">
                  <c:v>0.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B$2:$B$11</c:f>
              <c:numCache>
                <c:formatCode>General</c:formatCode>
                <c:ptCount val="10"/>
                <c:pt idx="0">
                  <c:v>0.97553731504482122</c:v>
                </c:pt>
                <c:pt idx="1">
                  <c:v>1</c:v>
                </c:pt>
                <c:pt idx="2">
                  <c:v>0.96560128666794454</c:v>
                </c:pt>
                <c:pt idx="3">
                  <c:v>1</c:v>
                </c:pt>
                <c:pt idx="4">
                  <c:v>4.2670982812054552E-2</c:v>
                </c:pt>
                <c:pt idx="5">
                  <c:v>1</c:v>
                </c:pt>
                <c:pt idx="6">
                  <c:v>0.71063588973412994</c:v>
                </c:pt>
                <c:pt idx="7">
                  <c:v>4.152747056740308E-2</c:v>
                </c:pt>
                <c:pt idx="8">
                  <c:v>0.88317257601959165</c:v>
                </c:pt>
                <c:pt idx="9">
                  <c:v>0.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C$2:$C$11</c:f>
              <c:numCache>
                <c:formatCode>General</c:formatCode>
                <c:ptCount val="10"/>
                <c:pt idx="0">
                  <c:v>2.446268495517874E-2</c:v>
                </c:pt>
                <c:pt idx="2">
                  <c:v>3.4398713332055492E-2</c:v>
                </c:pt>
                <c:pt idx="4">
                  <c:v>0.9573290171879455</c:v>
                </c:pt>
                <c:pt idx="6">
                  <c:v>0.28936411026586994</c:v>
                </c:pt>
                <c:pt idx="7">
                  <c:v>0.95847252943259698</c:v>
                </c:pt>
                <c:pt idx="8">
                  <c:v>0.11682742398040841</c:v>
                </c:pt>
                <c:pt idx="9">
                  <c:v>0.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08245143898068E-2"/>
          <c:y val="0.10612280345991031"/>
          <c:w val="0.88790587349000161"/>
          <c:h val="0.6506975850021649"/>
        </c:manualLayout>
      </c:layout>
      <c:barChart>
        <c:barDir val="col"/>
        <c:grouping val="stacked"/>
        <c:varyColors val="0"/>
        <c:ser>
          <c:idx val="0"/>
          <c:order val="0"/>
          <c:tx>
            <c:strRef>
              <c:f>Sheet1!$C$1</c:f>
              <c:strCache>
                <c:ptCount val="1"/>
                <c:pt idx="0">
                  <c:v>Promo Value</c:v>
                </c:pt>
              </c:strCache>
            </c:strRef>
          </c:tx>
          <c:spPr>
            <a:solidFill>
              <a:schemeClr val="accent3"/>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C$2:$C$173</c:f>
              <c:numCache>
                <c:formatCode>General</c:formatCode>
                <c:ptCount val="172"/>
                <c:pt idx="0">
                  <c:v>12444636</c:v>
                </c:pt>
                <c:pt idx="1">
                  <c:v>7185356</c:v>
                </c:pt>
                <c:pt idx="2">
                  <c:v>7709545</c:v>
                </c:pt>
                <c:pt idx="3">
                  <c:v>8074167</c:v>
                </c:pt>
                <c:pt idx="4">
                  <c:v>8402977</c:v>
                </c:pt>
                <c:pt idx="5">
                  <c:v>9534246</c:v>
                </c:pt>
                <c:pt idx="6">
                  <c:v>10939345</c:v>
                </c:pt>
                <c:pt idx="7">
                  <c:v>7841487</c:v>
                </c:pt>
                <c:pt idx="8">
                  <c:v>9177824</c:v>
                </c:pt>
                <c:pt idx="9">
                  <c:v>8595303</c:v>
                </c:pt>
                <c:pt idx="10">
                  <c:v>9013040</c:v>
                </c:pt>
                <c:pt idx="11">
                  <c:v>8177412</c:v>
                </c:pt>
                <c:pt idx="12">
                  <c:v>11189736</c:v>
                </c:pt>
                <c:pt idx="13">
                  <c:v>10181200</c:v>
                </c:pt>
                <c:pt idx="14">
                  <c:v>10380883</c:v>
                </c:pt>
                <c:pt idx="15">
                  <c:v>9350244</c:v>
                </c:pt>
                <c:pt idx="16">
                  <c:v>9551471</c:v>
                </c:pt>
                <c:pt idx="17">
                  <c:v>10593868</c:v>
                </c:pt>
                <c:pt idx="18">
                  <c:v>11316539</c:v>
                </c:pt>
                <c:pt idx="19">
                  <c:v>10239681</c:v>
                </c:pt>
                <c:pt idx="20">
                  <c:v>10121497</c:v>
                </c:pt>
                <c:pt idx="21">
                  <c:v>10078557</c:v>
                </c:pt>
                <c:pt idx="22">
                  <c:v>12325493</c:v>
                </c:pt>
                <c:pt idx="23">
                  <c:v>10104232</c:v>
                </c:pt>
                <c:pt idx="24">
                  <c:v>13058018</c:v>
                </c:pt>
                <c:pt idx="25">
                  <c:v>9321749</c:v>
                </c:pt>
                <c:pt idx="26">
                  <c:v>12552076</c:v>
                </c:pt>
                <c:pt idx="27">
                  <c:v>15275437</c:v>
                </c:pt>
                <c:pt idx="28">
                  <c:v>14524771</c:v>
                </c:pt>
                <c:pt idx="29">
                  <c:v>11563135</c:v>
                </c:pt>
                <c:pt idx="30">
                  <c:v>10966761</c:v>
                </c:pt>
                <c:pt idx="31">
                  <c:v>13256872</c:v>
                </c:pt>
                <c:pt idx="32">
                  <c:v>11310208</c:v>
                </c:pt>
                <c:pt idx="33">
                  <c:v>11520181</c:v>
                </c:pt>
                <c:pt idx="34">
                  <c:v>12376311</c:v>
                </c:pt>
                <c:pt idx="35">
                  <c:v>10668263</c:v>
                </c:pt>
                <c:pt idx="36">
                  <c:v>12924107</c:v>
                </c:pt>
                <c:pt idx="37">
                  <c:v>12029990</c:v>
                </c:pt>
                <c:pt idx="38">
                  <c:v>11143692</c:v>
                </c:pt>
                <c:pt idx="39">
                  <c:v>10228088</c:v>
                </c:pt>
                <c:pt idx="40">
                  <c:v>8869539</c:v>
                </c:pt>
                <c:pt idx="41">
                  <c:v>9145259</c:v>
                </c:pt>
                <c:pt idx="42">
                  <c:v>10975011</c:v>
                </c:pt>
                <c:pt idx="43">
                  <c:v>10268307</c:v>
                </c:pt>
                <c:pt idx="44">
                  <c:v>9114877</c:v>
                </c:pt>
                <c:pt idx="45">
                  <c:v>10169247</c:v>
                </c:pt>
                <c:pt idx="46">
                  <c:v>9527500</c:v>
                </c:pt>
                <c:pt idx="47">
                  <c:v>9390388</c:v>
                </c:pt>
                <c:pt idx="48">
                  <c:v>9190756</c:v>
                </c:pt>
                <c:pt idx="49">
                  <c:v>8279680</c:v>
                </c:pt>
                <c:pt idx="50">
                  <c:v>9011004</c:v>
                </c:pt>
                <c:pt idx="51">
                  <c:v>10050858</c:v>
                </c:pt>
                <c:pt idx="52">
                  <c:v>11360515</c:v>
                </c:pt>
                <c:pt idx="53">
                  <c:v>6532708</c:v>
                </c:pt>
                <c:pt idx="54">
                  <c:v>8501923</c:v>
                </c:pt>
                <c:pt idx="55">
                  <c:v>10749052</c:v>
                </c:pt>
                <c:pt idx="56">
                  <c:v>9645476</c:v>
                </c:pt>
                <c:pt idx="57">
                  <c:v>10956175</c:v>
                </c:pt>
                <c:pt idx="58">
                  <c:v>10727158</c:v>
                </c:pt>
                <c:pt idx="59">
                  <c:v>9422685</c:v>
                </c:pt>
                <c:pt idx="60">
                  <c:v>8067986</c:v>
                </c:pt>
                <c:pt idx="61">
                  <c:v>8616356</c:v>
                </c:pt>
                <c:pt idx="62">
                  <c:v>12620128</c:v>
                </c:pt>
                <c:pt idx="63">
                  <c:v>11135801</c:v>
                </c:pt>
                <c:pt idx="64">
                  <c:v>13676428</c:v>
                </c:pt>
                <c:pt idx="65">
                  <c:v>11422438</c:v>
                </c:pt>
                <c:pt idx="66">
                  <c:v>7322718</c:v>
                </c:pt>
                <c:pt idx="67">
                  <c:v>7413749</c:v>
                </c:pt>
                <c:pt idx="68">
                  <c:v>9180780</c:v>
                </c:pt>
                <c:pt idx="69">
                  <c:v>7141369</c:v>
                </c:pt>
                <c:pt idx="70">
                  <c:v>8868015</c:v>
                </c:pt>
                <c:pt idx="71">
                  <c:v>9057154</c:v>
                </c:pt>
                <c:pt idx="72">
                  <c:v>9355840</c:v>
                </c:pt>
                <c:pt idx="73">
                  <c:v>10602350</c:v>
                </c:pt>
                <c:pt idx="74">
                  <c:v>11248575</c:v>
                </c:pt>
                <c:pt idx="75">
                  <c:v>11913246</c:v>
                </c:pt>
                <c:pt idx="76">
                  <c:v>9281009</c:v>
                </c:pt>
                <c:pt idx="77">
                  <c:v>9905898</c:v>
                </c:pt>
                <c:pt idx="78">
                  <c:v>12067605</c:v>
                </c:pt>
                <c:pt idx="79">
                  <c:v>13670568</c:v>
                </c:pt>
                <c:pt idx="80">
                  <c:v>19852081</c:v>
                </c:pt>
                <c:pt idx="81">
                  <c:v>23786538</c:v>
                </c:pt>
                <c:pt idx="82">
                  <c:v>16801252</c:v>
                </c:pt>
                <c:pt idx="83">
                  <c:v>17849807</c:v>
                </c:pt>
                <c:pt idx="84">
                  <c:v>13855823</c:v>
                </c:pt>
                <c:pt idx="85">
                  <c:v>12779993</c:v>
                </c:pt>
                <c:pt idx="86">
                  <c:v>13367987</c:v>
                </c:pt>
                <c:pt idx="87">
                  <c:v>12896774</c:v>
                </c:pt>
                <c:pt idx="88">
                  <c:v>11849433</c:v>
                </c:pt>
                <c:pt idx="89">
                  <c:v>9755011</c:v>
                </c:pt>
                <c:pt idx="90">
                  <c:v>9866124</c:v>
                </c:pt>
                <c:pt idx="91">
                  <c:v>12492627</c:v>
                </c:pt>
                <c:pt idx="92">
                  <c:v>9519967</c:v>
                </c:pt>
                <c:pt idx="93">
                  <c:v>9371854</c:v>
                </c:pt>
                <c:pt idx="94">
                  <c:v>10405085</c:v>
                </c:pt>
                <c:pt idx="95">
                  <c:v>9855449</c:v>
                </c:pt>
                <c:pt idx="96">
                  <c:v>9006107</c:v>
                </c:pt>
                <c:pt idx="97">
                  <c:v>9440195</c:v>
                </c:pt>
                <c:pt idx="98">
                  <c:v>9190806</c:v>
                </c:pt>
                <c:pt idx="99">
                  <c:v>10067090</c:v>
                </c:pt>
                <c:pt idx="100">
                  <c:v>9935717</c:v>
                </c:pt>
                <c:pt idx="101">
                  <c:v>8478315</c:v>
                </c:pt>
                <c:pt idx="102">
                  <c:v>7953756</c:v>
                </c:pt>
                <c:pt idx="103">
                  <c:v>8800420</c:v>
                </c:pt>
                <c:pt idx="104">
                  <c:v>13188297</c:v>
                </c:pt>
                <c:pt idx="105">
                  <c:v>7651913</c:v>
                </c:pt>
                <c:pt idx="106">
                  <c:v>6083941</c:v>
                </c:pt>
                <c:pt idx="107">
                  <c:v>10582089</c:v>
                </c:pt>
                <c:pt idx="108">
                  <c:v>10463894</c:v>
                </c:pt>
                <c:pt idx="109">
                  <c:v>10333112</c:v>
                </c:pt>
                <c:pt idx="110">
                  <c:v>10671054</c:v>
                </c:pt>
                <c:pt idx="111">
                  <c:v>10021378</c:v>
                </c:pt>
                <c:pt idx="112">
                  <c:v>8018383</c:v>
                </c:pt>
                <c:pt idx="113">
                  <c:v>10423698</c:v>
                </c:pt>
                <c:pt idx="114">
                  <c:v>11289899</c:v>
                </c:pt>
                <c:pt idx="115">
                  <c:v>13534840</c:v>
                </c:pt>
                <c:pt idx="116">
                  <c:v>9862650</c:v>
                </c:pt>
                <c:pt idx="117">
                  <c:v>7972932</c:v>
                </c:pt>
                <c:pt idx="118">
                  <c:v>12810319</c:v>
                </c:pt>
                <c:pt idx="119">
                  <c:v>13111156</c:v>
                </c:pt>
                <c:pt idx="120">
                  <c:v>9460161</c:v>
                </c:pt>
                <c:pt idx="121">
                  <c:v>9582261</c:v>
                </c:pt>
                <c:pt idx="122">
                  <c:v>10419668</c:v>
                </c:pt>
                <c:pt idx="123">
                  <c:v>11205085</c:v>
                </c:pt>
                <c:pt idx="124">
                  <c:v>10621918</c:v>
                </c:pt>
                <c:pt idx="125">
                  <c:v>9713330</c:v>
                </c:pt>
                <c:pt idx="126">
                  <c:v>14419664</c:v>
                </c:pt>
                <c:pt idx="127">
                  <c:v>8442217</c:v>
                </c:pt>
                <c:pt idx="128">
                  <c:v>13182299</c:v>
                </c:pt>
                <c:pt idx="129">
                  <c:v>12441305</c:v>
                </c:pt>
                <c:pt idx="130">
                  <c:v>19113263</c:v>
                </c:pt>
                <c:pt idx="131">
                  <c:v>14872205</c:v>
                </c:pt>
                <c:pt idx="132">
                  <c:v>14671631</c:v>
                </c:pt>
                <c:pt idx="133">
                  <c:v>11180243</c:v>
                </c:pt>
                <c:pt idx="134">
                  <c:v>11762561</c:v>
                </c:pt>
                <c:pt idx="135">
                  <c:v>11490296</c:v>
                </c:pt>
                <c:pt idx="136">
                  <c:v>13075904</c:v>
                </c:pt>
                <c:pt idx="137">
                  <c:v>10733422</c:v>
                </c:pt>
                <c:pt idx="138">
                  <c:v>9733322</c:v>
                </c:pt>
                <c:pt idx="139">
                  <c:v>9470733</c:v>
                </c:pt>
                <c:pt idx="140">
                  <c:v>10248502</c:v>
                </c:pt>
                <c:pt idx="141">
                  <c:v>10541151</c:v>
                </c:pt>
                <c:pt idx="142">
                  <c:v>10802563</c:v>
                </c:pt>
                <c:pt idx="143">
                  <c:v>10152049</c:v>
                </c:pt>
                <c:pt idx="144">
                  <c:v>11365529</c:v>
                </c:pt>
                <c:pt idx="145">
                  <c:v>12467571</c:v>
                </c:pt>
                <c:pt idx="146">
                  <c:v>10675011</c:v>
                </c:pt>
                <c:pt idx="147">
                  <c:v>9723992</c:v>
                </c:pt>
                <c:pt idx="148">
                  <c:v>7996944</c:v>
                </c:pt>
                <c:pt idx="149">
                  <c:v>8946583</c:v>
                </c:pt>
                <c:pt idx="150">
                  <c:v>8896854</c:v>
                </c:pt>
                <c:pt idx="151">
                  <c:v>8341636</c:v>
                </c:pt>
                <c:pt idx="152">
                  <c:v>9052109</c:v>
                </c:pt>
                <c:pt idx="153">
                  <c:v>10157071</c:v>
                </c:pt>
                <c:pt idx="154">
                  <c:v>8000619</c:v>
                </c:pt>
                <c:pt idx="155">
                  <c:v>8019566</c:v>
                </c:pt>
                <c:pt idx="156">
                  <c:v>10590867</c:v>
                </c:pt>
                <c:pt idx="157">
                  <c:v>10443410</c:v>
                </c:pt>
                <c:pt idx="158">
                  <c:v>7853514</c:v>
                </c:pt>
                <c:pt idx="159">
                  <c:v>11977936</c:v>
                </c:pt>
                <c:pt idx="160">
                  <c:v>9545056</c:v>
                </c:pt>
                <c:pt idx="161">
                  <c:v>9751593</c:v>
                </c:pt>
                <c:pt idx="162">
                  <c:v>9820853</c:v>
                </c:pt>
                <c:pt idx="163">
                  <c:v>9718091</c:v>
                </c:pt>
                <c:pt idx="164">
                  <c:v>10069808</c:v>
                </c:pt>
                <c:pt idx="165">
                  <c:v>10123687</c:v>
                </c:pt>
                <c:pt idx="166">
                  <c:v>10447524</c:v>
                </c:pt>
                <c:pt idx="167">
                  <c:v>10700616</c:v>
                </c:pt>
                <c:pt idx="168">
                  <c:v>12379065</c:v>
                </c:pt>
                <c:pt idx="169">
                  <c:v>11753512</c:v>
                </c:pt>
                <c:pt idx="170">
                  <c:v>11794401</c:v>
                </c:pt>
                <c:pt idx="171">
                  <c:v>10838490</c:v>
                </c:pt>
              </c:numCache>
            </c:numRef>
          </c:val>
          <c:extLst>
            <c:ext xmlns:c16="http://schemas.microsoft.com/office/drawing/2014/chart" uri="{C3380CC4-5D6E-409C-BE32-E72D297353CC}">
              <c16:uniqueId val="{00000000-2607-4594-924D-A7A362348187}"/>
            </c:ext>
          </c:extLst>
        </c:ser>
        <c:ser>
          <c:idx val="1"/>
          <c:order val="1"/>
          <c:tx>
            <c:strRef>
              <c:f>Sheet1!$D$1</c:f>
              <c:strCache>
                <c:ptCount val="1"/>
                <c:pt idx="0">
                  <c:v>Non-Promo Value</c:v>
                </c:pt>
              </c:strCache>
            </c:strRef>
          </c:tx>
          <c:spPr>
            <a:solidFill>
              <a:schemeClr val="bg2">
                <a:lumMod val="90000"/>
              </a:schemeClr>
            </a:solidFill>
            <a:ln w="3175">
              <a:solidFill>
                <a:schemeClr val="bg1"/>
              </a:solidFill>
            </a:ln>
            <a:effectLst/>
          </c:spPr>
          <c:invertIfNegative val="0"/>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D$2:$D$173</c:f>
              <c:numCache>
                <c:formatCode>General</c:formatCode>
                <c:ptCount val="172"/>
                <c:pt idx="0">
                  <c:v>73139166</c:v>
                </c:pt>
                <c:pt idx="1">
                  <c:v>50845614</c:v>
                </c:pt>
                <c:pt idx="2">
                  <c:v>52344587</c:v>
                </c:pt>
                <c:pt idx="3">
                  <c:v>59977218</c:v>
                </c:pt>
                <c:pt idx="4">
                  <c:v>58680958</c:v>
                </c:pt>
                <c:pt idx="5">
                  <c:v>56596694</c:v>
                </c:pt>
                <c:pt idx="6">
                  <c:v>58575140</c:v>
                </c:pt>
                <c:pt idx="7">
                  <c:v>63357652</c:v>
                </c:pt>
                <c:pt idx="8">
                  <c:v>63861604</c:v>
                </c:pt>
                <c:pt idx="9">
                  <c:v>65310938</c:v>
                </c:pt>
                <c:pt idx="10">
                  <c:v>67060460</c:v>
                </c:pt>
                <c:pt idx="11">
                  <c:v>65761526</c:v>
                </c:pt>
                <c:pt idx="12">
                  <c:v>63506304</c:v>
                </c:pt>
                <c:pt idx="13">
                  <c:v>64775155</c:v>
                </c:pt>
                <c:pt idx="14">
                  <c:v>66364419</c:v>
                </c:pt>
                <c:pt idx="15">
                  <c:v>65975159</c:v>
                </c:pt>
                <c:pt idx="16">
                  <c:v>65795035</c:v>
                </c:pt>
                <c:pt idx="17">
                  <c:v>70105385</c:v>
                </c:pt>
                <c:pt idx="18">
                  <c:v>65025312</c:v>
                </c:pt>
                <c:pt idx="19">
                  <c:v>64511442</c:v>
                </c:pt>
                <c:pt idx="20">
                  <c:v>66054794</c:v>
                </c:pt>
                <c:pt idx="21">
                  <c:v>67055467</c:v>
                </c:pt>
                <c:pt idx="22">
                  <c:v>68966008</c:v>
                </c:pt>
                <c:pt idx="23">
                  <c:v>70427383</c:v>
                </c:pt>
                <c:pt idx="24">
                  <c:v>88295507</c:v>
                </c:pt>
                <c:pt idx="25">
                  <c:v>70497228</c:v>
                </c:pt>
                <c:pt idx="26">
                  <c:v>82450142</c:v>
                </c:pt>
                <c:pt idx="27">
                  <c:v>101492484</c:v>
                </c:pt>
                <c:pt idx="28">
                  <c:v>81508614</c:v>
                </c:pt>
                <c:pt idx="29">
                  <c:v>69404964</c:v>
                </c:pt>
                <c:pt idx="30">
                  <c:v>71051829</c:v>
                </c:pt>
                <c:pt idx="31">
                  <c:v>95187361</c:v>
                </c:pt>
                <c:pt idx="32">
                  <c:v>75840829</c:v>
                </c:pt>
                <c:pt idx="33">
                  <c:v>76234848</c:v>
                </c:pt>
                <c:pt idx="34">
                  <c:v>70556199</c:v>
                </c:pt>
                <c:pt idx="35">
                  <c:v>73154104</c:v>
                </c:pt>
                <c:pt idx="36">
                  <c:v>85068863</c:v>
                </c:pt>
                <c:pt idx="37">
                  <c:v>70311940</c:v>
                </c:pt>
                <c:pt idx="38">
                  <c:v>66166296</c:v>
                </c:pt>
                <c:pt idx="39">
                  <c:v>65530537</c:v>
                </c:pt>
                <c:pt idx="40">
                  <c:v>64921601</c:v>
                </c:pt>
                <c:pt idx="41">
                  <c:v>58609388</c:v>
                </c:pt>
                <c:pt idx="42">
                  <c:v>58710164</c:v>
                </c:pt>
                <c:pt idx="43">
                  <c:v>60609543</c:v>
                </c:pt>
                <c:pt idx="44">
                  <c:v>60610941</c:v>
                </c:pt>
                <c:pt idx="45">
                  <c:v>58486154</c:v>
                </c:pt>
                <c:pt idx="46">
                  <c:v>61519965</c:v>
                </c:pt>
                <c:pt idx="47">
                  <c:v>59102339</c:v>
                </c:pt>
                <c:pt idx="48">
                  <c:v>58983516</c:v>
                </c:pt>
                <c:pt idx="49">
                  <c:v>60585703</c:v>
                </c:pt>
                <c:pt idx="50">
                  <c:v>59235588</c:v>
                </c:pt>
                <c:pt idx="51">
                  <c:v>60055872</c:v>
                </c:pt>
                <c:pt idx="52">
                  <c:v>68623752</c:v>
                </c:pt>
                <c:pt idx="53">
                  <c:v>51215432</c:v>
                </c:pt>
                <c:pt idx="54">
                  <c:v>54958794</c:v>
                </c:pt>
                <c:pt idx="55">
                  <c:v>58324059</c:v>
                </c:pt>
                <c:pt idx="56">
                  <c:v>58243311</c:v>
                </c:pt>
                <c:pt idx="57">
                  <c:v>56266996</c:v>
                </c:pt>
                <c:pt idx="58">
                  <c:v>58728779</c:v>
                </c:pt>
                <c:pt idx="59">
                  <c:v>60574871</c:v>
                </c:pt>
                <c:pt idx="60">
                  <c:v>60725083</c:v>
                </c:pt>
                <c:pt idx="61">
                  <c:v>61481034</c:v>
                </c:pt>
                <c:pt idx="62">
                  <c:v>75212143</c:v>
                </c:pt>
                <c:pt idx="63">
                  <c:v>66682232</c:v>
                </c:pt>
                <c:pt idx="64">
                  <c:v>79684252</c:v>
                </c:pt>
                <c:pt idx="65">
                  <c:v>82470753</c:v>
                </c:pt>
                <c:pt idx="66">
                  <c:v>61467492</c:v>
                </c:pt>
                <c:pt idx="67">
                  <c:v>62968098</c:v>
                </c:pt>
                <c:pt idx="68">
                  <c:v>69072771</c:v>
                </c:pt>
                <c:pt idx="69">
                  <c:v>63529517</c:v>
                </c:pt>
                <c:pt idx="70">
                  <c:v>68605494</c:v>
                </c:pt>
                <c:pt idx="71">
                  <c:v>63195575</c:v>
                </c:pt>
                <c:pt idx="72">
                  <c:v>68453057</c:v>
                </c:pt>
                <c:pt idx="73">
                  <c:v>64630163</c:v>
                </c:pt>
                <c:pt idx="74">
                  <c:v>69253332</c:v>
                </c:pt>
                <c:pt idx="75">
                  <c:v>74738472</c:v>
                </c:pt>
                <c:pt idx="76">
                  <c:v>69085090</c:v>
                </c:pt>
                <c:pt idx="77">
                  <c:v>68115460</c:v>
                </c:pt>
                <c:pt idx="78">
                  <c:v>71433290</c:v>
                </c:pt>
                <c:pt idx="79">
                  <c:v>79633247</c:v>
                </c:pt>
                <c:pt idx="80">
                  <c:v>62722704</c:v>
                </c:pt>
                <c:pt idx="81">
                  <c:v>52438919</c:v>
                </c:pt>
                <c:pt idx="82">
                  <c:v>61744949</c:v>
                </c:pt>
                <c:pt idx="83">
                  <c:v>64890133</c:v>
                </c:pt>
                <c:pt idx="84">
                  <c:v>75874373</c:v>
                </c:pt>
                <c:pt idx="85">
                  <c:v>84334170</c:v>
                </c:pt>
                <c:pt idx="86">
                  <c:v>92428603</c:v>
                </c:pt>
                <c:pt idx="87">
                  <c:v>81426711</c:v>
                </c:pt>
                <c:pt idx="88">
                  <c:v>69516269</c:v>
                </c:pt>
                <c:pt idx="89">
                  <c:v>68173224</c:v>
                </c:pt>
                <c:pt idx="90">
                  <c:v>68398883</c:v>
                </c:pt>
                <c:pt idx="91">
                  <c:v>71908480</c:v>
                </c:pt>
                <c:pt idx="92">
                  <c:v>67773731</c:v>
                </c:pt>
                <c:pt idx="93">
                  <c:v>57402537</c:v>
                </c:pt>
                <c:pt idx="94">
                  <c:v>62047301</c:v>
                </c:pt>
                <c:pt idx="95">
                  <c:v>57559321</c:v>
                </c:pt>
                <c:pt idx="96">
                  <c:v>59177413</c:v>
                </c:pt>
                <c:pt idx="97">
                  <c:v>60650199</c:v>
                </c:pt>
                <c:pt idx="98">
                  <c:v>59338119</c:v>
                </c:pt>
                <c:pt idx="99">
                  <c:v>57463015</c:v>
                </c:pt>
                <c:pt idx="100">
                  <c:v>57933528</c:v>
                </c:pt>
                <c:pt idx="101">
                  <c:v>57365492</c:v>
                </c:pt>
                <c:pt idx="102">
                  <c:v>56022731</c:v>
                </c:pt>
                <c:pt idx="103">
                  <c:v>60083861</c:v>
                </c:pt>
                <c:pt idx="104">
                  <c:v>60649405</c:v>
                </c:pt>
                <c:pt idx="105">
                  <c:v>48481473</c:v>
                </c:pt>
                <c:pt idx="106">
                  <c:v>51992557</c:v>
                </c:pt>
                <c:pt idx="107">
                  <c:v>55404460</c:v>
                </c:pt>
                <c:pt idx="108">
                  <c:v>54315106</c:v>
                </c:pt>
                <c:pt idx="109">
                  <c:v>56248441</c:v>
                </c:pt>
                <c:pt idx="110">
                  <c:v>55769631</c:v>
                </c:pt>
                <c:pt idx="111">
                  <c:v>57724601</c:v>
                </c:pt>
                <c:pt idx="112">
                  <c:v>53026469</c:v>
                </c:pt>
                <c:pt idx="113">
                  <c:v>59123032</c:v>
                </c:pt>
                <c:pt idx="114">
                  <c:v>61516019</c:v>
                </c:pt>
                <c:pt idx="115">
                  <c:v>58151200</c:v>
                </c:pt>
                <c:pt idx="116">
                  <c:v>60089919</c:v>
                </c:pt>
                <c:pt idx="117">
                  <c:v>61329241</c:v>
                </c:pt>
                <c:pt idx="118">
                  <c:v>66590197</c:v>
                </c:pt>
                <c:pt idx="119">
                  <c:v>67060266</c:v>
                </c:pt>
                <c:pt idx="120">
                  <c:v>55831828</c:v>
                </c:pt>
                <c:pt idx="121">
                  <c:v>61196773</c:v>
                </c:pt>
                <c:pt idx="122">
                  <c:v>61705607</c:v>
                </c:pt>
                <c:pt idx="123">
                  <c:v>58342114</c:v>
                </c:pt>
                <c:pt idx="124">
                  <c:v>65211587</c:v>
                </c:pt>
                <c:pt idx="125">
                  <c:v>65110285</c:v>
                </c:pt>
                <c:pt idx="126">
                  <c:v>66272452</c:v>
                </c:pt>
                <c:pt idx="127">
                  <c:v>60492589</c:v>
                </c:pt>
                <c:pt idx="128">
                  <c:v>73934304</c:v>
                </c:pt>
                <c:pt idx="129">
                  <c:v>77475301</c:v>
                </c:pt>
                <c:pt idx="130">
                  <c:v>90132466</c:v>
                </c:pt>
                <c:pt idx="131">
                  <c:v>75287424</c:v>
                </c:pt>
                <c:pt idx="132">
                  <c:v>74609582</c:v>
                </c:pt>
                <c:pt idx="133">
                  <c:v>70572254</c:v>
                </c:pt>
                <c:pt idx="134">
                  <c:v>70991446</c:v>
                </c:pt>
                <c:pt idx="135">
                  <c:v>73954497</c:v>
                </c:pt>
                <c:pt idx="136">
                  <c:v>72317851</c:v>
                </c:pt>
                <c:pt idx="137">
                  <c:v>65832902</c:v>
                </c:pt>
                <c:pt idx="138">
                  <c:v>72576103</c:v>
                </c:pt>
                <c:pt idx="139">
                  <c:v>67916410</c:v>
                </c:pt>
                <c:pt idx="140">
                  <c:v>64871355</c:v>
                </c:pt>
                <c:pt idx="141">
                  <c:v>65184135</c:v>
                </c:pt>
                <c:pt idx="142">
                  <c:v>69845175</c:v>
                </c:pt>
                <c:pt idx="143">
                  <c:v>65599685</c:v>
                </c:pt>
                <c:pt idx="144">
                  <c:v>61736072</c:v>
                </c:pt>
                <c:pt idx="145">
                  <c:v>62110219</c:v>
                </c:pt>
                <c:pt idx="146">
                  <c:v>59616784</c:v>
                </c:pt>
                <c:pt idx="147">
                  <c:v>56574123</c:v>
                </c:pt>
                <c:pt idx="148">
                  <c:v>57728517</c:v>
                </c:pt>
                <c:pt idx="149">
                  <c:v>58705502</c:v>
                </c:pt>
                <c:pt idx="150">
                  <c:v>55340752</c:v>
                </c:pt>
                <c:pt idx="151">
                  <c:v>56867108</c:v>
                </c:pt>
                <c:pt idx="152">
                  <c:v>56104440</c:v>
                </c:pt>
                <c:pt idx="153">
                  <c:v>54453009</c:v>
                </c:pt>
                <c:pt idx="154">
                  <c:v>56647257</c:v>
                </c:pt>
                <c:pt idx="155">
                  <c:v>56690565</c:v>
                </c:pt>
                <c:pt idx="156">
                  <c:v>60910096</c:v>
                </c:pt>
                <c:pt idx="157">
                  <c:v>58808520</c:v>
                </c:pt>
                <c:pt idx="158">
                  <c:v>51807391</c:v>
                </c:pt>
                <c:pt idx="159">
                  <c:v>56396815</c:v>
                </c:pt>
                <c:pt idx="160">
                  <c:v>56599232</c:v>
                </c:pt>
                <c:pt idx="161">
                  <c:v>56265465</c:v>
                </c:pt>
                <c:pt idx="162">
                  <c:v>57053730</c:v>
                </c:pt>
                <c:pt idx="163">
                  <c:v>57734026</c:v>
                </c:pt>
                <c:pt idx="164">
                  <c:v>57939353</c:v>
                </c:pt>
                <c:pt idx="165">
                  <c:v>58616525</c:v>
                </c:pt>
                <c:pt idx="166">
                  <c:v>59938507</c:v>
                </c:pt>
                <c:pt idx="167">
                  <c:v>63757943</c:v>
                </c:pt>
                <c:pt idx="168">
                  <c:v>63155464</c:v>
                </c:pt>
                <c:pt idx="169">
                  <c:v>61569227</c:v>
                </c:pt>
                <c:pt idx="170">
                  <c:v>62813140</c:v>
                </c:pt>
                <c:pt idx="171">
                  <c:v>64859570</c:v>
                </c:pt>
              </c:numCache>
            </c:numRef>
          </c:val>
          <c:extLst>
            <c:ext xmlns:c16="http://schemas.microsoft.com/office/drawing/2014/chart" uri="{C3380CC4-5D6E-409C-BE32-E72D297353CC}">
              <c16:uniqueId val="{00000001-2607-4594-924D-A7A362348187}"/>
            </c:ext>
          </c:extLst>
        </c:ser>
        <c:dLbls>
          <c:showLegendKey val="0"/>
          <c:showVal val="0"/>
          <c:showCatName val="0"/>
          <c:showSerName val="0"/>
          <c:showPercent val="0"/>
          <c:showBubbleSize val="0"/>
        </c:dLbls>
        <c:gapWidth val="10"/>
        <c:overlap val="100"/>
        <c:axId val="390034320"/>
        <c:axId val="390032656"/>
      </c:barChart>
      <c:lineChart>
        <c:grouping val="standard"/>
        <c:varyColors val="0"/>
        <c:ser>
          <c:idx val="2"/>
          <c:order val="2"/>
          <c:tx>
            <c:strRef>
              <c:f>Sheet1!$E$1</c:f>
              <c:strCache>
                <c:ptCount val="1"/>
                <c:pt idx="0">
                  <c:v>Value Sales</c:v>
                </c:pt>
              </c:strCache>
            </c:strRef>
          </c:tx>
          <c:spPr>
            <a:ln w="28575" cap="rnd">
              <a:solidFill>
                <a:schemeClr val="accent3"/>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E$2:$E$173</c:f>
              <c:numCache>
                <c:formatCode>General</c:formatCode>
                <c:ptCount val="172"/>
                <c:pt idx="0">
                  <c:v>85583802</c:v>
                </c:pt>
                <c:pt idx="1">
                  <c:v>58030970</c:v>
                </c:pt>
                <c:pt idx="2">
                  <c:v>60054132</c:v>
                </c:pt>
                <c:pt idx="3">
                  <c:v>68051385</c:v>
                </c:pt>
                <c:pt idx="4">
                  <c:v>67083935</c:v>
                </c:pt>
                <c:pt idx="5">
                  <c:v>66130940</c:v>
                </c:pt>
                <c:pt idx="6">
                  <c:v>69514485</c:v>
                </c:pt>
                <c:pt idx="7">
                  <c:v>71199139</c:v>
                </c:pt>
                <c:pt idx="8">
                  <c:v>73039428</c:v>
                </c:pt>
                <c:pt idx="9">
                  <c:v>73906241</c:v>
                </c:pt>
                <c:pt idx="10">
                  <c:v>76073500</c:v>
                </c:pt>
                <c:pt idx="11">
                  <c:v>73938938</c:v>
                </c:pt>
                <c:pt idx="12">
                  <c:v>74696040</c:v>
                </c:pt>
                <c:pt idx="13">
                  <c:v>74956355</c:v>
                </c:pt>
                <c:pt idx="14">
                  <c:v>76745302</c:v>
                </c:pt>
                <c:pt idx="15">
                  <c:v>75325403</c:v>
                </c:pt>
                <c:pt idx="16">
                  <c:v>75346506</c:v>
                </c:pt>
                <c:pt idx="17">
                  <c:v>80699253</c:v>
                </c:pt>
                <c:pt idx="18">
                  <c:v>76341851</c:v>
                </c:pt>
                <c:pt idx="19">
                  <c:v>74751123</c:v>
                </c:pt>
                <c:pt idx="20">
                  <c:v>76176291</c:v>
                </c:pt>
                <c:pt idx="21">
                  <c:v>77134024</c:v>
                </c:pt>
                <c:pt idx="22">
                  <c:v>81291501</c:v>
                </c:pt>
                <c:pt idx="23">
                  <c:v>80531615</c:v>
                </c:pt>
                <c:pt idx="24">
                  <c:v>101353525</c:v>
                </c:pt>
                <c:pt idx="25">
                  <c:v>79818977</c:v>
                </c:pt>
                <c:pt idx="26">
                  <c:v>95002218</c:v>
                </c:pt>
                <c:pt idx="27">
                  <c:v>116767921</c:v>
                </c:pt>
                <c:pt idx="28">
                  <c:v>96033385</c:v>
                </c:pt>
                <c:pt idx="29">
                  <c:v>80968099</c:v>
                </c:pt>
                <c:pt idx="30">
                  <c:v>82018590</c:v>
                </c:pt>
                <c:pt idx="31">
                  <c:v>108444233</c:v>
                </c:pt>
                <c:pt idx="32">
                  <c:v>87151037</c:v>
                </c:pt>
                <c:pt idx="33">
                  <c:v>87755029</c:v>
                </c:pt>
                <c:pt idx="34">
                  <c:v>82932510</c:v>
                </c:pt>
                <c:pt idx="35">
                  <c:v>83822367</c:v>
                </c:pt>
                <c:pt idx="36">
                  <c:v>97992970</c:v>
                </c:pt>
                <c:pt idx="37">
                  <c:v>82341930</c:v>
                </c:pt>
                <c:pt idx="38">
                  <c:v>77309988</c:v>
                </c:pt>
                <c:pt idx="39">
                  <c:v>75758625</c:v>
                </c:pt>
                <c:pt idx="40">
                  <c:v>73791140</c:v>
                </c:pt>
                <c:pt idx="41">
                  <c:v>67754647</c:v>
                </c:pt>
                <c:pt idx="42">
                  <c:v>69685175</c:v>
                </c:pt>
                <c:pt idx="43">
                  <c:v>70877850</c:v>
                </c:pt>
                <c:pt idx="44">
                  <c:v>69725818</c:v>
                </c:pt>
                <c:pt idx="45">
                  <c:v>68655401</c:v>
                </c:pt>
                <c:pt idx="46">
                  <c:v>71047465</c:v>
                </c:pt>
                <c:pt idx="47">
                  <c:v>68492727</c:v>
                </c:pt>
                <c:pt idx="48">
                  <c:v>68174272</c:v>
                </c:pt>
                <c:pt idx="49">
                  <c:v>68865383</c:v>
                </c:pt>
                <c:pt idx="50">
                  <c:v>68246592</c:v>
                </c:pt>
                <c:pt idx="51">
                  <c:v>70106730</c:v>
                </c:pt>
                <c:pt idx="52">
                  <c:v>79984267</c:v>
                </c:pt>
                <c:pt idx="53">
                  <c:v>57748140</c:v>
                </c:pt>
                <c:pt idx="54">
                  <c:v>63460717</c:v>
                </c:pt>
                <c:pt idx="55">
                  <c:v>69073111</c:v>
                </c:pt>
                <c:pt idx="56">
                  <c:v>67888787</c:v>
                </c:pt>
                <c:pt idx="57">
                  <c:v>67223171</c:v>
                </c:pt>
                <c:pt idx="58">
                  <c:v>69455937</c:v>
                </c:pt>
                <c:pt idx="59">
                  <c:v>69997556</c:v>
                </c:pt>
                <c:pt idx="60">
                  <c:v>68793069</c:v>
                </c:pt>
                <c:pt idx="61">
                  <c:v>70097390</c:v>
                </c:pt>
                <c:pt idx="62">
                  <c:v>87832271</c:v>
                </c:pt>
                <c:pt idx="63">
                  <c:v>77818033</c:v>
                </c:pt>
                <c:pt idx="64">
                  <c:v>93360680</c:v>
                </c:pt>
                <c:pt idx="65">
                  <c:v>93893191</c:v>
                </c:pt>
                <c:pt idx="66">
                  <c:v>68790210</c:v>
                </c:pt>
                <c:pt idx="67">
                  <c:v>70381847</c:v>
                </c:pt>
                <c:pt idx="68">
                  <c:v>78253551</c:v>
                </c:pt>
                <c:pt idx="69">
                  <c:v>70670886</c:v>
                </c:pt>
                <c:pt idx="70">
                  <c:v>77473509</c:v>
                </c:pt>
                <c:pt idx="71">
                  <c:v>72252729</c:v>
                </c:pt>
                <c:pt idx="72">
                  <c:v>77808897</c:v>
                </c:pt>
                <c:pt idx="73">
                  <c:v>75232513</c:v>
                </c:pt>
                <c:pt idx="74">
                  <c:v>80501907</c:v>
                </c:pt>
                <c:pt idx="75">
                  <c:v>86651718</c:v>
                </c:pt>
                <c:pt idx="76">
                  <c:v>78366099</c:v>
                </c:pt>
                <c:pt idx="77">
                  <c:v>78021358</c:v>
                </c:pt>
                <c:pt idx="78">
                  <c:v>83500895</c:v>
                </c:pt>
                <c:pt idx="79">
                  <c:v>93303815</c:v>
                </c:pt>
                <c:pt idx="80">
                  <c:v>82574785</c:v>
                </c:pt>
                <c:pt idx="81">
                  <c:v>76225457</c:v>
                </c:pt>
                <c:pt idx="82">
                  <c:v>78546201</c:v>
                </c:pt>
                <c:pt idx="83">
                  <c:v>82739940</c:v>
                </c:pt>
                <c:pt idx="84">
                  <c:v>89730196</c:v>
                </c:pt>
                <c:pt idx="85">
                  <c:v>97114163</c:v>
                </c:pt>
                <c:pt idx="86">
                  <c:v>105796590</c:v>
                </c:pt>
                <c:pt idx="87">
                  <c:v>94323485</c:v>
                </c:pt>
                <c:pt idx="88">
                  <c:v>81365702</c:v>
                </c:pt>
                <c:pt idx="89">
                  <c:v>77928235</c:v>
                </c:pt>
                <c:pt idx="90">
                  <c:v>78265007</c:v>
                </c:pt>
                <c:pt idx="91">
                  <c:v>84401107</c:v>
                </c:pt>
                <c:pt idx="92">
                  <c:v>77293698</c:v>
                </c:pt>
                <c:pt idx="93">
                  <c:v>66774391</c:v>
                </c:pt>
                <c:pt idx="94">
                  <c:v>72452386</c:v>
                </c:pt>
                <c:pt idx="95">
                  <c:v>67414770</c:v>
                </c:pt>
                <c:pt idx="96">
                  <c:v>68183520</c:v>
                </c:pt>
                <c:pt idx="97">
                  <c:v>70090394</c:v>
                </c:pt>
                <c:pt idx="98">
                  <c:v>68528925</c:v>
                </c:pt>
                <c:pt idx="99">
                  <c:v>67530105</c:v>
                </c:pt>
                <c:pt idx="100">
                  <c:v>67869245</c:v>
                </c:pt>
                <c:pt idx="101">
                  <c:v>65843807</c:v>
                </c:pt>
                <c:pt idx="102">
                  <c:v>63976487</c:v>
                </c:pt>
                <c:pt idx="103">
                  <c:v>68884281</c:v>
                </c:pt>
                <c:pt idx="104">
                  <c:v>73837702</c:v>
                </c:pt>
                <c:pt idx="105">
                  <c:v>56133386</c:v>
                </c:pt>
                <c:pt idx="106">
                  <c:v>58076498</c:v>
                </c:pt>
                <c:pt idx="107">
                  <c:v>65986549</c:v>
                </c:pt>
                <c:pt idx="108">
                  <c:v>64779000</c:v>
                </c:pt>
                <c:pt idx="109">
                  <c:v>66581553</c:v>
                </c:pt>
                <c:pt idx="110">
                  <c:v>66440685</c:v>
                </c:pt>
                <c:pt idx="111">
                  <c:v>67745979</c:v>
                </c:pt>
                <c:pt idx="112">
                  <c:v>61044852</c:v>
                </c:pt>
                <c:pt idx="113">
                  <c:v>69546730</c:v>
                </c:pt>
                <c:pt idx="114">
                  <c:v>72805918</c:v>
                </c:pt>
                <c:pt idx="115">
                  <c:v>71686040</c:v>
                </c:pt>
                <c:pt idx="116">
                  <c:v>69952569</c:v>
                </c:pt>
                <c:pt idx="117">
                  <c:v>69302173</c:v>
                </c:pt>
                <c:pt idx="118">
                  <c:v>79400516</c:v>
                </c:pt>
                <c:pt idx="119">
                  <c:v>80171422</c:v>
                </c:pt>
                <c:pt idx="120">
                  <c:v>65291989</c:v>
                </c:pt>
                <c:pt idx="121">
                  <c:v>70779034</c:v>
                </c:pt>
                <c:pt idx="122">
                  <c:v>72125275</c:v>
                </c:pt>
                <c:pt idx="123">
                  <c:v>69547199</c:v>
                </c:pt>
                <c:pt idx="124">
                  <c:v>75833505</c:v>
                </c:pt>
                <c:pt idx="125">
                  <c:v>74823615</c:v>
                </c:pt>
                <c:pt idx="126">
                  <c:v>80692116</c:v>
                </c:pt>
                <c:pt idx="127">
                  <c:v>68934806</c:v>
                </c:pt>
                <c:pt idx="128">
                  <c:v>87116603</c:v>
                </c:pt>
                <c:pt idx="129">
                  <c:v>89916606</c:v>
                </c:pt>
                <c:pt idx="130">
                  <c:v>109245729</c:v>
                </c:pt>
                <c:pt idx="131">
                  <c:v>90159629</c:v>
                </c:pt>
                <c:pt idx="132">
                  <c:v>89281213</c:v>
                </c:pt>
                <c:pt idx="133">
                  <c:v>81752497</c:v>
                </c:pt>
                <c:pt idx="134">
                  <c:v>82754007</c:v>
                </c:pt>
                <c:pt idx="135">
                  <c:v>85444793</c:v>
                </c:pt>
                <c:pt idx="136">
                  <c:v>85393755</c:v>
                </c:pt>
                <c:pt idx="137">
                  <c:v>76566324</c:v>
                </c:pt>
                <c:pt idx="138">
                  <c:v>82309425</c:v>
                </c:pt>
                <c:pt idx="139">
                  <c:v>77387143</c:v>
                </c:pt>
                <c:pt idx="140">
                  <c:v>75119857</c:v>
                </c:pt>
                <c:pt idx="141">
                  <c:v>75725286</c:v>
                </c:pt>
                <c:pt idx="142">
                  <c:v>80647738</c:v>
                </c:pt>
                <c:pt idx="143">
                  <c:v>75751734</c:v>
                </c:pt>
                <c:pt idx="144">
                  <c:v>73101601</c:v>
                </c:pt>
                <c:pt idx="145">
                  <c:v>74577790</c:v>
                </c:pt>
                <c:pt idx="146">
                  <c:v>70291795</c:v>
                </c:pt>
                <c:pt idx="147">
                  <c:v>66298115</c:v>
                </c:pt>
                <c:pt idx="148">
                  <c:v>65725461</c:v>
                </c:pt>
                <c:pt idx="149">
                  <c:v>67652085</c:v>
                </c:pt>
                <c:pt idx="150">
                  <c:v>64237606</c:v>
                </c:pt>
                <c:pt idx="151">
                  <c:v>65208744</c:v>
                </c:pt>
                <c:pt idx="152">
                  <c:v>65156549</c:v>
                </c:pt>
                <c:pt idx="153">
                  <c:v>64610080</c:v>
                </c:pt>
                <c:pt idx="154">
                  <c:v>64647876</c:v>
                </c:pt>
                <c:pt idx="155">
                  <c:v>64710131</c:v>
                </c:pt>
                <c:pt idx="156">
                  <c:v>71500963</c:v>
                </c:pt>
                <c:pt idx="157">
                  <c:v>69251930</c:v>
                </c:pt>
                <c:pt idx="158">
                  <c:v>59660905</c:v>
                </c:pt>
                <c:pt idx="159">
                  <c:v>68374751</c:v>
                </c:pt>
                <c:pt idx="160">
                  <c:v>66144288</c:v>
                </c:pt>
                <c:pt idx="161">
                  <c:v>66017058</c:v>
                </c:pt>
                <c:pt idx="162">
                  <c:v>66874583</c:v>
                </c:pt>
                <c:pt idx="163">
                  <c:v>67452117</c:v>
                </c:pt>
                <c:pt idx="164">
                  <c:v>68009161</c:v>
                </c:pt>
                <c:pt idx="165">
                  <c:v>68740212</c:v>
                </c:pt>
                <c:pt idx="166">
                  <c:v>70386031</c:v>
                </c:pt>
                <c:pt idx="167">
                  <c:v>74458559</c:v>
                </c:pt>
                <c:pt idx="168">
                  <c:v>75534529</c:v>
                </c:pt>
                <c:pt idx="169">
                  <c:v>73322739</c:v>
                </c:pt>
                <c:pt idx="170">
                  <c:v>74607541</c:v>
                </c:pt>
                <c:pt idx="171">
                  <c:v>75698060</c:v>
                </c:pt>
              </c:numCache>
            </c:numRef>
          </c:val>
          <c:smooth val="0"/>
          <c:extLst>
            <c:ext xmlns:c16="http://schemas.microsoft.com/office/drawing/2014/chart" uri="{C3380CC4-5D6E-409C-BE32-E72D297353CC}">
              <c16:uniqueId val="{00000002-2607-4594-924D-A7A362348187}"/>
            </c:ext>
          </c:extLst>
        </c:ser>
        <c:ser>
          <c:idx val="3"/>
          <c:order val="3"/>
          <c:tx>
            <c:strRef>
              <c:f>Sheet1!$B$1</c:f>
              <c:strCache>
                <c:ptCount val="1"/>
                <c:pt idx="0">
                  <c:v>Base Sales</c:v>
                </c:pt>
              </c:strCache>
            </c:strRef>
          </c:tx>
          <c:spPr>
            <a:ln w="25400">
              <a:solidFill>
                <a:schemeClr val="tx2"/>
              </a:solidFill>
              <a:prstDash val="sysDot"/>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B$2:$B$173</c:f>
              <c:numCache>
                <c:formatCode>General</c:formatCode>
                <c:ptCount val="172"/>
                <c:pt idx="0">
                  <c:v>75779549</c:v>
                </c:pt>
                <c:pt idx="1">
                  <c:v>52373438</c:v>
                </c:pt>
                <c:pt idx="2">
                  <c:v>53775159</c:v>
                </c:pt>
                <c:pt idx="3">
                  <c:v>61893100</c:v>
                </c:pt>
                <c:pt idx="4">
                  <c:v>60496141</c:v>
                </c:pt>
                <c:pt idx="5">
                  <c:v>59283439</c:v>
                </c:pt>
                <c:pt idx="6">
                  <c:v>61118217</c:v>
                </c:pt>
                <c:pt idx="7">
                  <c:v>62959210</c:v>
                </c:pt>
                <c:pt idx="8">
                  <c:v>64995210</c:v>
                </c:pt>
                <c:pt idx="9">
                  <c:v>66236993</c:v>
                </c:pt>
                <c:pt idx="10">
                  <c:v>67994274</c:v>
                </c:pt>
                <c:pt idx="11">
                  <c:v>66971501</c:v>
                </c:pt>
                <c:pt idx="12">
                  <c:v>66978398</c:v>
                </c:pt>
                <c:pt idx="13">
                  <c:v>68344162</c:v>
                </c:pt>
                <c:pt idx="14">
                  <c:v>68946268</c:v>
                </c:pt>
                <c:pt idx="15">
                  <c:v>69164522</c:v>
                </c:pt>
                <c:pt idx="16">
                  <c:v>68959606</c:v>
                </c:pt>
                <c:pt idx="17">
                  <c:v>72084197</c:v>
                </c:pt>
                <c:pt idx="18">
                  <c:v>69753193</c:v>
                </c:pt>
                <c:pt idx="19">
                  <c:v>68333362</c:v>
                </c:pt>
                <c:pt idx="20">
                  <c:v>67935806</c:v>
                </c:pt>
                <c:pt idx="21">
                  <c:v>68679469</c:v>
                </c:pt>
                <c:pt idx="22">
                  <c:v>70211248</c:v>
                </c:pt>
                <c:pt idx="23">
                  <c:v>73067269</c:v>
                </c:pt>
                <c:pt idx="24">
                  <c:v>91817335</c:v>
                </c:pt>
                <c:pt idx="25">
                  <c:v>73180158</c:v>
                </c:pt>
                <c:pt idx="26">
                  <c:v>84432273</c:v>
                </c:pt>
                <c:pt idx="27">
                  <c:v>106837500</c:v>
                </c:pt>
                <c:pt idx="28">
                  <c:v>83820619</c:v>
                </c:pt>
                <c:pt idx="29">
                  <c:v>71235027</c:v>
                </c:pt>
                <c:pt idx="30">
                  <c:v>73288753</c:v>
                </c:pt>
                <c:pt idx="31">
                  <c:v>96040967</c:v>
                </c:pt>
                <c:pt idx="32">
                  <c:v>78100069</c:v>
                </c:pt>
                <c:pt idx="33">
                  <c:v>76570933</c:v>
                </c:pt>
                <c:pt idx="34">
                  <c:v>72575680</c:v>
                </c:pt>
                <c:pt idx="35">
                  <c:v>76912089</c:v>
                </c:pt>
                <c:pt idx="36">
                  <c:v>88420140</c:v>
                </c:pt>
                <c:pt idx="37">
                  <c:v>74384135</c:v>
                </c:pt>
                <c:pt idx="38">
                  <c:v>69873780</c:v>
                </c:pt>
                <c:pt idx="39">
                  <c:v>69480318</c:v>
                </c:pt>
                <c:pt idx="40">
                  <c:v>68290051</c:v>
                </c:pt>
                <c:pt idx="41">
                  <c:v>62466187</c:v>
                </c:pt>
                <c:pt idx="42">
                  <c:v>63188328</c:v>
                </c:pt>
                <c:pt idx="43">
                  <c:v>65144196</c:v>
                </c:pt>
                <c:pt idx="44">
                  <c:v>64863250</c:v>
                </c:pt>
                <c:pt idx="45">
                  <c:v>62775626</c:v>
                </c:pt>
                <c:pt idx="46">
                  <c:v>64222964</c:v>
                </c:pt>
                <c:pt idx="47">
                  <c:v>62026251</c:v>
                </c:pt>
                <c:pt idx="48">
                  <c:v>61667576</c:v>
                </c:pt>
                <c:pt idx="49">
                  <c:v>62857119</c:v>
                </c:pt>
                <c:pt idx="50">
                  <c:v>62122854</c:v>
                </c:pt>
                <c:pt idx="51">
                  <c:v>62775965</c:v>
                </c:pt>
                <c:pt idx="52">
                  <c:v>71557782</c:v>
                </c:pt>
                <c:pt idx="53">
                  <c:v>50517724</c:v>
                </c:pt>
                <c:pt idx="54">
                  <c:v>57710140</c:v>
                </c:pt>
                <c:pt idx="55">
                  <c:v>61387139</c:v>
                </c:pt>
                <c:pt idx="56">
                  <c:v>61560385</c:v>
                </c:pt>
                <c:pt idx="57">
                  <c:v>59885857</c:v>
                </c:pt>
                <c:pt idx="58">
                  <c:v>61105645</c:v>
                </c:pt>
                <c:pt idx="59">
                  <c:v>62103011</c:v>
                </c:pt>
                <c:pt idx="60">
                  <c:v>62005973</c:v>
                </c:pt>
                <c:pt idx="61">
                  <c:v>63419114</c:v>
                </c:pt>
                <c:pt idx="62">
                  <c:v>73546292</c:v>
                </c:pt>
                <c:pt idx="63">
                  <c:v>68076146</c:v>
                </c:pt>
                <c:pt idx="64">
                  <c:v>76901239</c:v>
                </c:pt>
                <c:pt idx="65">
                  <c:v>78627167</c:v>
                </c:pt>
                <c:pt idx="66">
                  <c:v>61226839</c:v>
                </c:pt>
                <c:pt idx="67">
                  <c:v>65024685</c:v>
                </c:pt>
                <c:pt idx="68">
                  <c:v>71767279</c:v>
                </c:pt>
                <c:pt idx="69">
                  <c:v>65921231</c:v>
                </c:pt>
                <c:pt idx="70">
                  <c:v>70501955</c:v>
                </c:pt>
                <c:pt idx="71">
                  <c:v>66362616</c:v>
                </c:pt>
                <c:pt idx="72">
                  <c:v>69366706</c:v>
                </c:pt>
                <c:pt idx="73">
                  <c:v>66875712</c:v>
                </c:pt>
                <c:pt idx="74">
                  <c:v>71097641</c:v>
                </c:pt>
                <c:pt idx="75">
                  <c:v>77446213</c:v>
                </c:pt>
                <c:pt idx="76">
                  <c:v>71315684</c:v>
                </c:pt>
                <c:pt idx="77">
                  <c:v>70989197</c:v>
                </c:pt>
                <c:pt idx="78">
                  <c:v>74202496</c:v>
                </c:pt>
                <c:pt idx="79">
                  <c:v>82321771</c:v>
                </c:pt>
                <c:pt idx="80">
                  <c:v>74418148</c:v>
                </c:pt>
                <c:pt idx="81">
                  <c:v>70587818</c:v>
                </c:pt>
                <c:pt idx="82">
                  <c:v>72331921</c:v>
                </c:pt>
                <c:pt idx="83">
                  <c:v>74873938</c:v>
                </c:pt>
                <c:pt idx="84">
                  <c:v>78418421</c:v>
                </c:pt>
                <c:pt idx="85">
                  <c:v>85106621</c:v>
                </c:pt>
                <c:pt idx="86">
                  <c:v>96952128</c:v>
                </c:pt>
                <c:pt idx="87">
                  <c:v>85170764</c:v>
                </c:pt>
                <c:pt idx="88">
                  <c:v>71838097</c:v>
                </c:pt>
                <c:pt idx="89">
                  <c:v>69444505</c:v>
                </c:pt>
                <c:pt idx="90">
                  <c:v>71005119</c:v>
                </c:pt>
                <c:pt idx="91">
                  <c:v>75414655</c:v>
                </c:pt>
                <c:pt idx="92">
                  <c:v>70672286</c:v>
                </c:pt>
                <c:pt idx="93">
                  <c:v>60859051</c:v>
                </c:pt>
                <c:pt idx="94">
                  <c:v>66682625</c:v>
                </c:pt>
                <c:pt idx="95">
                  <c:v>61802952</c:v>
                </c:pt>
                <c:pt idx="96">
                  <c:v>62655753</c:v>
                </c:pt>
                <c:pt idx="97">
                  <c:v>64404827</c:v>
                </c:pt>
                <c:pt idx="98">
                  <c:v>61724639</c:v>
                </c:pt>
                <c:pt idx="99">
                  <c:v>60787246</c:v>
                </c:pt>
                <c:pt idx="100">
                  <c:v>60801297</c:v>
                </c:pt>
                <c:pt idx="101">
                  <c:v>60249232</c:v>
                </c:pt>
                <c:pt idx="102">
                  <c:v>59733378</c:v>
                </c:pt>
                <c:pt idx="103">
                  <c:v>61162299</c:v>
                </c:pt>
                <c:pt idx="104">
                  <c:v>62577924</c:v>
                </c:pt>
                <c:pt idx="105">
                  <c:v>51159723</c:v>
                </c:pt>
                <c:pt idx="106">
                  <c:v>53100136</c:v>
                </c:pt>
                <c:pt idx="107">
                  <c:v>57580816</c:v>
                </c:pt>
                <c:pt idx="108">
                  <c:v>56213172</c:v>
                </c:pt>
                <c:pt idx="109">
                  <c:v>58746956</c:v>
                </c:pt>
                <c:pt idx="110">
                  <c:v>57536982</c:v>
                </c:pt>
                <c:pt idx="111">
                  <c:v>59865294</c:v>
                </c:pt>
                <c:pt idx="112">
                  <c:v>53680714</c:v>
                </c:pt>
                <c:pt idx="113">
                  <c:v>59594637</c:v>
                </c:pt>
                <c:pt idx="114">
                  <c:v>62347253</c:v>
                </c:pt>
                <c:pt idx="115">
                  <c:v>60676168</c:v>
                </c:pt>
                <c:pt idx="116">
                  <c:v>61176450</c:v>
                </c:pt>
                <c:pt idx="117">
                  <c:v>62541482</c:v>
                </c:pt>
                <c:pt idx="118">
                  <c:v>65745592</c:v>
                </c:pt>
                <c:pt idx="119">
                  <c:v>68424655</c:v>
                </c:pt>
                <c:pt idx="120">
                  <c:v>58904825</c:v>
                </c:pt>
                <c:pt idx="121">
                  <c:v>64826742</c:v>
                </c:pt>
                <c:pt idx="122">
                  <c:v>65752860</c:v>
                </c:pt>
                <c:pt idx="123">
                  <c:v>62864727</c:v>
                </c:pt>
                <c:pt idx="124">
                  <c:v>66365796</c:v>
                </c:pt>
                <c:pt idx="125">
                  <c:v>66453132</c:v>
                </c:pt>
                <c:pt idx="126">
                  <c:v>68007716</c:v>
                </c:pt>
                <c:pt idx="127">
                  <c:v>61763135</c:v>
                </c:pt>
                <c:pt idx="128">
                  <c:v>79615099</c:v>
                </c:pt>
                <c:pt idx="129">
                  <c:v>79590327</c:v>
                </c:pt>
                <c:pt idx="130">
                  <c:v>97861968</c:v>
                </c:pt>
                <c:pt idx="131">
                  <c:v>80193430</c:v>
                </c:pt>
                <c:pt idx="132">
                  <c:v>79171256</c:v>
                </c:pt>
                <c:pt idx="133">
                  <c:v>74599546</c:v>
                </c:pt>
                <c:pt idx="134">
                  <c:v>75249296</c:v>
                </c:pt>
                <c:pt idx="135">
                  <c:v>77434757</c:v>
                </c:pt>
                <c:pt idx="136">
                  <c:v>76191130</c:v>
                </c:pt>
                <c:pt idx="137">
                  <c:v>70311879</c:v>
                </c:pt>
                <c:pt idx="138">
                  <c:v>75309357</c:v>
                </c:pt>
                <c:pt idx="139">
                  <c:v>71128030</c:v>
                </c:pt>
                <c:pt idx="140">
                  <c:v>68480484</c:v>
                </c:pt>
                <c:pt idx="141">
                  <c:v>68718914</c:v>
                </c:pt>
                <c:pt idx="142">
                  <c:v>71802486</c:v>
                </c:pt>
                <c:pt idx="143">
                  <c:v>68848664</c:v>
                </c:pt>
                <c:pt idx="144">
                  <c:v>65776146</c:v>
                </c:pt>
                <c:pt idx="145">
                  <c:v>67260944</c:v>
                </c:pt>
                <c:pt idx="146">
                  <c:v>64001018</c:v>
                </c:pt>
                <c:pt idx="147">
                  <c:v>59191921</c:v>
                </c:pt>
                <c:pt idx="148">
                  <c:v>59480381</c:v>
                </c:pt>
                <c:pt idx="149">
                  <c:v>58294077</c:v>
                </c:pt>
                <c:pt idx="150">
                  <c:v>55197296</c:v>
                </c:pt>
                <c:pt idx="151">
                  <c:v>56401001</c:v>
                </c:pt>
                <c:pt idx="152">
                  <c:v>57196874</c:v>
                </c:pt>
                <c:pt idx="153">
                  <c:v>56966974</c:v>
                </c:pt>
                <c:pt idx="154">
                  <c:v>58350206</c:v>
                </c:pt>
                <c:pt idx="155">
                  <c:v>58862659</c:v>
                </c:pt>
                <c:pt idx="156">
                  <c:v>61777013</c:v>
                </c:pt>
                <c:pt idx="157">
                  <c:v>61243999</c:v>
                </c:pt>
                <c:pt idx="158">
                  <c:v>52740357</c:v>
                </c:pt>
                <c:pt idx="159">
                  <c:v>59979121</c:v>
                </c:pt>
                <c:pt idx="160">
                  <c:v>60032369</c:v>
                </c:pt>
                <c:pt idx="161">
                  <c:v>59352100</c:v>
                </c:pt>
                <c:pt idx="162">
                  <c:v>60422060</c:v>
                </c:pt>
                <c:pt idx="163">
                  <c:v>59971503</c:v>
                </c:pt>
                <c:pt idx="164">
                  <c:v>60117934</c:v>
                </c:pt>
                <c:pt idx="165">
                  <c:v>60711665</c:v>
                </c:pt>
                <c:pt idx="166">
                  <c:v>62108476</c:v>
                </c:pt>
                <c:pt idx="167">
                  <c:v>63294368</c:v>
                </c:pt>
                <c:pt idx="168">
                  <c:v>64082360</c:v>
                </c:pt>
                <c:pt idx="169">
                  <c:v>59176434</c:v>
                </c:pt>
                <c:pt idx="170">
                  <c:v>60537655</c:v>
                </c:pt>
                <c:pt idx="171">
                  <c:v>62837542</c:v>
                </c:pt>
              </c:numCache>
            </c:numRef>
          </c:val>
          <c:smooth val="0"/>
          <c:extLst>
            <c:ext xmlns:c16="http://schemas.microsoft.com/office/drawing/2014/chart" uri="{C3380CC4-5D6E-409C-BE32-E72D297353CC}">
              <c16:uniqueId val="{00000003-2607-4594-924D-A7A362348187}"/>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4"/>
          <c:order val="4"/>
          <c:tx>
            <c:strRef>
              <c:f>Sheet1!$F$1</c:f>
              <c:strCache>
                <c:ptCount val="1"/>
                <c:pt idx="0">
                  <c:v>% Promo Value</c:v>
                </c:pt>
              </c:strCache>
            </c:strRef>
          </c:tx>
          <c:spPr>
            <a:ln w="28575" cap="rnd">
              <a:solidFill>
                <a:schemeClr val="accent5"/>
              </a:solidFill>
              <a:round/>
            </a:ln>
            <a:effectLst/>
          </c:spPr>
          <c:marker>
            <c:symbol val="none"/>
          </c:marker>
          <c:cat>
            <c:strRef>
              <c:f>Sheet1!$A$2:$A$173</c:f>
              <c:strCache>
                <c:ptCount val="172"/>
                <c:pt idx="0">
                  <c:v>23-Dec-18</c:v>
                </c:pt>
                <c:pt idx="1">
                  <c:v>30-Dec-18</c:v>
                </c:pt>
                <c:pt idx="2">
                  <c:v>06-Jan-19</c:v>
                </c:pt>
                <c:pt idx="3">
                  <c:v>13-Jan-19</c:v>
                </c:pt>
                <c:pt idx="4">
                  <c:v>20-Jan-19</c:v>
                </c:pt>
                <c:pt idx="5">
                  <c:v>27-Jan-19</c:v>
                </c:pt>
                <c:pt idx="6">
                  <c:v>03-Feb-19</c:v>
                </c:pt>
                <c:pt idx="7">
                  <c:v>10-Feb-19</c:v>
                </c:pt>
                <c:pt idx="8">
                  <c:v>17-Feb-19</c:v>
                </c:pt>
                <c:pt idx="9">
                  <c:v>24-Feb-19</c:v>
                </c:pt>
                <c:pt idx="10">
                  <c:v>03-Mar-19</c:v>
                </c:pt>
                <c:pt idx="11">
                  <c:v>10-Mar-19</c:v>
                </c:pt>
                <c:pt idx="12">
                  <c:v>17-Mar-19</c:v>
                </c:pt>
                <c:pt idx="13">
                  <c:v>24-Mar-19</c:v>
                </c:pt>
                <c:pt idx="14">
                  <c:v>31-Mar-19</c:v>
                </c:pt>
                <c:pt idx="15">
                  <c:v>07-Apr-19</c:v>
                </c:pt>
                <c:pt idx="16">
                  <c:v>14-Apr-19</c:v>
                </c:pt>
                <c:pt idx="17">
                  <c:v>21-Apr-19</c:v>
                </c:pt>
                <c:pt idx="18">
                  <c:v>28-Apr-19</c:v>
                </c:pt>
                <c:pt idx="19">
                  <c:v>5 May, 2019</c:v>
                </c:pt>
                <c:pt idx="20">
                  <c:v>12 May, 2019</c:v>
                </c:pt>
                <c:pt idx="21">
                  <c:v>19 May, 2019</c:v>
                </c:pt>
                <c:pt idx="22">
                  <c:v>26 May, 2019</c:v>
                </c:pt>
                <c:pt idx="23">
                  <c:v>02-Jun-19</c:v>
                </c:pt>
                <c:pt idx="24">
                  <c:v>09-Jun-19</c:v>
                </c:pt>
                <c:pt idx="25">
                  <c:v>16-Jun-19</c:v>
                </c:pt>
                <c:pt idx="26">
                  <c:v>23-Jun-19</c:v>
                </c:pt>
                <c:pt idx="27">
                  <c:v>30-Jun-19</c:v>
                </c:pt>
                <c:pt idx="28">
                  <c:v>07-Jul-19</c:v>
                </c:pt>
                <c:pt idx="29">
                  <c:v>14-Jul-19</c:v>
                </c:pt>
                <c:pt idx="30">
                  <c:v>21-Jul-19</c:v>
                </c:pt>
                <c:pt idx="31">
                  <c:v>28-Jul-19</c:v>
                </c:pt>
                <c:pt idx="32">
                  <c:v>04-Aug-19</c:v>
                </c:pt>
                <c:pt idx="33">
                  <c:v>11-Aug-19</c:v>
                </c:pt>
                <c:pt idx="34">
                  <c:v>18-Aug-19</c:v>
                </c:pt>
                <c:pt idx="35">
                  <c:v>25-Aug-19</c:v>
                </c:pt>
                <c:pt idx="36">
                  <c:v>01-Sep-19</c:v>
                </c:pt>
                <c:pt idx="37">
                  <c:v>08-Sep-19</c:v>
                </c:pt>
                <c:pt idx="38">
                  <c:v>15-Sep-19</c:v>
                </c:pt>
                <c:pt idx="39">
                  <c:v>22-Sep-19</c:v>
                </c:pt>
                <c:pt idx="40">
                  <c:v>29-Sep-19</c:v>
                </c:pt>
                <c:pt idx="41">
                  <c:v>06-Oct-19</c:v>
                </c:pt>
                <c:pt idx="42">
                  <c:v>13-Oct-19</c:v>
                </c:pt>
                <c:pt idx="43">
                  <c:v>20-Oct-19</c:v>
                </c:pt>
                <c:pt idx="44">
                  <c:v>27-Oct-19</c:v>
                </c:pt>
                <c:pt idx="45">
                  <c:v>03-Nov-19</c:v>
                </c:pt>
                <c:pt idx="46">
                  <c:v>10-Nov-19</c:v>
                </c:pt>
                <c:pt idx="47">
                  <c:v>17-Nov-19</c:v>
                </c:pt>
                <c:pt idx="48">
                  <c:v>24-Nov-19</c:v>
                </c:pt>
                <c:pt idx="49">
                  <c:v>01-Dec-19</c:v>
                </c:pt>
                <c:pt idx="50">
                  <c:v>08-Dec-19</c:v>
                </c:pt>
                <c:pt idx="51">
                  <c:v>15-Dec-19</c:v>
                </c:pt>
                <c:pt idx="52">
                  <c:v>22-Dec-19</c:v>
                </c:pt>
                <c:pt idx="53">
                  <c:v>29-Dec-19</c:v>
                </c:pt>
                <c:pt idx="54">
                  <c:v>05-Jan-20</c:v>
                </c:pt>
                <c:pt idx="55">
                  <c:v>12-Jan-20</c:v>
                </c:pt>
                <c:pt idx="56">
                  <c:v>19-Jan-20</c:v>
                </c:pt>
                <c:pt idx="57">
                  <c:v>26-Jan-20</c:v>
                </c:pt>
                <c:pt idx="58">
                  <c:v>02-Feb-20</c:v>
                </c:pt>
                <c:pt idx="59">
                  <c:v>09-Feb-20</c:v>
                </c:pt>
                <c:pt idx="60">
                  <c:v>16-Feb-20</c:v>
                </c:pt>
                <c:pt idx="61">
                  <c:v>23-Feb-20</c:v>
                </c:pt>
                <c:pt idx="62">
                  <c:v>01-Mar-20</c:v>
                </c:pt>
                <c:pt idx="63">
                  <c:v>08-Mar-20</c:v>
                </c:pt>
                <c:pt idx="64">
                  <c:v>15-Mar-20</c:v>
                </c:pt>
                <c:pt idx="65">
                  <c:v>22-Mar-20</c:v>
                </c:pt>
                <c:pt idx="66">
                  <c:v>29-Mar-20</c:v>
                </c:pt>
                <c:pt idx="67">
                  <c:v>05-Apr-20</c:v>
                </c:pt>
                <c:pt idx="68">
                  <c:v>12-Apr-20</c:v>
                </c:pt>
                <c:pt idx="69">
                  <c:v>19-Apr-20</c:v>
                </c:pt>
                <c:pt idx="70">
                  <c:v>26-Apr-20</c:v>
                </c:pt>
                <c:pt idx="71">
                  <c:v>3 May, 2020</c:v>
                </c:pt>
                <c:pt idx="72">
                  <c:v>10 May, 2020</c:v>
                </c:pt>
                <c:pt idx="73">
                  <c:v>17 May, 2020</c:v>
                </c:pt>
                <c:pt idx="74">
                  <c:v>24 May, 2020</c:v>
                </c:pt>
                <c:pt idx="75">
                  <c:v>31 May, 2020</c:v>
                </c:pt>
                <c:pt idx="76">
                  <c:v>07-Jun-20</c:v>
                </c:pt>
                <c:pt idx="77">
                  <c:v>14-Jun-20</c:v>
                </c:pt>
                <c:pt idx="78">
                  <c:v>21-Jun-20</c:v>
                </c:pt>
                <c:pt idx="79">
                  <c:v>28-Jun-20</c:v>
                </c:pt>
                <c:pt idx="80">
                  <c:v>05-Jul-20</c:v>
                </c:pt>
                <c:pt idx="81">
                  <c:v>12-Jul-20</c:v>
                </c:pt>
                <c:pt idx="82">
                  <c:v>19-Jul-20</c:v>
                </c:pt>
                <c:pt idx="83">
                  <c:v>26-Jul-20</c:v>
                </c:pt>
                <c:pt idx="84">
                  <c:v>02-Aug-20</c:v>
                </c:pt>
                <c:pt idx="85">
                  <c:v>09-Aug-20</c:v>
                </c:pt>
                <c:pt idx="86">
                  <c:v>16-Aug-20</c:v>
                </c:pt>
                <c:pt idx="87">
                  <c:v>23-Aug-20</c:v>
                </c:pt>
                <c:pt idx="88">
                  <c:v>30-Aug-20</c:v>
                </c:pt>
                <c:pt idx="89">
                  <c:v>06-Sep-20</c:v>
                </c:pt>
                <c:pt idx="90">
                  <c:v>13-Sep-20</c:v>
                </c:pt>
                <c:pt idx="91">
                  <c:v>20-Sep-20</c:v>
                </c:pt>
                <c:pt idx="92">
                  <c:v>27-Sep-20</c:v>
                </c:pt>
                <c:pt idx="93">
                  <c:v>04-Oct-20</c:v>
                </c:pt>
                <c:pt idx="94">
                  <c:v>11-Oct-20</c:v>
                </c:pt>
                <c:pt idx="95">
                  <c:v>18-Oct-20</c:v>
                </c:pt>
                <c:pt idx="96">
                  <c:v>25-Oct-20</c:v>
                </c:pt>
                <c:pt idx="97">
                  <c:v>01-Nov-20</c:v>
                </c:pt>
                <c:pt idx="98">
                  <c:v>08-Nov-20</c:v>
                </c:pt>
                <c:pt idx="99">
                  <c:v>15-Nov-20</c:v>
                </c:pt>
                <c:pt idx="100">
                  <c:v>22-Nov-20</c:v>
                </c:pt>
                <c:pt idx="101">
                  <c:v>29-Nov-20</c:v>
                </c:pt>
                <c:pt idx="102">
                  <c:v>06-Dec-20</c:v>
                </c:pt>
                <c:pt idx="103">
                  <c:v>13-Dec-20</c:v>
                </c:pt>
                <c:pt idx="104">
                  <c:v>20-Dec-20</c:v>
                </c:pt>
                <c:pt idx="105">
                  <c:v>27-Dec-20</c:v>
                </c:pt>
                <c:pt idx="106">
                  <c:v>03-Jan-21</c:v>
                </c:pt>
                <c:pt idx="107">
                  <c:v>10-Jan-21</c:v>
                </c:pt>
                <c:pt idx="108">
                  <c:v>17-Jan-21</c:v>
                </c:pt>
                <c:pt idx="109">
                  <c:v>24-Jan-21</c:v>
                </c:pt>
                <c:pt idx="110">
                  <c:v>31-Jan-21</c:v>
                </c:pt>
                <c:pt idx="111">
                  <c:v>07-Feb-21</c:v>
                </c:pt>
                <c:pt idx="112">
                  <c:v>14-Feb-21</c:v>
                </c:pt>
                <c:pt idx="113">
                  <c:v>21-Feb-21</c:v>
                </c:pt>
                <c:pt idx="114">
                  <c:v>28-Feb-21</c:v>
                </c:pt>
                <c:pt idx="115">
                  <c:v>07-Mar-21</c:v>
                </c:pt>
                <c:pt idx="116">
                  <c:v>14-Mar-21</c:v>
                </c:pt>
                <c:pt idx="117">
                  <c:v>21-Mar-21</c:v>
                </c:pt>
                <c:pt idx="118">
                  <c:v>28-Mar-21</c:v>
                </c:pt>
                <c:pt idx="119">
                  <c:v>04-Apr-21</c:v>
                </c:pt>
                <c:pt idx="120">
                  <c:v>11-Apr-21</c:v>
                </c:pt>
                <c:pt idx="121">
                  <c:v>18-Apr-21</c:v>
                </c:pt>
                <c:pt idx="122">
                  <c:v>25-Apr-21</c:v>
                </c:pt>
                <c:pt idx="123">
                  <c:v>2 May, 2021</c:v>
                </c:pt>
                <c:pt idx="124">
                  <c:v>9 May, 2021</c:v>
                </c:pt>
                <c:pt idx="125">
                  <c:v>16 May, 2021</c:v>
                </c:pt>
                <c:pt idx="126">
                  <c:v>23 May, 2021</c:v>
                </c:pt>
                <c:pt idx="127">
                  <c:v>30 May, 2021</c:v>
                </c:pt>
                <c:pt idx="128">
                  <c:v>06-Jun-21</c:v>
                </c:pt>
                <c:pt idx="129">
                  <c:v>13-Jun-21</c:v>
                </c:pt>
                <c:pt idx="130">
                  <c:v>20-Jun-21</c:v>
                </c:pt>
                <c:pt idx="131">
                  <c:v>27-Jun-21</c:v>
                </c:pt>
                <c:pt idx="132">
                  <c:v>04-Jul-21</c:v>
                </c:pt>
                <c:pt idx="133">
                  <c:v>11-Jul-21</c:v>
                </c:pt>
                <c:pt idx="134">
                  <c:v>18-Jul-21</c:v>
                </c:pt>
                <c:pt idx="135">
                  <c:v>25-Jul-21</c:v>
                </c:pt>
                <c:pt idx="136">
                  <c:v>01-Aug-21</c:v>
                </c:pt>
                <c:pt idx="137">
                  <c:v>08-Aug-21</c:v>
                </c:pt>
                <c:pt idx="138">
                  <c:v>15-Aug-21</c:v>
                </c:pt>
                <c:pt idx="139">
                  <c:v>22-Aug-21</c:v>
                </c:pt>
                <c:pt idx="140">
                  <c:v>29-Aug-21</c:v>
                </c:pt>
                <c:pt idx="141">
                  <c:v>05-Sep-21</c:v>
                </c:pt>
                <c:pt idx="142">
                  <c:v>12-Sep-21</c:v>
                </c:pt>
                <c:pt idx="143">
                  <c:v>19-Sep-21</c:v>
                </c:pt>
                <c:pt idx="144">
                  <c:v>26-Sep-21</c:v>
                </c:pt>
                <c:pt idx="145">
                  <c:v>03-Oct-21</c:v>
                </c:pt>
                <c:pt idx="146">
                  <c:v>10-Oct-21</c:v>
                </c:pt>
                <c:pt idx="147">
                  <c:v>17-Oct-21</c:v>
                </c:pt>
                <c:pt idx="148">
                  <c:v>24-Oct-21</c:v>
                </c:pt>
                <c:pt idx="149">
                  <c:v>31-Oct-21</c:v>
                </c:pt>
                <c:pt idx="150">
                  <c:v>07-Nov-21</c:v>
                </c:pt>
                <c:pt idx="151">
                  <c:v>14-Nov-21</c:v>
                </c:pt>
                <c:pt idx="152">
                  <c:v>21-Nov-21</c:v>
                </c:pt>
                <c:pt idx="153">
                  <c:v>28-Nov-21</c:v>
                </c:pt>
                <c:pt idx="154">
                  <c:v>05-Dec-21</c:v>
                </c:pt>
                <c:pt idx="155">
                  <c:v>12-Dec-21</c:v>
                </c:pt>
                <c:pt idx="156">
                  <c:v>19-Dec-21</c:v>
                </c:pt>
                <c:pt idx="157">
                  <c:v>26-Dec-21</c:v>
                </c:pt>
                <c:pt idx="158">
                  <c:v>02-Jan-22</c:v>
                </c:pt>
                <c:pt idx="159">
                  <c:v>09-Jan-22</c:v>
                </c:pt>
                <c:pt idx="160">
                  <c:v>16-Jan-22</c:v>
                </c:pt>
                <c:pt idx="161">
                  <c:v>23-Jan-22</c:v>
                </c:pt>
                <c:pt idx="162">
                  <c:v>30-Jan-22</c:v>
                </c:pt>
                <c:pt idx="163">
                  <c:v>06-Feb-22</c:v>
                </c:pt>
                <c:pt idx="164">
                  <c:v>13-Feb-22</c:v>
                </c:pt>
                <c:pt idx="165">
                  <c:v>20-Feb-22</c:v>
                </c:pt>
                <c:pt idx="166">
                  <c:v>27-Feb-22</c:v>
                </c:pt>
                <c:pt idx="167">
                  <c:v>06-Mar-22</c:v>
                </c:pt>
                <c:pt idx="168">
                  <c:v>13-Mar-22</c:v>
                </c:pt>
                <c:pt idx="169">
                  <c:v>20-Mar-22</c:v>
                </c:pt>
                <c:pt idx="170">
                  <c:v>27-Mar-22</c:v>
                </c:pt>
                <c:pt idx="171">
                  <c:v>03-Apr-22</c:v>
                </c:pt>
              </c:strCache>
            </c:strRef>
          </c:cat>
          <c:val>
            <c:numRef>
              <c:f>Sheet1!$F$2:$F$173</c:f>
              <c:numCache>
                <c:formatCode>General</c:formatCode>
                <c:ptCount val="172"/>
                <c:pt idx="0">
                  <c:v>0.14540877723567361</c:v>
                </c:pt>
                <c:pt idx="1">
                  <c:v>0.1238193330216607</c:v>
                </c:pt>
                <c:pt idx="2">
                  <c:v>0.12837659530238479</c:v>
                </c:pt>
                <c:pt idx="3">
                  <c:v>0.11864809217328939</c:v>
                </c:pt>
                <c:pt idx="4">
                  <c:v>0.12526064548837221</c:v>
                </c:pt>
                <c:pt idx="5">
                  <c:v>0.14417224373341739</c:v>
                </c:pt>
                <c:pt idx="6">
                  <c:v>0.1573678493050765</c:v>
                </c:pt>
                <c:pt idx="7">
                  <c:v>0.1101345762060409</c:v>
                </c:pt>
                <c:pt idx="8">
                  <c:v>0.12565574856363881</c:v>
                </c:pt>
                <c:pt idx="9">
                  <c:v>0.1163000970378131</c:v>
                </c:pt>
                <c:pt idx="10">
                  <c:v>0.11847805083241859</c:v>
                </c:pt>
                <c:pt idx="11">
                  <c:v>0.11059682788519359</c:v>
                </c:pt>
                <c:pt idx="12">
                  <c:v>0.1498036040464796</c:v>
                </c:pt>
                <c:pt idx="13">
                  <c:v>0.13582837639316911</c:v>
                </c:pt>
                <c:pt idx="14">
                  <c:v>0.13526408430837891</c:v>
                </c:pt>
                <c:pt idx="15">
                  <c:v>0.1241313504821209</c:v>
                </c:pt>
                <c:pt idx="16">
                  <c:v>0.1267672717298928</c:v>
                </c:pt>
                <c:pt idx="17">
                  <c:v>0.131275911562651</c:v>
                </c:pt>
                <c:pt idx="18">
                  <c:v>0.1482350617880617</c:v>
                </c:pt>
                <c:pt idx="19">
                  <c:v>0.13698364103506511</c:v>
                </c:pt>
                <c:pt idx="20">
                  <c:v>0.13286938583029731</c:v>
                </c:pt>
                <c:pt idx="21">
                  <c:v>0.13066292249967409</c:v>
                </c:pt>
                <c:pt idx="22">
                  <c:v>0.15162093021261841</c:v>
                </c:pt>
                <c:pt idx="23">
                  <c:v>0.12546913407858509</c:v>
                </c:pt>
                <c:pt idx="24">
                  <c:v>0.128836347823127</c:v>
                </c:pt>
                <c:pt idx="25">
                  <c:v>0.1167861246831064</c:v>
                </c:pt>
                <c:pt idx="26">
                  <c:v>0.1321240310410437</c:v>
                </c:pt>
                <c:pt idx="27">
                  <c:v>0.1308187802709958</c:v>
                </c:pt>
                <c:pt idx="28">
                  <c:v>0.15124710016209469</c:v>
                </c:pt>
                <c:pt idx="29">
                  <c:v>0.1428109976992297</c:v>
                </c:pt>
                <c:pt idx="30">
                  <c:v>0.13371067461657171</c:v>
                </c:pt>
                <c:pt idx="31">
                  <c:v>0.1222459842562582</c:v>
                </c:pt>
                <c:pt idx="32">
                  <c:v>0.12977709031735329</c:v>
                </c:pt>
                <c:pt idx="33">
                  <c:v>0.13127659042765519</c:v>
                </c:pt>
                <c:pt idx="34">
                  <c:v>0.14923352735857151</c:v>
                </c:pt>
                <c:pt idx="35">
                  <c:v>0.1272722708963826</c:v>
                </c:pt>
                <c:pt idx="36">
                  <c:v>0.13188810380989571</c:v>
                </c:pt>
                <c:pt idx="37">
                  <c:v>0.14609798434406379</c:v>
                </c:pt>
                <c:pt idx="38">
                  <c:v>0.14414297930042361</c:v>
                </c:pt>
                <c:pt idx="39">
                  <c:v>0.1350088917268496</c:v>
                </c:pt>
                <c:pt idx="40">
                  <c:v>0.1201978855456089</c:v>
                </c:pt>
                <c:pt idx="41">
                  <c:v>0.1349761146272373</c:v>
                </c:pt>
                <c:pt idx="42">
                  <c:v>0.15749420160026861</c:v>
                </c:pt>
                <c:pt idx="43">
                  <c:v>0.14487328551867759</c:v>
                </c:pt>
                <c:pt idx="44">
                  <c:v>0.13072456173981351</c:v>
                </c:pt>
                <c:pt idx="45">
                  <c:v>0.14812013114598219</c:v>
                </c:pt>
                <c:pt idx="46">
                  <c:v>0.13410049183317099</c:v>
                </c:pt>
                <c:pt idx="47">
                  <c:v>0.13710051287635261</c:v>
                </c:pt>
                <c:pt idx="48">
                  <c:v>0.1348126753740766</c:v>
                </c:pt>
                <c:pt idx="49">
                  <c:v>0.1202299274223161</c:v>
                </c:pt>
                <c:pt idx="50">
                  <c:v>0.13203595572948171</c:v>
                </c:pt>
                <c:pt idx="51">
                  <c:v>0.14336509490600971</c:v>
                </c:pt>
                <c:pt idx="52">
                  <c:v>0.1420343703343559</c:v>
                </c:pt>
                <c:pt idx="53">
                  <c:v>0.1131241283269037</c:v>
                </c:pt>
                <c:pt idx="54">
                  <c:v>0.1339714299162425</c:v>
                </c:pt>
                <c:pt idx="55">
                  <c:v>0.15561847214323379</c:v>
                </c:pt>
                <c:pt idx="56">
                  <c:v>0.14207760112137521</c:v>
                </c:pt>
                <c:pt idx="57">
                  <c:v>0.1629821211498636</c:v>
                </c:pt>
                <c:pt idx="58">
                  <c:v>0.15444551557917929</c:v>
                </c:pt>
                <c:pt idx="59">
                  <c:v>0.1346144856829001</c:v>
                </c:pt>
                <c:pt idx="60">
                  <c:v>0.1172790532139219</c:v>
                </c:pt>
                <c:pt idx="61">
                  <c:v>0.12291978346126731</c:v>
                </c:pt>
                <c:pt idx="62">
                  <c:v>0.14368440957196699</c:v>
                </c:pt>
                <c:pt idx="63">
                  <c:v>0.14310052015835459</c:v>
                </c:pt>
                <c:pt idx="64">
                  <c:v>0.14649023550385451</c:v>
                </c:pt>
                <c:pt idx="65">
                  <c:v>0.1216535286355323</c:v>
                </c:pt>
                <c:pt idx="66">
                  <c:v>0.1064500021151266</c:v>
                </c:pt>
                <c:pt idx="67">
                  <c:v>0.1053360961101234</c:v>
                </c:pt>
                <c:pt idx="68">
                  <c:v>0.1173209379341776</c:v>
                </c:pt>
                <c:pt idx="69">
                  <c:v>0.1010510749787402</c:v>
                </c:pt>
                <c:pt idx="70">
                  <c:v>0.11446512639565611</c:v>
                </c:pt>
                <c:pt idx="71">
                  <c:v>0.1253537980551572</c:v>
                </c:pt>
                <c:pt idx="72">
                  <c:v>0.12024126238417179</c:v>
                </c:pt>
                <c:pt idx="73">
                  <c:v>0.14092776616407859</c:v>
                </c:pt>
                <c:pt idx="74">
                  <c:v>0.1397305407932759</c:v>
                </c:pt>
                <c:pt idx="75">
                  <c:v>0.13748424468629691</c:v>
                </c:pt>
                <c:pt idx="76">
                  <c:v>0.1184314278550474</c:v>
                </c:pt>
                <c:pt idx="77">
                  <c:v>0.1269639269800969</c:v>
                </c:pt>
                <c:pt idx="78">
                  <c:v>0.14452066651501161</c:v>
                </c:pt>
                <c:pt idx="79">
                  <c:v>0.14651670995446431</c:v>
                </c:pt>
                <c:pt idx="80">
                  <c:v>0.2404133537859045</c:v>
                </c:pt>
                <c:pt idx="81">
                  <c:v>0.31205503956506292</c:v>
                </c:pt>
                <c:pt idx="82">
                  <c:v>0.21390279588442479</c:v>
                </c:pt>
                <c:pt idx="83">
                  <c:v>0.2157338644432181</c:v>
                </c:pt>
                <c:pt idx="84">
                  <c:v>0.15441650211039329</c:v>
                </c:pt>
                <c:pt idx="85">
                  <c:v>0.13159762289255381</c:v>
                </c:pt>
                <c:pt idx="86">
                  <c:v>0.1263555564503544</c:v>
                </c:pt>
                <c:pt idx="87">
                  <c:v>0.1367291931590526</c:v>
                </c:pt>
                <c:pt idx="88">
                  <c:v>0.1456317921278428</c:v>
                </c:pt>
                <c:pt idx="89">
                  <c:v>0.12517941667740839</c:v>
                </c:pt>
                <c:pt idx="90">
                  <c:v>0.12606047553282659</c:v>
                </c:pt>
                <c:pt idx="91">
                  <c:v>0.14801496620180579</c:v>
                </c:pt>
                <c:pt idx="92">
                  <c:v>0.1231661473875917</c:v>
                </c:pt>
                <c:pt idx="93">
                  <c:v>0.14035102169632671</c:v>
                </c:pt>
                <c:pt idx="94">
                  <c:v>0.1436127307111735</c:v>
                </c:pt>
                <c:pt idx="95">
                  <c:v>0.1461912426609184</c:v>
                </c:pt>
                <c:pt idx="96">
                  <c:v>0.1320862724599727</c:v>
                </c:pt>
                <c:pt idx="97">
                  <c:v>0.13468600276380241</c:v>
                </c:pt>
                <c:pt idx="98">
                  <c:v>0.13411571828975871</c:v>
                </c:pt>
                <c:pt idx="99">
                  <c:v>0.14907558636255641</c:v>
                </c:pt>
                <c:pt idx="100">
                  <c:v>0.1463949834715268</c:v>
                </c:pt>
                <c:pt idx="101">
                  <c:v>0.12876404610079731</c:v>
                </c:pt>
                <c:pt idx="102">
                  <c:v>0.124323112646057</c:v>
                </c:pt>
                <c:pt idx="103">
                  <c:v>0.1277565777307017</c:v>
                </c:pt>
                <c:pt idx="104">
                  <c:v>0.17861196438643229</c:v>
                </c:pt>
                <c:pt idx="105">
                  <c:v>0.1363166120069792</c:v>
                </c:pt>
                <c:pt idx="106">
                  <c:v>0.10475736674067369</c:v>
                </c:pt>
                <c:pt idx="107">
                  <c:v>0.1603673651731658</c:v>
                </c:pt>
                <c:pt idx="108">
                  <c:v>0.16153219407524039</c:v>
                </c:pt>
                <c:pt idx="109">
                  <c:v>0.15519481800011481</c:v>
                </c:pt>
                <c:pt idx="110">
                  <c:v>0.1606102345272328</c:v>
                </c:pt>
                <c:pt idx="111">
                  <c:v>0.14792579792816929</c:v>
                </c:pt>
                <c:pt idx="112">
                  <c:v>0.13135232107696809</c:v>
                </c:pt>
                <c:pt idx="113">
                  <c:v>0.1498804904270841</c:v>
                </c:pt>
                <c:pt idx="114">
                  <c:v>0.15506842452010561</c:v>
                </c:pt>
                <c:pt idx="115">
                  <c:v>0.18880719314388131</c:v>
                </c:pt>
                <c:pt idx="116">
                  <c:v>0.14099053317112631</c:v>
                </c:pt>
                <c:pt idx="117">
                  <c:v>0.1150459163812944</c:v>
                </c:pt>
                <c:pt idx="118">
                  <c:v>0.16133798173301539</c:v>
                </c:pt>
                <c:pt idx="119">
                  <c:v>0.16353902267069681</c:v>
                </c:pt>
                <c:pt idx="120">
                  <c:v>0.14489007219553379</c:v>
                </c:pt>
                <c:pt idx="121">
                  <c:v>0.13538276038070821</c:v>
                </c:pt>
                <c:pt idx="122">
                  <c:v>0.14446624986871801</c:v>
                </c:pt>
                <c:pt idx="123">
                  <c:v>0.1611148279314599</c:v>
                </c:pt>
                <c:pt idx="124">
                  <c:v>0.1400689312725292</c:v>
                </c:pt>
                <c:pt idx="125">
                  <c:v>0.12981636880281711</c:v>
                </c:pt>
                <c:pt idx="126">
                  <c:v>0.17869978772151671</c:v>
                </c:pt>
                <c:pt idx="127">
                  <c:v>0.1224666825057867</c:v>
                </c:pt>
                <c:pt idx="128">
                  <c:v>0.15131787220858459</c:v>
                </c:pt>
                <c:pt idx="129">
                  <c:v>0.138364931167442</c:v>
                </c:pt>
                <c:pt idx="130">
                  <c:v>0.1749566154664042</c:v>
                </c:pt>
                <c:pt idx="131">
                  <c:v>0.1649541503769941</c:v>
                </c:pt>
                <c:pt idx="132">
                  <c:v>0.16433055182617201</c:v>
                </c:pt>
                <c:pt idx="133">
                  <c:v>0.13675720510408379</c:v>
                </c:pt>
                <c:pt idx="134">
                  <c:v>0.14213886948096671</c:v>
                </c:pt>
                <c:pt idx="135">
                  <c:v>0.1344762576696745</c:v>
                </c:pt>
                <c:pt idx="136">
                  <c:v>0.15312482745371719</c:v>
                </c:pt>
                <c:pt idx="137">
                  <c:v>0.1401846326068886</c:v>
                </c:pt>
                <c:pt idx="138">
                  <c:v>0.1182528246309581</c:v>
                </c:pt>
                <c:pt idx="139">
                  <c:v>0.1223812203533602</c:v>
                </c:pt>
                <c:pt idx="140">
                  <c:v>0.13642866758918351</c:v>
                </c:pt>
                <c:pt idx="141">
                  <c:v>0.13920252476827891</c:v>
                </c:pt>
                <c:pt idx="142">
                  <c:v>0.1339475014165927</c:v>
                </c:pt>
                <c:pt idx="143">
                  <c:v>0.13401738104107291</c:v>
                </c:pt>
                <c:pt idx="144">
                  <c:v>0.15547578773274751</c:v>
                </c:pt>
                <c:pt idx="145">
                  <c:v>0.1671753882757856</c:v>
                </c:pt>
                <c:pt idx="146">
                  <c:v>0.15186709914009169</c:v>
                </c:pt>
                <c:pt idx="147">
                  <c:v>0.1466707160527867</c:v>
                </c:pt>
                <c:pt idx="148">
                  <c:v>0.12167193471644119</c:v>
                </c:pt>
                <c:pt idx="149">
                  <c:v>0.1322440099222367</c:v>
                </c:pt>
                <c:pt idx="150">
                  <c:v>0.1384991526614488</c:v>
                </c:pt>
                <c:pt idx="151">
                  <c:v>0.12792204677335911</c:v>
                </c:pt>
                <c:pt idx="152">
                  <c:v>0.13892861330025319</c:v>
                </c:pt>
                <c:pt idx="153">
                  <c:v>0.1572056713132069</c:v>
                </c:pt>
                <c:pt idx="154">
                  <c:v>0.12375687331166151</c:v>
                </c:pt>
                <c:pt idx="155">
                  <c:v>0.12393060987621859</c:v>
                </c:pt>
                <c:pt idx="156">
                  <c:v>0.1481220189999399</c:v>
                </c:pt>
                <c:pt idx="157">
                  <c:v>0.15080316173137701</c:v>
                </c:pt>
                <c:pt idx="158">
                  <c:v>0.13163585098147609</c:v>
                </c:pt>
                <c:pt idx="159">
                  <c:v>0.17518068914064491</c:v>
                </c:pt>
                <c:pt idx="160">
                  <c:v>0.14430658018421791</c:v>
                </c:pt>
                <c:pt idx="161">
                  <c:v>0.1477132319346918</c:v>
                </c:pt>
                <c:pt idx="162">
                  <c:v>0.1468547923506304</c:v>
                </c:pt>
                <c:pt idx="163">
                  <c:v>0.14407392135668631</c:v>
                </c:pt>
                <c:pt idx="164">
                  <c:v>0.14806546429825829</c:v>
                </c:pt>
                <c:pt idx="165">
                  <c:v>0.1472745967091286</c:v>
                </c:pt>
                <c:pt idx="166">
                  <c:v>0.1484317818687631</c:v>
                </c:pt>
                <c:pt idx="167">
                  <c:v>0.14371237025954259</c:v>
                </c:pt>
                <c:pt idx="168">
                  <c:v>0.16388617449378681</c:v>
                </c:pt>
                <c:pt idx="169">
                  <c:v>0.16029832164343999</c:v>
                </c:pt>
                <c:pt idx="170">
                  <c:v>0.15808590984120491</c:v>
                </c:pt>
                <c:pt idx="171">
                  <c:v>0.14318055178692821</c:v>
                </c:pt>
              </c:numCache>
            </c:numRef>
          </c:val>
          <c:smooth val="0"/>
          <c:extLst>
            <c:ext xmlns:c16="http://schemas.microsoft.com/office/drawing/2014/chart" uri="{C3380CC4-5D6E-409C-BE32-E72D297353CC}">
              <c16:uniqueId val="{00000004-2607-4594-924D-A7A362348187}"/>
            </c:ext>
          </c:extLst>
        </c:ser>
        <c:dLbls>
          <c:showLegendKey val="0"/>
          <c:showVal val="0"/>
          <c:showCatName val="0"/>
          <c:showSerName val="0"/>
          <c:showPercent val="0"/>
          <c:showBubbleSize val="0"/>
        </c:dLbls>
        <c:marker val="1"/>
        <c:smooth val="0"/>
        <c:axId val="253167887"/>
        <c:axId val="253170383"/>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a:lstStyle/>
          <a:p>
            <a:pPr>
              <a:defRPr/>
            </a:pPr>
            <a:endParaRPr lang="en-US"/>
          </a:p>
        </c:txPr>
        <c:crossAx val="390032656"/>
        <c:crosses val="autoZero"/>
        <c:auto val="0"/>
        <c:lblAlgn val="ctr"/>
        <c:lblOffset val="100"/>
        <c:noMultiLvlLbl val="0"/>
      </c:catAx>
      <c:valAx>
        <c:axId val="390032656"/>
        <c:scaling>
          <c:orientation val="minMax"/>
        </c:scaling>
        <c:delete val="0"/>
        <c:axPos val="l"/>
        <c:numFmt formatCode="#,##0" sourceLinked="0"/>
        <c:majorTickMark val="none"/>
        <c:minorTickMark val="none"/>
        <c:tickLblPos val="nextTo"/>
        <c:spPr>
          <a:noFill/>
          <a:ln>
            <a:noFill/>
          </a:ln>
          <a:effectLst/>
        </c:spPr>
        <c:txPr>
          <a:bodyPr rot="-60000000" vert="horz"/>
          <a:lstStyle/>
          <a:p>
            <a:pPr>
              <a:defRPr/>
            </a:pPr>
            <a:endParaRPr lang="en-US"/>
          </a:p>
        </c:txPr>
        <c:crossAx val="390034320"/>
        <c:crosses val="autoZero"/>
        <c:crossBetween val="between"/>
      </c:valAx>
      <c:valAx>
        <c:axId val="253170383"/>
        <c:scaling>
          <c:orientation val="minMax"/>
        </c:scaling>
        <c:delete val="0"/>
        <c:axPos val="r"/>
        <c:numFmt formatCode="0%" sourceLinked="0"/>
        <c:majorTickMark val="out"/>
        <c:minorTickMark val="none"/>
        <c:tickLblPos val="nextTo"/>
        <c:spPr>
          <a:noFill/>
          <a:ln>
            <a:noFill/>
          </a:ln>
          <a:effectLst/>
        </c:spPr>
        <c:txPr>
          <a:bodyPr rot="-60000000" vert="horz"/>
          <a:lstStyle/>
          <a:p>
            <a:pPr algn="ctr">
              <a:defRPr/>
            </a:pPr>
            <a:endParaRPr lang="en-US"/>
          </a:p>
        </c:txPr>
        <c:crossAx val="253167887"/>
        <c:crosses val="max"/>
        <c:crossBetween val="between"/>
      </c:valAx>
      <c:catAx>
        <c:axId val="253167887"/>
        <c:scaling>
          <c:orientation val="minMax"/>
        </c:scaling>
        <c:delete val="1"/>
        <c:axPos val="b"/>
        <c:numFmt formatCode="General" sourceLinked="1"/>
        <c:majorTickMark val="out"/>
        <c:minorTickMark val="none"/>
        <c:tickLblPos val="nextTo"/>
        <c:crossAx val="253170383"/>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38621105571207E-2"/>
          <c:y val="0.22640674019619741"/>
          <c:w val="0.96604631207450631"/>
          <c:h val="0.76380960518739549"/>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0-2A09-4FFC-9D4D-9CC3F6B2DEDD}"/>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1-2A09-4FFC-9D4D-9CC3F6B2DEDD}"/>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11845961320117E-2"/>
          <c:y val="0"/>
          <c:w val="0.96437630807735975"/>
          <c:h val="0.85225155098855032"/>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0810</c:v>
                </c:pt>
                <c:pt idx="1">
                  <c:v>10089</c:v>
                </c:pt>
                <c:pt idx="2">
                  <c:v>5121</c:v>
                </c:pt>
                <c:pt idx="3">
                  <c:v>7276</c:v>
                </c:pt>
                <c:pt idx="4">
                  <c:v>8916</c:v>
                </c:pt>
                <c:pt idx="5">
                  <c:v>9411</c:v>
                </c:pt>
                <c:pt idx="6">
                  <c:v>8041</c:v>
                </c:pt>
                <c:pt idx="7">
                  <c:v>8669</c:v>
                </c:pt>
                <c:pt idx="8">
                  <c:v>11931</c:v>
                </c:pt>
                <c:pt idx="9">
                  <c:v>8121</c:v>
                </c:pt>
                <c:pt idx="10">
                  <c:v>4572</c:v>
                </c:pt>
                <c:pt idx="11">
                  <c:v>8127</c:v>
                </c:pt>
                <c:pt idx="12">
                  <c:v>9262</c:v>
                </c:pt>
                <c:pt idx="13">
                  <c:v>8141</c:v>
                </c:pt>
                <c:pt idx="14">
                  <c:v>9018</c:v>
                </c:pt>
                <c:pt idx="15">
                  <c:v>9003</c:v>
                </c:pt>
                <c:pt idx="16">
                  <c:v>6797</c:v>
                </c:pt>
                <c:pt idx="17">
                  <c:v>4823</c:v>
                </c:pt>
                <c:pt idx="18">
                  <c:v>8083</c:v>
                </c:pt>
                <c:pt idx="19">
                  <c:v>11032</c:v>
                </c:pt>
                <c:pt idx="20">
                  <c:v>10107</c:v>
                </c:pt>
                <c:pt idx="21">
                  <c:v>8418</c:v>
                </c:pt>
                <c:pt idx="22">
                  <c:v>5994</c:v>
                </c:pt>
                <c:pt idx="23">
                  <c:v>7599</c:v>
                </c:pt>
                <c:pt idx="24">
                  <c:v>5115</c:v>
                </c:pt>
                <c:pt idx="25">
                  <c:v>3805</c:v>
                </c:pt>
                <c:pt idx="26">
                  <c:v>6006</c:v>
                </c:pt>
                <c:pt idx="27">
                  <c:v>7379</c:v>
                </c:pt>
                <c:pt idx="28">
                  <c:v>7123</c:v>
                </c:pt>
                <c:pt idx="29">
                  <c:v>7142</c:v>
                </c:pt>
                <c:pt idx="30">
                  <c:v>6877</c:v>
                </c:pt>
                <c:pt idx="31">
                  <c:v>6220</c:v>
                </c:pt>
                <c:pt idx="32">
                  <c:v>5853</c:v>
                </c:pt>
                <c:pt idx="33">
                  <c:v>6009</c:v>
                </c:pt>
                <c:pt idx="34">
                  <c:v>5303</c:v>
                </c:pt>
                <c:pt idx="35">
                  <c:v>5357</c:v>
                </c:pt>
                <c:pt idx="36">
                  <c:v>4769</c:v>
                </c:pt>
                <c:pt idx="37">
                  <c:v>2497</c:v>
                </c:pt>
                <c:pt idx="38">
                  <c:v>3398</c:v>
                </c:pt>
                <c:pt idx="39">
                  <c:v>3621</c:v>
                </c:pt>
                <c:pt idx="40">
                  <c:v>3879</c:v>
                </c:pt>
                <c:pt idx="41">
                  <c:v>4732</c:v>
                </c:pt>
                <c:pt idx="42">
                  <c:v>7308</c:v>
                </c:pt>
                <c:pt idx="43">
                  <c:v>9036</c:v>
                </c:pt>
                <c:pt idx="44">
                  <c:v>10084</c:v>
                </c:pt>
                <c:pt idx="45">
                  <c:v>9083</c:v>
                </c:pt>
                <c:pt idx="46">
                  <c:v>5482</c:v>
                </c:pt>
                <c:pt idx="47">
                  <c:v>3778</c:v>
                </c:pt>
                <c:pt idx="48">
                  <c:v>7809</c:v>
                </c:pt>
                <c:pt idx="49">
                  <c:v>7739</c:v>
                </c:pt>
                <c:pt idx="50">
                  <c:v>7596</c:v>
                </c:pt>
                <c:pt idx="51">
                  <c:v>6196</c:v>
                </c:pt>
                <c:pt idx="52">
                  <c:v>5910</c:v>
                </c:pt>
                <c:pt idx="53">
                  <c:v>3695</c:v>
                </c:pt>
                <c:pt idx="54">
                  <c:v>6430</c:v>
                </c:pt>
                <c:pt idx="55">
                  <c:v>8035</c:v>
                </c:pt>
                <c:pt idx="56">
                  <c:v>7611</c:v>
                </c:pt>
                <c:pt idx="57">
                  <c:v>9039</c:v>
                </c:pt>
                <c:pt idx="58">
                  <c:v>8087</c:v>
                </c:pt>
                <c:pt idx="59">
                  <c:v>8932</c:v>
                </c:pt>
                <c:pt idx="60">
                  <c:v>8868</c:v>
                </c:pt>
                <c:pt idx="61">
                  <c:v>13093</c:v>
                </c:pt>
                <c:pt idx="62">
                  <c:v>8128</c:v>
                </c:pt>
                <c:pt idx="63">
                  <c:v>4890</c:v>
                </c:pt>
                <c:pt idx="64">
                  <c:v>6845</c:v>
                </c:pt>
                <c:pt idx="65">
                  <c:v>8260</c:v>
                </c:pt>
                <c:pt idx="66">
                  <c:v>8951</c:v>
                </c:pt>
                <c:pt idx="67">
                  <c:v>9377</c:v>
                </c:pt>
                <c:pt idx="68">
                  <c:v>7130</c:v>
                </c:pt>
                <c:pt idx="69">
                  <c:v>4881</c:v>
                </c:pt>
                <c:pt idx="70">
                  <c:v>8326</c:v>
                </c:pt>
                <c:pt idx="71">
                  <c:v>6489</c:v>
                </c:pt>
                <c:pt idx="72">
                  <c:v>6081</c:v>
                </c:pt>
                <c:pt idx="73">
                  <c:v>7404</c:v>
                </c:pt>
                <c:pt idx="74">
                  <c:v>7204</c:v>
                </c:pt>
                <c:pt idx="75">
                  <c:v>8013</c:v>
                </c:pt>
                <c:pt idx="76">
                  <c:v>6689</c:v>
                </c:pt>
                <c:pt idx="77">
                  <c:v>6812</c:v>
                </c:pt>
                <c:pt idx="78">
                  <c:v>6117</c:v>
                </c:pt>
                <c:pt idx="79">
                  <c:v>6225</c:v>
                </c:pt>
                <c:pt idx="80">
                  <c:v>3929</c:v>
                </c:pt>
                <c:pt idx="81">
                  <c:v>2740</c:v>
                </c:pt>
                <c:pt idx="82">
                  <c:v>4127</c:v>
                </c:pt>
                <c:pt idx="83">
                  <c:v>4589</c:v>
                </c:pt>
                <c:pt idx="84">
                  <c:v>4916</c:v>
                </c:pt>
                <c:pt idx="85">
                  <c:v>5241</c:v>
                </c:pt>
                <c:pt idx="86">
                  <c:v>5137</c:v>
                </c:pt>
                <c:pt idx="87">
                  <c:v>5001</c:v>
                </c:pt>
                <c:pt idx="88">
                  <c:v>4319</c:v>
                </c:pt>
                <c:pt idx="89">
                  <c:v>4010</c:v>
                </c:pt>
                <c:pt idx="90">
                  <c:v>2753</c:v>
                </c:pt>
                <c:pt idx="91">
                  <c:v>1734</c:v>
                </c:pt>
                <c:pt idx="92">
                  <c:v>3341</c:v>
                </c:pt>
                <c:pt idx="93">
                  <c:v>5772</c:v>
                </c:pt>
                <c:pt idx="94">
                  <c:v>5197</c:v>
                </c:pt>
                <c:pt idx="95">
                  <c:v>3434</c:v>
                </c:pt>
                <c:pt idx="96">
                  <c:v>7685</c:v>
                </c:pt>
                <c:pt idx="97">
                  <c:v>4914</c:v>
                </c:pt>
                <c:pt idx="98">
                  <c:v>2971</c:v>
                </c:pt>
                <c:pt idx="99">
                  <c:v>5204</c:v>
                </c:pt>
                <c:pt idx="100">
                  <c:v>5523</c:v>
                </c:pt>
                <c:pt idx="101">
                  <c:v>5494</c:v>
                </c:pt>
                <c:pt idx="102">
                  <c:v>5440</c:v>
                </c:pt>
                <c:pt idx="103">
                  <c:v>9116</c:v>
                </c:pt>
              </c:numCache>
            </c:numRef>
          </c:val>
          <c:extLst>
            <c:ext xmlns:c16="http://schemas.microsoft.com/office/drawing/2014/chart" uri="{C3380CC4-5D6E-409C-BE32-E72D297353CC}">
              <c16:uniqueId val="{00000000-7F1C-42D6-AB69-34F16F98F945}"/>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0</c:v>
                </c:pt>
                <c:pt idx="1">
                  <c:v>1916</c:v>
                </c:pt>
                <c:pt idx="2">
                  <c:v>37396</c:v>
                </c:pt>
                <c:pt idx="3">
                  <c:v>12228</c:v>
                </c:pt>
                <c:pt idx="4">
                  <c:v>142</c:v>
                </c:pt>
                <c:pt idx="5">
                  <c:v>1</c:v>
                </c:pt>
                <c:pt idx="6">
                  <c:v>0</c:v>
                </c:pt>
                <c:pt idx="7">
                  <c:v>0</c:v>
                </c:pt>
                <c:pt idx="8">
                  <c:v>0</c:v>
                </c:pt>
                <c:pt idx="9">
                  <c:v>40819</c:v>
                </c:pt>
                <c:pt idx="10">
                  <c:v>42168</c:v>
                </c:pt>
                <c:pt idx="11">
                  <c:v>6578</c:v>
                </c:pt>
                <c:pt idx="12">
                  <c:v>17192</c:v>
                </c:pt>
                <c:pt idx="13">
                  <c:v>21303</c:v>
                </c:pt>
                <c:pt idx="14">
                  <c:v>7461</c:v>
                </c:pt>
                <c:pt idx="15">
                  <c:v>43</c:v>
                </c:pt>
                <c:pt idx="16">
                  <c:v>35829</c:v>
                </c:pt>
                <c:pt idx="17">
                  <c:v>44812</c:v>
                </c:pt>
                <c:pt idx="18">
                  <c:v>14043</c:v>
                </c:pt>
                <c:pt idx="19">
                  <c:v>60</c:v>
                </c:pt>
                <c:pt idx="20">
                  <c:v>1</c:v>
                </c:pt>
                <c:pt idx="21">
                  <c:v>18875</c:v>
                </c:pt>
                <c:pt idx="22">
                  <c:v>19234</c:v>
                </c:pt>
                <c:pt idx="23">
                  <c:v>2616</c:v>
                </c:pt>
                <c:pt idx="24">
                  <c:v>20182</c:v>
                </c:pt>
                <c:pt idx="25">
                  <c:v>31984</c:v>
                </c:pt>
                <c:pt idx="26">
                  <c:v>10227</c:v>
                </c:pt>
                <c:pt idx="27">
                  <c:v>18</c:v>
                </c:pt>
                <c:pt idx="28">
                  <c:v>2</c:v>
                </c:pt>
                <c:pt idx="29">
                  <c:v>6</c:v>
                </c:pt>
                <c:pt idx="30">
                  <c:v>0</c:v>
                </c:pt>
                <c:pt idx="31">
                  <c:v>0</c:v>
                </c:pt>
                <c:pt idx="32">
                  <c:v>0</c:v>
                </c:pt>
                <c:pt idx="33">
                  <c:v>8404</c:v>
                </c:pt>
                <c:pt idx="34">
                  <c:v>9887</c:v>
                </c:pt>
                <c:pt idx="35">
                  <c:v>3098</c:v>
                </c:pt>
                <c:pt idx="36">
                  <c:v>843</c:v>
                </c:pt>
                <c:pt idx="37">
                  <c:v>19596</c:v>
                </c:pt>
                <c:pt idx="38">
                  <c:v>7044</c:v>
                </c:pt>
                <c:pt idx="39">
                  <c:v>13</c:v>
                </c:pt>
                <c:pt idx="40">
                  <c:v>7657</c:v>
                </c:pt>
                <c:pt idx="41">
                  <c:v>13687</c:v>
                </c:pt>
                <c:pt idx="42">
                  <c:v>5078</c:v>
                </c:pt>
                <c:pt idx="43">
                  <c:v>39</c:v>
                </c:pt>
                <c:pt idx="44">
                  <c:v>2</c:v>
                </c:pt>
                <c:pt idx="45">
                  <c:v>5</c:v>
                </c:pt>
                <c:pt idx="46">
                  <c:v>41369</c:v>
                </c:pt>
                <c:pt idx="47">
                  <c:v>45452</c:v>
                </c:pt>
                <c:pt idx="48">
                  <c:v>446</c:v>
                </c:pt>
                <c:pt idx="49">
                  <c:v>13</c:v>
                </c:pt>
                <c:pt idx="50">
                  <c:v>1</c:v>
                </c:pt>
                <c:pt idx="51">
                  <c:v>14926</c:v>
                </c:pt>
                <c:pt idx="52">
                  <c:v>19078</c:v>
                </c:pt>
                <c:pt idx="53">
                  <c:v>29930</c:v>
                </c:pt>
                <c:pt idx="54">
                  <c:v>9386</c:v>
                </c:pt>
                <c:pt idx="55">
                  <c:v>185</c:v>
                </c:pt>
                <c:pt idx="56">
                  <c:v>2043</c:v>
                </c:pt>
                <c:pt idx="57">
                  <c:v>759</c:v>
                </c:pt>
                <c:pt idx="58">
                  <c:v>3</c:v>
                </c:pt>
                <c:pt idx="59">
                  <c:v>1367</c:v>
                </c:pt>
                <c:pt idx="60">
                  <c:v>3691</c:v>
                </c:pt>
                <c:pt idx="61">
                  <c:v>143</c:v>
                </c:pt>
                <c:pt idx="62">
                  <c:v>25495</c:v>
                </c:pt>
                <c:pt idx="63">
                  <c:v>32467</c:v>
                </c:pt>
                <c:pt idx="64">
                  <c:v>9174</c:v>
                </c:pt>
                <c:pt idx="65">
                  <c:v>96</c:v>
                </c:pt>
                <c:pt idx="66">
                  <c:v>27</c:v>
                </c:pt>
                <c:pt idx="67">
                  <c:v>24</c:v>
                </c:pt>
                <c:pt idx="68">
                  <c:v>40521</c:v>
                </c:pt>
                <c:pt idx="69">
                  <c:v>50190</c:v>
                </c:pt>
                <c:pt idx="70">
                  <c:v>1098</c:v>
                </c:pt>
                <c:pt idx="71">
                  <c:v>10923</c:v>
                </c:pt>
                <c:pt idx="72">
                  <c:v>14964</c:v>
                </c:pt>
                <c:pt idx="73">
                  <c:v>1998</c:v>
                </c:pt>
                <c:pt idx="74">
                  <c:v>15</c:v>
                </c:pt>
                <c:pt idx="75">
                  <c:v>42</c:v>
                </c:pt>
                <c:pt idx="76">
                  <c:v>845</c:v>
                </c:pt>
                <c:pt idx="77">
                  <c:v>24891</c:v>
                </c:pt>
                <c:pt idx="78">
                  <c:v>6259</c:v>
                </c:pt>
                <c:pt idx="79">
                  <c:v>15</c:v>
                </c:pt>
                <c:pt idx="80">
                  <c:v>18834</c:v>
                </c:pt>
                <c:pt idx="81">
                  <c:v>24637</c:v>
                </c:pt>
                <c:pt idx="82">
                  <c:v>16167</c:v>
                </c:pt>
                <c:pt idx="83">
                  <c:v>9715</c:v>
                </c:pt>
                <c:pt idx="84">
                  <c:v>2894</c:v>
                </c:pt>
                <c:pt idx="85">
                  <c:v>6</c:v>
                </c:pt>
                <c:pt idx="86">
                  <c:v>0</c:v>
                </c:pt>
                <c:pt idx="87">
                  <c:v>0</c:v>
                </c:pt>
                <c:pt idx="88">
                  <c:v>0</c:v>
                </c:pt>
                <c:pt idx="89">
                  <c:v>0</c:v>
                </c:pt>
                <c:pt idx="90">
                  <c:v>10681</c:v>
                </c:pt>
                <c:pt idx="91">
                  <c:v>13812</c:v>
                </c:pt>
                <c:pt idx="92">
                  <c:v>4483</c:v>
                </c:pt>
                <c:pt idx="93">
                  <c:v>17</c:v>
                </c:pt>
                <c:pt idx="94">
                  <c:v>38881</c:v>
                </c:pt>
                <c:pt idx="95">
                  <c:v>41220</c:v>
                </c:pt>
                <c:pt idx="96">
                  <c:v>398</c:v>
                </c:pt>
                <c:pt idx="97">
                  <c:v>22261</c:v>
                </c:pt>
                <c:pt idx="98">
                  <c:v>25702</c:v>
                </c:pt>
                <c:pt idx="99">
                  <c:v>3715</c:v>
                </c:pt>
                <c:pt idx="100">
                  <c:v>10</c:v>
                </c:pt>
                <c:pt idx="101">
                  <c:v>2</c:v>
                </c:pt>
                <c:pt idx="102">
                  <c:v>0</c:v>
                </c:pt>
                <c:pt idx="103">
                  <c:v>0</c:v>
                </c:pt>
              </c:numCache>
            </c:numRef>
          </c:val>
          <c:extLst>
            <c:ext xmlns:c16="http://schemas.microsoft.com/office/drawing/2014/chart" uri="{C3380CC4-5D6E-409C-BE32-E72D297353CC}">
              <c16:uniqueId val="{00000001-7F1C-42D6-AB69-34F16F98F945}"/>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4E00-47D8-B98F-F888755F1F0E}"/>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4E00-47D8-B98F-F888755F1F0E}"/>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56849691495307E-2"/>
          <c:y val="0.27975726895119418"/>
          <c:w val="0.96119032748959832"/>
          <c:h val="0.71045820353063349"/>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0-0F35-47AC-8F76-BEFC330A665E}"/>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1-0F35-47AC-8F76-BEFC330A665E}"/>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5424</c:v>
                </c:pt>
                <c:pt idx="1">
                  <c:v>7694</c:v>
                </c:pt>
                <c:pt idx="2">
                  <c:v>8064</c:v>
                </c:pt>
                <c:pt idx="3">
                  <c:v>6105</c:v>
                </c:pt>
                <c:pt idx="4">
                  <c:v>4306</c:v>
                </c:pt>
                <c:pt idx="5">
                  <c:v>3336</c:v>
                </c:pt>
                <c:pt idx="6">
                  <c:v>3409</c:v>
                </c:pt>
                <c:pt idx="7">
                  <c:v>3185</c:v>
                </c:pt>
                <c:pt idx="8">
                  <c:v>3633</c:v>
                </c:pt>
                <c:pt idx="9">
                  <c:v>5065</c:v>
                </c:pt>
                <c:pt idx="10">
                  <c:v>5831</c:v>
                </c:pt>
                <c:pt idx="11">
                  <c:v>6041</c:v>
                </c:pt>
                <c:pt idx="12">
                  <c:v>5872</c:v>
                </c:pt>
                <c:pt idx="13">
                  <c:v>5386</c:v>
                </c:pt>
                <c:pt idx="14">
                  <c:v>5546</c:v>
                </c:pt>
                <c:pt idx="15">
                  <c:v>5797</c:v>
                </c:pt>
                <c:pt idx="16">
                  <c:v>3841</c:v>
                </c:pt>
                <c:pt idx="17">
                  <c:v>4474</c:v>
                </c:pt>
                <c:pt idx="18">
                  <c:v>4046</c:v>
                </c:pt>
                <c:pt idx="19">
                  <c:v>5739</c:v>
                </c:pt>
                <c:pt idx="20">
                  <c:v>4628</c:v>
                </c:pt>
                <c:pt idx="21">
                  <c:v>4043</c:v>
                </c:pt>
                <c:pt idx="22">
                  <c:v>3040</c:v>
                </c:pt>
                <c:pt idx="23">
                  <c:v>3112</c:v>
                </c:pt>
                <c:pt idx="24">
                  <c:v>2948</c:v>
                </c:pt>
                <c:pt idx="25">
                  <c:v>4052</c:v>
                </c:pt>
                <c:pt idx="26">
                  <c:v>340</c:v>
                </c:pt>
                <c:pt idx="27">
                  <c:v>406</c:v>
                </c:pt>
                <c:pt idx="28">
                  <c:v>554</c:v>
                </c:pt>
                <c:pt idx="29">
                  <c:v>3932</c:v>
                </c:pt>
                <c:pt idx="30">
                  <c:v>1999</c:v>
                </c:pt>
                <c:pt idx="31">
                  <c:v>2003</c:v>
                </c:pt>
                <c:pt idx="32">
                  <c:v>1782</c:v>
                </c:pt>
                <c:pt idx="33">
                  <c:v>2538</c:v>
                </c:pt>
                <c:pt idx="34">
                  <c:v>2795</c:v>
                </c:pt>
                <c:pt idx="35">
                  <c:v>3057</c:v>
                </c:pt>
                <c:pt idx="36">
                  <c:v>3241</c:v>
                </c:pt>
                <c:pt idx="37">
                  <c:v>2863</c:v>
                </c:pt>
                <c:pt idx="38">
                  <c:v>1742</c:v>
                </c:pt>
                <c:pt idx="39">
                  <c:v>1306</c:v>
                </c:pt>
                <c:pt idx="40">
                  <c:v>1600</c:v>
                </c:pt>
                <c:pt idx="41">
                  <c:v>3084</c:v>
                </c:pt>
                <c:pt idx="42">
                  <c:v>3587</c:v>
                </c:pt>
                <c:pt idx="43">
                  <c:v>3988</c:v>
                </c:pt>
                <c:pt idx="44">
                  <c:v>4116</c:v>
                </c:pt>
                <c:pt idx="45">
                  <c:v>4336</c:v>
                </c:pt>
                <c:pt idx="46">
                  <c:v>4213</c:v>
                </c:pt>
                <c:pt idx="47">
                  <c:v>4087</c:v>
                </c:pt>
                <c:pt idx="48">
                  <c:v>3314</c:v>
                </c:pt>
                <c:pt idx="49">
                  <c:v>3821</c:v>
                </c:pt>
                <c:pt idx="50">
                  <c:v>1905</c:v>
                </c:pt>
                <c:pt idx="51">
                  <c:v>4601</c:v>
                </c:pt>
                <c:pt idx="52">
                  <c:v>4532</c:v>
                </c:pt>
                <c:pt idx="53">
                  <c:v>4419</c:v>
                </c:pt>
                <c:pt idx="54">
                  <c:v>2489</c:v>
                </c:pt>
                <c:pt idx="55">
                  <c:v>2345</c:v>
                </c:pt>
                <c:pt idx="56">
                  <c:v>3038</c:v>
                </c:pt>
                <c:pt idx="57">
                  <c:v>4255</c:v>
                </c:pt>
                <c:pt idx="58">
                  <c:v>2925</c:v>
                </c:pt>
                <c:pt idx="59">
                  <c:v>2021</c:v>
                </c:pt>
                <c:pt idx="60">
                  <c:v>2115</c:v>
                </c:pt>
                <c:pt idx="61">
                  <c:v>4184</c:v>
                </c:pt>
                <c:pt idx="62">
                  <c:v>4940</c:v>
                </c:pt>
                <c:pt idx="63">
                  <c:v>5689</c:v>
                </c:pt>
                <c:pt idx="64">
                  <c:v>4866</c:v>
                </c:pt>
                <c:pt idx="65">
                  <c:v>4303</c:v>
                </c:pt>
                <c:pt idx="66">
                  <c:v>796</c:v>
                </c:pt>
                <c:pt idx="67">
                  <c:v>1015</c:v>
                </c:pt>
                <c:pt idx="68">
                  <c:v>575</c:v>
                </c:pt>
                <c:pt idx="69">
                  <c:v>4545</c:v>
                </c:pt>
                <c:pt idx="70">
                  <c:v>4789</c:v>
                </c:pt>
                <c:pt idx="71">
                  <c:v>4266</c:v>
                </c:pt>
                <c:pt idx="72">
                  <c:v>2262</c:v>
                </c:pt>
                <c:pt idx="73">
                  <c:v>2375</c:v>
                </c:pt>
                <c:pt idx="74">
                  <c:v>2028</c:v>
                </c:pt>
                <c:pt idx="75">
                  <c:v>2504</c:v>
                </c:pt>
                <c:pt idx="76">
                  <c:v>2759</c:v>
                </c:pt>
                <c:pt idx="77">
                  <c:v>1963</c:v>
                </c:pt>
                <c:pt idx="78">
                  <c:v>4173</c:v>
                </c:pt>
                <c:pt idx="79">
                  <c:v>2978</c:v>
                </c:pt>
                <c:pt idx="80">
                  <c:v>1941</c:v>
                </c:pt>
                <c:pt idx="81">
                  <c:v>1887</c:v>
                </c:pt>
                <c:pt idx="82">
                  <c:v>2078</c:v>
                </c:pt>
                <c:pt idx="83">
                  <c:v>3320</c:v>
                </c:pt>
                <c:pt idx="84">
                  <c:v>3041</c:v>
                </c:pt>
                <c:pt idx="85">
                  <c:v>2780</c:v>
                </c:pt>
                <c:pt idx="86">
                  <c:v>2988</c:v>
                </c:pt>
                <c:pt idx="87">
                  <c:v>2273</c:v>
                </c:pt>
                <c:pt idx="88">
                  <c:v>2301</c:v>
                </c:pt>
                <c:pt idx="89">
                  <c:v>2298</c:v>
                </c:pt>
                <c:pt idx="90">
                  <c:v>2674</c:v>
                </c:pt>
                <c:pt idx="91">
                  <c:v>2660</c:v>
                </c:pt>
                <c:pt idx="92">
                  <c:v>2819</c:v>
                </c:pt>
                <c:pt idx="93">
                  <c:v>2652</c:v>
                </c:pt>
                <c:pt idx="94">
                  <c:v>2536</c:v>
                </c:pt>
                <c:pt idx="95">
                  <c:v>2688</c:v>
                </c:pt>
                <c:pt idx="96">
                  <c:v>2415</c:v>
                </c:pt>
                <c:pt idx="97">
                  <c:v>2043</c:v>
                </c:pt>
                <c:pt idx="98">
                  <c:v>2222</c:v>
                </c:pt>
                <c:pt idx="99">
                  <c:v>2956</c:v>
                </c:pt>
                <c:pt idx="100">
                  <c:v>436</c:v>
                </c:pt>
                <c:pt idx="101">
                  <c:v>545</c:v>
                </c:pt>
                <c:pt idx="102">
                  <c:v>411</c:v>
                </c:pt>
                <c:pt idx="103">
                  <c:v>2657</c:v>
                </c:pt>
              </c:numCache>
            </c:numRef>
          </c:val>
          <c:extLst>
            <c:ext xmlns:c16="http://schemas.microsoft.com/office/drawing/2014/chart" uri="{C3380CC4-5D6E-409C-BE32-E72D297353CC}">
              <c16:uniqueId val="{00000000-F61D-48BC-8F2C-2427BC9DB9F7}"/>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788</c:v>
                </c:pt>
                <c:pt idx="1">
                  <c:v>10958</c:v>
                </c:pt>
                <c:pt idx="2">
                  <c:v>13555</c:v>
                </c:pt>
                <c:pt idx="3">
                  <c:v>12297</c:v>
                </c:pt>
                <c:pt idx="4">
                  <c:v>11165</c:v>
                </c:pt>
                <c:pt idx="5">
                  <c:v>8783</c:v>
                </c:pt>
                <c:pt idx="6">
                  <c:v>9989</c:v>
                </c:pt>
                <c:pt idx="7">
                  <c:v>5529</c:v>
                </c:pt>
                <c:pt idx="8">
                  <c:v>6362</c:v>
                </c:pt>
                <c:pt idx="9">
                  <c:v>5893</c:v>
                </c:pt>
                <c:pt idx="10">
                  <c:v>2544</c:v>
                </c:pt>
                <c:pt idx="11">
                  <c:v>225</c:v>
                </c:pt>
                <c:pt idx="12">
                  <c:v>584</c:v>
                </c:pt>
                <c:pt idx="13">
                  <c:v>546</c:v>
                </c:pt>
                <c:pt idx="14">
                  <c:v>178</c:v>
                </c:pt>
                <c:pt idx="15">
                  <c:v>26</c:v>
                </c:pt>
                <c:pt idx="16">
                  <c:v>16345</c:v>
                </c:pt>
                <c:pt idx="17">
                  <c:v>18415</c:v>
                </c:pt>
                <c:pt idx="18">
                  <c:v>6514</c:v>
                </c:pt>
                <c:pt idx="19">
                  <c:v>96</c:v>
                </c:pt>
                <c:pt idx="20">
                  <c:v>4622</c:v>
                </c:pt>
                <c:pt idx="21">
                  <c:v>6267</c:v>
                </c:pt>
                <c:pt idx="22">
                  <c:v>8289</c:v>
                </c:pt>
                <c:pt idx="23">
                  <c:v>8461</c:v>
                </c:pt>
                <c:pt idx="24">
                  <c:v>3085</c:v>
                </c:pt>
                <c:pt idx="25">
                  <c:v>202</c:v>
                </c:pt>
                <c:pt idx="26">
                  <c:v>13498</c:v>
                </c:pt>
                <c:pt idx="27">
                  <c:v>17015</c:v>
                </c:pt>
                <c:pt idx="28">
                  <c:v>7966</c:v>
                </c:pt>
                <c:pt idx="29">
                  <c:v>43</c:v>
                </c:pt>
                <c:pt idx="30">
                  <c:v>8668</c:v>
                </c:pt>
                <c:pt idx="31">
                  <c:v>9714</c:v>
                </c:pt>
                <c:pt idx="32">
                  <c:v>5639</c:v>
                </c:pt>
                <c:pt idx="33">
                  <c:v>2928</c:v>
                </c:pt>
                <c:pt idx="34">
                  <c:v>1384</c:v>
                </c:pt>
                <c:pt idx="35">
                  <c:v>312</c:v>
                </c:pt>
                <c:pt idx="36">
                  <c:v>527</c:v>
                </c:pt>
                <c:pt idx="37">
                  <c:v>554</c:v>
                </c:pt>
                <c:pt idx="38">
                  <c:v>7510</c:v>
                </c:pt>
                <c:pt idx="39">
                  <c:v>10610</c:v>
                </c:pt>
                <c:pt idx="40">
                  <c:v>3797</c:v>
                </c:pt>
                <c:pt idx="41">
                  <c:v>108</c:v>
                </c:pt>
                <c:pt idx="42">
                  <c:v>112</c:v>
                </c:pt>
                <c:pt idx="43">
                  <c:v>120</c:v>
                </c:pt>
                <c:pt idx="44">
                  <c:v>64</c:v>
                </c:pt>
                <c:pt idx="45">
                  <c:v>76</c:v>
                </c:pt>
                <c:pt idx="46">
                  <c:v>54</c:v>
                </c:pt>
                <c:pt idx="47">
                  <c:v>52</c:v>
                </c:pt>
                <c:pt idx="48">
                  <c:v>12536</c:v>
                </c:pt>
                <c:pt idx="49">
                  <c:v>16121</c:v>
                </c:pt>
                <c:pt idx="50">
                  <c:v>7616</c:v>
                </c:pt>
                <c:pt idx="51">
                  <c:v>25</c:v>
                </c:pt>
                <c:pt idx="52">
                  <c:v>45</c:v>
                </c:pt>
                <c:pt idx="53">
                  <c:v>22</c:v>
                </c:pt>
                <c:pt idx="54">
                  <c:v>13220</c:v>
                </c:pt>
                <c:pt idx="55">
                  <c:v>12617</c:v>
                </c:pt>
                <c:pt idx="56">
                  <c:v>3521</c:v>
                </c:pt>
                <c:pt idx="57">
                  <c:v>56</c:v>
                </c:pt>
                <c:pt idx="58">
                  <c:v>4188</c:v>
                </c:pt>
                <c:pt idx="59">
                  <c:v>4176</c:v>
                </c:pt>
                <c:pt idx="60">
                  <c:v>5584</c:v>
                </c:pt>
                <c:pt idx="61">
                  <c:v>8227</c:v>
                </c:pt>
                <c:pt idx="62">
                  <c:v>2884</c:v>
                </c:pt>
                <c:pt idx="63">
                  <c:v>172</c:v>
                </c:pt>
                <c:pt idx="64">
                  <c:v>167</c:v>
                </c:pt>
                <c:pt idx="65">
                  <c:v>111</c:v>
                </c:pt>
                <c:pt idx="66">
                  <c:v>19061</c:v>
                </c:pt>
                <c:pt idx="67">
                  <c:v>22806</c:v>
                </c:pt>
                <c:pt idx="68">
                  <c:v>10136</c:v>
                </c:pt>
                <c:pt idx="69">
                  <c:v>275</c:v>
                </c:pt>
                <c:pt idx="70">
                  <c:v>263</c:v>
                </c:pt>
                <c:pt idx="71">
                  <c:v>280</c:v>
                </c:pt>
                <c:pt idx="72">
                  <c:v>5159</c:v>
                </c:pt>
                <c:pt idx="73">
                  <c:v>7463</c:v>
                </c:pt>
                <c:pt idx="74">
                  <c:v>6894</c:v>
                </c:pt>
                <c:pt idx="75">
                  <c:v>5402</c:v>
                </c:pt>
                <c:pt idx="76">
                  <c:v>6667</c:v>
                </c:pt>
                <c:pt idx="77">
                  <c:v>4448</c:v>
                </c:pt>
                <c:pt idx="78">
                  <c:v>2013</c:v>
                </c:pt>
                <c:pt idx="79">
                  <c:v>87</c:v>
                </c:pt>
                <c:pt idx="80">
                  <c:v>7287</c:v>
                </c:pt>
                <c:pt idx="81">
                  <c:v>10948</c:v>
                </c:pt>
                <c:pt idx="82">
                  <c:v>3570</c:v>
                </c:pt>
                <c:pt idx="83">
                  <c:v>38</c:v>
                </c:pt>
                <c:pt idx="84">
                  <c:v>10</c:v>
                </c:pt>
                <c:pt idx="85">
                  <c:v>10</c:v>
                </c:pt>
                <c:pt idx="86">
                  <c:v>703</c:v>
                </c:pt>
                <c:pt idx="87">
                  <c:v>3282</c:v>
                </c:pt>
                <c:pt idx="88">
                  <c:v>3401</c:v>
                </c:pt>
                <c:pt idx="89">
                  <c:v>1288</c:v>
                </c:pt>
                <c:pt idx="90">
                  <c:v>42</c:v>
                </c:pt>
                <c:pt idx="91">
                  <c:v>34</c:v>
                </c:pt>
                <c:pt idx="92">
                  <c:v>10</c:v>
                </c:pt>
                <c:pt idx="93">
                  <c:v>8</c:v>
                </c:pt>
                <c:pt idx="94">
                  <c:v>11610</c:v>
                </c:pt>
                <c:pt idx="95">
                  <c:v>13969</c:v>
                </c:pt>
                <c:pt idx="96">
                  <c:v>4174</c:v>
                </c:pt>
                <c:pt idx="97">
                  <c:v>9270</c:v>
                </c:pt>
                <c:pt idx="98">
                  <c:v>3242</c:v>
                </c:pt>
                <c:pt idx="99">
                  <c:v>0</c:v>
                </c:pt>
                <c:pt idx="100">
                  <c:v>9868</c:v>
                </c:pt>
                <c:pt idx="101">
                  <c:v>12410</c:v>
                </c:pt>
                <c:pt idx="102">
                  <c:v>5436</c:v>
                </c:pt>
                <c:pt idx="103">
                  <c:v>45</c:v>
                </c:pt>
              </c:numCache>
            </c:numRef>
          </c:val>
          <c:extLst>
            <c:ext xmlns:c16="http://schemas.microsoft.com/office/drawing/2014/chart" uri="{C3380CC4-5D6E-409C-BE32-E72D297353CC}">
              <c16:uniqueId val="{00000001-F61D-48BC-8F2C-2427BC9DB9F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0810</c:v>
                </c:pt>
                <c:pt idx="1">
                  <c:v>10089</c:v>
                </c:pt>
                <c:pt idx="2">
                  <c:v>5121</c:v>
                </c:pt>
                <c:pt idx="3">
                  <c:v>7276</c:v>
                </c:pt>
                <c:pt idx="4">
                  <c:v>8916</c:v>
                </c:pt>
                <c:pt idx="5">
                  <c:v>9411</c:v>
                </c:pt>
                <c:pt idx="6">
                  <c:v>8041</c:v>
                </c:pt>
                <c:pt idx="7">
                  <c:v>8669</c:v>
                </c:pt>
                <c:pt idx="8">
                  <c:v>11931</c:v>
                </c:pt>
                <c:pt idx="9">
                  <c:v>8121</c:v>
                </c:pt>
                <c:pt idx="10">
                  <c:v>4572</c:v>
                </c:pt>
                <c:pt idx="11">
                  <c:v>8127</c:v>
                </c:pt>
                <c:pt idx="12">
                  <c:v>9262</c:v>
                </c:pt>
                <c:pt idx="13">
                  <c:v>8141</c:v>
                </c:pt>
                <c:pt idx="14">
                  <c:v>9018</c:v>
                </c:pt>
                <c:pt idx="15">
                  <c:v>9003</c:v>
                </c:pt>
                <c:pt idx="16">
                  <c:v>6797</c:v>
                </c:pt>
                <c:pt idx="17">
                  <c:v>4823</c:v>
                </c:pt>
                <c:pt idx="18">
                  <c:v>8083</c:v>
                </c:pt>
                <c:pt idx="19">
                  <c:v>11032</c:v>
                </c:pt>
                <c:pt idx="20">
                  <c:v>10107</c:v>
                </c:pt>
                <c:pt idx="21">
                  <c:v>8418</c:v>
                </c:pt>
                <c:pt idx="22">
                  <c:v>5994</c:v>
                </c:pt>
                <c:pt idx="23">
                  <c:v>7599</c:v>
                </c:pt>
                <c:pt idx="24">
                  <c:v>5115</c:v>
                </c:pt>
                <c:pt idx="25">
                  <c:v>3805</c:v>
                </c:pt>
                <c:pt idx="26">
                  <c:v>6006</c:v>
                </c:pt>
                <c:pt idx="27">
                  <c:v>7379</c:v>
                </c:pt>
                <c:pt idx="28">
                  <c:v>7123</c:v>
                </c:pt>
                <c:pt idx="29">
                  <c:v>7142</c:v>
                </c:pt>
                <c:pt idx="30">
                  <c:v>6877</c:v>
                </c:pt>
                <c:pt idx="31">
                  <c:v>6220</c:v>
                </c:pt>
                <c:pt idx="32">
                  <c:v>5853</c:v>
                </c:pt>
                <c:pt idx="33">
                  <c:v>6009</c:v>
                </c:pt>
                <c:pt idx="34">
                  <c:v>5303</c:v>
                </c:pt>
                <c:pt idx="35">
                  <c:v>5357</c:v>
                </c:pt>
                <c:pt idx="36">
                  <c:v>4769</c:v>
                </c:pt>
                <c:pt idx="37">
                  <c:v>2497</c:v>
                </c:pt>
                <c:pt idx="38">
                  <c:v>3398</c:v>
                </c:pt>
                <c:pt idx="39">
                  <c:v>3621</c:v>
                </c:pt>
                <c:pt idx="40">
                  <c:v>3879</c:v>
                </c:pt>
                <c:pt idx="41">
                  <c:v>4732</c:v>
                </c:pt>
                <c:pt idx="42">
                  <c:v>7308</c:v>
                </c:pt>
                <c:pt idx="43">
                  <c:v>9036</c:v>
                </c:pt>
                <c:pt idx="44">
                  <c:v>10084</c:v>
                </c:pt>
                <c:pt idx="45">
                  <c:v>9083</c:v>
                </c:pt>
                <c:pt idx="46">
                  <c:v>5482</c:v>
                </c:pt>
                <c:pt idx="47">
                  <c:v>3778</c:v>
                </c:pt>
                <c:pt idx="48">
                  <c:v>7809</c:v>
                </c:pt>
                <c:pt idx="49">
                  <c:v>7739</c:v>
                </c:pt>
                <c:pt idx="50">
                  <c:v>7596</c:v>
                </c:pt>
                <c:pt idx="51">
                  <c:v>6196</c:v>
                </c:pt>
                <c:pt idx="52">
                  <c:v>5910</c:v>
                </c:pt>
                <c:pt idx="53">
                  <c:v>3695</c:v>
                </c:pt>
                <c:pt idx="54">
                  <c:v>6430</c:v>
                </c:pt>
                <c:pt idx="55">
                  <c:v>8035</c:v>
                </c:pt>
                <c:pt idx="56">
                  <c:v>7611</c:v>
                </c:pt>
                <c:pt idx="57">
                  <c:v>9039</c:v>
                </c:pt>
                <c:pt idx="58">
                  <c:v>8087</c:v>
                </c:pt>
                <c:pt idx="59">
                  <c:v>8932</c:v>
                </c:pt>
                <c:pt idx="60">
                  <c:v>8868</c:v>
                </c:pt>
                <c:pt idx="61">
                  <c:v>13093</c:v>
                </c:pt>
                <c:pt idx="62">
                  <c:v>8128</c:v>
                </c:pt>
                <c:pt idx="63">
                  <c:v>4890</c:v>
                </c:pt>
                <c:pt idx="64">
                  <c:v>6845</c:v>
                </c:pt>
                <c:pt idx="65">
                  <c:v>8260</c:v>
                </c:pt>
                <c:pt idx="66">
                  <c:v>8951</c:v>
                </c:pt>
                <c:pt idx="67">
                  <c:v>9377</c:v>
                </c:pt>
                <c:pt idx="68">
                  <c:v>7130</c:v>
                </c:pt>
                <c:pt idx="69">
                  <c:v>4881</c:v>
                </c:pt>
                <c:pt idx="70">
                  <c:v>8326</c:v>
                </c:pt>
                <c:pt idx="71">
                  <c:v>6489</c:v>
                </c:pt>
                <c:pt idx="72">
                  <c:v>6081</c:v>
                </c:pt>
                <c:pt idx="73">
                  <c:v>7404</c:v>
                </c:pt>
                <c:pt idx="74">
                  <c:v>7204</c:v>
                </c:pt>
                <c:pt idx="75">
                  <c:v>8013</c:v>
                </c:pt>
                <c:pt idx="76">
                  <c:v>6689</c:v>
                </c:pt>
                <c:pt idx="77">
                  <c:v>6812</c:v>
                </c:pt>
                <c:pt idx="78">
                  <c:v>6117</c:v>
                </c:pt>
                <c:pt idx="79">
                  <c:v>6225</c:v>
                </c:pt>
                <c:pt idx="80">
                  <c:v>3929</c:v>
                </c:pt>
                <c:pt idx="81">
                  <c:v>2740</c:v>
                </c:pt>
                <c:pt idx="82">
                  <c:v>4127</c:v>
                </c:pt>
                <c:pt idx="83">
                  <c:v>4589</c:v>
                </c:pt>
                <c:pt idx="84">
                  <c:v>4916</c:v>
                </c:pt>
                <c:pt idx="85">
                  <c:v>5241</c:v>
                </c:pt>
                <c:pt idx="86">
                  <c:v>5137</c:v>
                </c:pt>
                <c:pt idx="87">
                  <c:v>5001</c:v>
                </c:pt>
                <c:pt idx="88">
                  <c:v>4319</c:v>
                </c:pt>
                <c:pt idx="89">
                  <c:v>4010</c:v>
                </c:pt>
                <c:pt idx="90">
                  <c:v>2753</c:v>
                </c:pt>
                <c:pt idx="91">
                  <c:v>1734</c:v>
                </c:pt>
                <c:pt idx="92">
                  <c:v>3341</c:v>
                </c:pt>
                <c:pt idx="93">
                  <c:v>5772</c:v>
                </c:pt>
                <c:pt idx="94">
                  <c:v>5197</c:v>
                </c:pt>
                <c:pt idx="95">
                  <c:v>3434</c:v>
                </c:pt>
                <c:pt idx="96">
                  <c:v>7685</c:v>
                </c:pt>
                <c:pt idx="97">
                  <c:v>4914</c:v>
                </c:pt>
                <c:pt idx="98">
                  <c:v>2971</c:v>
                </c:pt>
                <c:pt idx="99">
                  <c:v>5204</c:v>
                </c:pt>
                <c:pt idx="100">
                  <c:v>5523</c:v>
                </c:pt>
                <c:pt idx="101">
                  <c:v>5494</c:v>
                </c:pt>
                <c:pt idx="102">
                  <c:v>5440</c:v>
                </c:pt>
                <c:pt idx="103">
                  <c:v>9116</c:v>
                </c:pt>
              </c:numCache>
            </c:numRef>
          </c:val>
          <c:extLst>
            <c:ext xmlns:c16="http://schemas.microsoft.com/office/drawing/2014/chart" uri="{C3380CC4-5D6E-409C-BE32-E72D297353CC}">
              <c16:uniqueId val="{00000000-6F53-47D1-94A7-6E320397265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0</c:v>
                </c:pt>
                <c:pt idx="1">
                  <c:v>1916</c:v>
                </c:pt>
                <c:pt idx="2">
                  <c:v>37396</c:v>
                </c:pt>
                <c:pt idx="3">
                  <c:v>12228</c:v>
                </c:pt>
                <c:pt idx="4">
                  <c:v>142</c:v>
                </c:pt>
                <c:pt idx="5">
                  <c:v>1</c:v>
                </c:pt>
                <c:pt idx="6">
                  <c:v>0</c:v>
                </c:pt>
                <c:pt idx="7">
                  <c:v>0</c:v>
                </c:pt>
                <c:pt idx="8">
                  <c:v>0</c:v>
                </c:pt>
                <c:pt idx="9">
                  <c:v>40819</c:v>
                </c:pt>
                <c:pt idx="10">
                  <c:v>42168</c:v>
                </c:pt>
                <c:pt idx="11">
                  <c:v>6578</c:v>
                </c:pt>
                <c:pt idx="12">
                  <c:v>17192</c:v>
                </c:pt>
                <c:pt idx="13">
                  <c:v>21303</c:v>
                </c:pt>
                <c:pt idx="14">
                  <c:v>7461</c:v>
                </c:pt>
                <c:pt idx="15">
                  <c:v>43</c:v>
                </c:pt>
                <c:pt idx="16">
                  <c:v>35829</c:v>
                </c:pt>
                <c:pt idx="17">
                  <c:v>44812</c:v>
                </c:pt>
                <c:pt idx="18">
                  <c:v>14043</c:v>
                </c:pt>
                <c:pt idx="19">
                  <c:v>60</c:v>
                </c:pt>
                <c:pt idx="20">
                  <c:v>1</c:v>
                </c:pt>
                <c:pt idx="21">
                  <c:v>18875</c:v>
                </c:pt>
                <c:pt idx="22">
                  <c:v>19234</c:v>
                </c:pt>
                <c:pt idx="23">
                  <c:v>2616</c:v>
                </c:pt>
                <c:pt idx="24">
                  <c:v>20182</c:v>
                </c:pt>
                <c:pt idx="25">
                  <c:v>31984</c:v>
                </c:pt>
                <c:pt idx="26">
                  <c:v>10227</c:v>
                </c:pt>
                <c:pt idx="27">
                  <c:v>18</c:v>
                </c:pt>
                <c:pt idx="28">
                  <c:v>2</c:v>
                </c:pt>
                <c:pt idx="29">
                  <c:v>6</c:v>
                </c:pt>
                <c:pt idx="30">
                  <c:v>0</c:v>
                </c:pt>
                <c:pt idx="31">
                  <c:v>0</c:v>
                </c:pt>
                <c:pt idx="32">
                  <c:v>0</c:v>
                </c:pt>
                <c:pt idx="33">
                  <c:v>8404</c:v>
                </c:pt>
                <c:pt idx="34">
                  <c:v>9887</c:v>
                </c:pt>
                <c:pt idx="35">
                  <c:v>3098</c:v>
                </c:pt>
                <c:pt idx="36">
                  <c:v>843</c:v>
                </c:pt>
                <c:pt idx="37">
                  <c:v>19596</c:v>
                </c:pt>
                <c:pt idx="38">
                  <c:v>7044</c:v>
                </c:pt>
                <c:pt idx="39">
                  <c:v>13</c:v>
                </c:pt>
                <c:pt idx="40">
                  <c:v>7657</c:v>
                </c:pt>
                <c:pt idx="41">
                  <c:v>13687</c:v>
                </c:pt>
                <c:pt idx="42">
                  <c:v>5078</c:v>
                </c:pt>
                <c:pt idx="43">
                  <c:v>39</c:v>
                </c:pt>
                <c:pt idx="44">
                  <c:v>2</c:v>
                </c:pt>
                <c:pt idx="45">
                  <c:v>5</c:v>
                </c:pt>
                <c:pt idx="46">
                  <c:v>41369</c:v>
                </c:pt>
                <c:pt idx="47">
                  <c:v>45452</c:v>
                </c:pt>
                <c:pt idx="48">
                  <c:v>446</c:v>
                </c:pt>
                <c:pt idx="49">
                  <c:v>13</c:v>
                </c:pt>
                <c:pt idx="50">
                  <c:v>1</c:v>
                </c:pt>
                <c:pt idx="51">
                  <c:v>14926</c:v>
                </c:pt>
                <c:pt idx="52">
                  <c:v>19078</c:v>
                </c:pt>
                <c:pt idx="53">
                  <c:v>29930</c:v>
                </c:pt>
                <c:pt idx="54">
                  <c:v>9386</c:v>
                </c:pt>
                <c:pt idx="55">
                  <c:v>185</c:v>
                </c:pt>
                <c:pt idx="56">
                  <c:v>2043</c:v>
                </c:pt>
                <c:pt idx="57">
                  <c:v>759</c:v>
                </c:pt>
                <c:pt idx="58">
                  <c:v>3</c:v>
                </c:pt>
                <c:pt idx="59">
                  <c:v>1367</c:v>
                </c:pt>
                <c:pt idx="60">
                  <c:v>3691</c:v>
                </c:pt>
                <c:pt idx="61">
                  <c:v>143</c:v>
                </c:pt>
                <c:pt idx="62">
                  <c:v>25495</c:v>
                </c:pt>
                <c:pt idx="63">
                  <c:v>32467</c:v>
                </c:pt>
                <c:pt idx="64">
                  <c:v>9174</c:v>
                </c:pt>
                <c:pt idx="65">
                  <c:v>96</c:v>
                </c:pt>
                <c:pt idx="66">
                  <c:v>27</c:v>
                </c:pt>
                <c:pt idx="67">
                  <c:v>24</c:v>
                </c:pt>
                <c:pt idx="68">
                  <c:v>40521</c:v>
                </c:pt>
                <c:pt idx="69">
                  <c:v>50190</c:v>
                </c:pt>
                <c:pt idx="70">
                  <c:v>1098</c:v>
                </c:pt>
                <c:pt idx="71">
                  <c:v>10923</c:v>
                </c:pt>
                <c:pt idx="72">
                  <c:v>14964</c:v>
                </c:pt>
                <c:pt idx="73">
                  <c:v>1998</c:v>
                </c:pt>
                <c:pt idx="74">
                  <c:v>15</c:v>
                </c:pt>
                <c:pt idx="75">
                  <c:v>42</c:v>
                </c:pt>
                <c:pt idx="76">
                  <c:v>845</c:v>
                </c:pt>
                <c:pt idx="77">
                  <c:v>24891</c:v>
                </c:pt>
                <c:pt idx="78">
                  <c:v>6259</c:v>
                </c:pt>
                <c:pt idx="79">
                  <c:v>15</c:v>
                </c:pt>
                <c:pt idx="80">
                  <c:v>18834</c:v>
                </c:pt>
                <c:pt idx="81">
                  <c:v>24637</c:v>
                </c:pt>
                <c:pt idx="82">
                  <c:v>16167</c:v>
                </c:pt>
                <c:pt idx="83">
                  <c:v>9715</c:v>
                </c:pt>
                <c:pt idx="84">
                  <c:v>2894</c:v>
                </c:pt>
                <c:pt idx="85">
                  <c:v>6</c:v>
                </c:pt>
                <c:pt idx="86">
                  <c:v>0</c:v>
                </c:pt>
                <c:pt idx="87">
                  <c:v>0</c:v>
                </c:pt>
                <c:pt idx="88">
                  <c:v>0</c:v>
                </c:pt>
                <c:pt idx="89">
                  <c:v>0</c:v>
                </c:pt>
                <c:pt idx="90">
                  <c:v>10681</c:v>
                </c:pt>
                <c:pt idx="91">
                  <c:v>13812</c:v>
                </c:pt>
                <c:pt idx="92">
                  <c:v>4483</c:v>
                </c:pt>
                <c:pt idx="93">
                  <c:v>17</c:v>
                </c:pt>
                <c:pt idx="94">
                  <c:v>38881</c:v>
                </c:pt>
                <c:pt idx="95">
                  <c:v>41220</c:v>
                </c:pt>
                <c:pt idx="96">
                  <c:v>398</c:v>
                </c:pt>
                <c:pt idx="97">
                  <c:v>22261</c:v>
                </c:pt>
                <c:pt idx="98">
                  <c:v>25702</c:v>
                </c:pt>
                <c:pt idx="99">
                  <c:v>3715</c:v>
                </c:pt>
                <c:pt idx="100">
                  <c:v>10</c:v>
                </c:pt>
                <c:pt idx="101">
                  <c:v>2</c:v>
                </c:pt>
                <c:pt idx="102">
                  <c:v>0</c:v>
                </c:pt>
                <c:pt idx="103">
                  <c:v>0</c:v>
                </c:pt>
              </c:numCache>
            </c:numRef>
          </c:val>
          <c:extLst>
            <c:ext xmlns:c16="http://schemas.microsoft.com/office/drawing/2014/chart" uri="{C3380CC4-5D6E-409C-BE32-E72D297353CC}">
              <c16:uniqueId val="{00000001-6F53-47D1-94A7-6E320397265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DD3D-4642-97D9-E9DEC2D41E77}"/>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DD3D-4642-97D9-E9DEC2D41E7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1-E3C4-46BC-AA3D-A3795B7CC7B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38621105571207E-2"/>
          <c:y val="0.22640674019619741"/>
          <c:w val="0.96604631207450631"/>
          <c:h val="0.76380960518739549"/>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0-2A09-4FFC-9D4D-9CC3F6B2DEDD}"/>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1-2A09-4FFC-9D4D-9CC3F6B2DEDD}"/>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11845961320117E-2"/>
          <c:y val="0"/>
          <c:w val="0.96437630807735975"/>
          <c:h val="0.85225155098855032"/>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0810</c:v>
                </c:pt>
                <c:pt idx="1">
                  <c:v>10089</c:v>
                </c:pt>
                <c:pt idx="2">
                  <c:v>5121</c:v>
                </c:pt>
                <c:pt idx="3">
                  <c:v>7276</c:v>
                </c:pt>
                <c:pt idx="4">
                  <c:v>8916</c:v>
                </c:pt>
                <c:pt idx="5">
                  <c:v>9411</c:v>
                </c:pt>
                <c:pt idx="6">
                  <c:v>8041</c:v>
                </c:pt>
                <c:pt idx="7">
                  <c:v>8669</c:v>
                </c:pt>
                <c:pt idx="8">
                  <c:v>11931</c:v>
                </c:pt>
                <c:pt idx="9">
                  <c:v>8121</c:v>
                </c:pt>
                <c:pt idx="10">
                  <c:v>4572</c:v>
                </c:pt>
                <c:pt idx="11">
                  <c:v>8127</c:v>
                </c:pt>
                <c:pt idx="12">
                  <c:v>9262</c:v>
                </c:pt>
                <c:pt idx="13">
                  <c:v>8141</c:v>
                </c:pt>
                <c:pt idx="14">
                  <c:v>9018</c:v>
                </c:pt>
                <c:pt idx="15">
                  <c:v>9003</c:v>
                </c:pt>
                <c:pt idx="16">
                  <c:v>6797</c:v>
                </c:pt>
                <c:pt idx="17">
                  <c:v>4823</c:v>
                </c:pt>
                <c:pt idx="18">
                  <c:v>8083</c:v>
                </c:pt>
                <c:pt idx="19">
                  <c:v>11032</c:v>
                </c:pt>
                <c:pt idx="20">
                  <c:v>10107</c:v>
                </c:pt>
                <c:pt idx="21">
                  <c:v>8418</c:v>
                </c:pt>
                <c:pt idx="22">
                  <c:v>5994</c:v>
                </c:pt>
                <c:pt idx="23">
                  <c:v>7599</c:v>
                </c:pt>
                <c:pt idx="24">
                  <c:v>5115</c:v>
                </c:pt>
                <c:pt idx="25">
                  <c:v>3805</c:v>
                </c:pt>
                <c:pt idx="26">
                  <c:v>6006</c:v>
                </c:pt>
                <c:pt idx="27">
                  <c:v>7379</c:v>
                </c:pt>
                <c:pt idx="28">
                  <c:v>7123</c:v>
                </c:pt>
                <c:pt idx="29">
                  <c:v>7142</c:v>
                </c:pt>
                <c:pt idx="30">
                  <c:v>6877</c:v>
                </c:pt>
                <c:pt idx="31">
                  <c:v>6220</c:v>
                </c:pt>
                <c:pt idx="32">
                  <c:v>5853</c:v>
                </c:pt>
                <c:pt idx="33">
                  <c:v>6009</c:v>
                </c:pt>
                <c:pt idx="34">
                  <c:v>5303</c:v>
                </c:pt>
                <c:pt idx="35">
                  <c:v>5357</c:v>
                </c:pt>
                <c:pt idx="36">
                  <c:v>4769</c:v>
                </c:pt>
                <c:pt idx="37">
                  <c:v>2497</c:v>
                </c:pt>
                <c:pt idx="38">
                  <c:v>3398</c:v>
                </c:pt>
                <c:pt idx="39">
                  <c:v>3621</c:v>
                </c:pt>
                <c:pt idx="40">
                  <c:v>3879</c:v>
                </c:pt>
                <c:pt idx="41">
                  <c:v>4732</c:v>
                </c:pt>
                <c:pt idx="42">
                  <c:v>7308</c:v>
                </c:pt>
                <c:pt idx="43">
                  <c:v>9036</c:v>
                </c:pt>
                <c:pt idx="44">
                  <c:v>10084</c:v>
                </c:pt>
                <c:pt idx="45">
                  <c:v>9083</c:v>
                </c:pt>
                <c:pt idx="46">
                  <c:v>5482</c:v>
                </c:pt>
                <c:pt idx="47">
                  <c:v>3778</c:v>
                </c:pt>
                <c:pt idx="48">
                  <c:v>7809</c:v>
                </c:pt>
                <c:pt idx="49">
                  <c:v>7739</c:v>
                </c:pt>
                <c:pt idx="50">
                  <c:v>7596</c:v>
                </c:pt>
                <c:pt idx="51">
                  <c:v>6196</c:v>
                </c:pt>
                <c:pt idx="52">
                  <c:v>5910</c:v>
                </c:pt>
                <c:pt idx="53">
                  <c:v>3695</c:v>
                </c:pt>
                <c:pt idx="54">
                  <c:v>6430</c:v>
                </c:pt>
                <c:pt idx="55">
                  <c:v>8035</c:v>
                </c:pt>
                <c:pt idx="56">
                  <c:v>7611</c:v>
                </c:pt>
                <c:pt idx="57">
                  <c:v>9039</c:v>
                </c:pt>
                <c:pt idx="58">
                  <c:v>8087</c:v>
                </c:pt>
                <c:pt idx="59">
                  <c:v>8932</c:v>
                </c:pt>
                <c:pt idx="60">
                  <c:v>8868</c:v>
                </c:pt>
                <c:pt idx="61">
                  <c:v>13093</c:v>
                </c:pt>
                <c:pt idx="62">
                  <c:v>8128</c:v>
                </c:pt>
                <c:pt idx="63">
                  <c:v>4890</c:v>
                </c:pt>
                <c:pt idx="64">
                  <c:v>6845</c:v>
                </c:pt>
                <c:pt idx="65">
                  <c:v>8260</c:v>
                </c:pt>
                <c:pt idx="66">
                  <c:v>8951</c:v>
                </c:pt>
                <c:pt idx="67">
                  <c:v>9377</c:v>
                </c:pt>
                <c:pt idx="68">
                  <c:v>7130</c:v>
                </c:pt>
                <c:pt idx="69">
                  <c:v>4881</c:v>
                </c:pt>
                <c:pt idx="70">
                  <c:v>8326</c:v>
                </c:pt>
                <c:pt idx="71">
                  <c:v>6489</c:v>
                </c:pt>
                <c:pt idx="72">
                  <c:v>6081</c:v>
                </c:pt>
                <c:pt idx="73">
                  <c:v>7404</c:v>
                </c:pt>
                <c:pt idx="74">
                  <c:v>7204</c:v>
                </c:pt>
                <c:pt idx="75">
                  <c:v>8013</c:v>
                </c:pt>
                <c:pt idx="76">
                  <c:v>6689</c:v>
                </c:pt>
                <c:pt idx="77">
                  <c:v>6812</c:v>
                </c:pt>
                <c:pt idx="78">
                  <c:v>6117</c:v>
                </c:pt>
                <c:pt idx="79">
                  <c:v>6225</c:v>
                </c:pt>
                <c:pt idx="80">
                  <c:v>3929</c:v>
                </c:pt>
                <c:pt idx="81">
                  <c:v>2740</c:v>
                </c:pt>
                <c:pt idx="82">
                  <c:v>4127</c:v>
                </c:pt>
                <c:pt idx="83">
                  <c:v>4589</c:v>
                </c:pt>
                <c:pt idx="84">
                  <c:v>4916</c:v>
                </c:pt>
                <c:pt idx="85">
                  <c:v>5241</c:v>
                </c:pt>
                <c:pt idx="86">
                  <c:v>5137</c:v>
                </c:pt>
                <c:pt idx="87">
                  <c:v>5001</c:v>
                </c:pt>
                <c:pt idx="88">
                  <c:v>4319</c:v>
                </c:pt>
                <c:pt idx="89">
                  <c:v>4010</c:v>
                </c:pt>
                <c:pt idx="90">
                  <c:v>2753</c:v>
                </c:pt>
                <c:pt idx="91">
                  <c:v>1734</c:v>
                </c:pt>
                <c:pt idx="92">
                  <c:v>3341</c:v>
                </c:pt>
                <c:pt idx="93">
                  <c:v>5772</c:v>
                </c:pt>
                <c:pt idx="94">
                  <c:v>5197</c:v>
                </c:pt>
                <c:pt idx="95">
                  <c:v>3434</c:v>
                </c:pt>
                <c:pt idx="96">
                  <c:v>7685</c:v>
                </c:pt>
                <c:pt idx="97">
                  <c:v>4914</c:v>
                </c:pt>
                <c:pt idx="98">
                  <c:v>2971</c:v>
                </c:pt>
                <c:pt idx="99">
                  <c:v>5204</c:v>
                </c:pt>
                <c:pt idx="100">
                  <c:v>5523</c:v>
                </c:pt>
                <c:pt idx="101">
                  <c:v>5494</c:v>
                </c:pt>
                <c:pt idx="102">
                  <c:v>5440</c:v>
                </c:pt>
                <c:pt idx="103">
                  <c:v>9116</c:v>
                </c:pt>
              </c:numCache>
            </c:numRef>
          </c:val>
          <c:extLst>
            <c:ext xmlns:c16="http://schemas.microsoft.com/office/drawing/2014/chart" uri="{C3380CC4-5D6E-409C-BE32-E72D297353CC}">
              <c16:uniqueId val="{00000000-7F1C-42D6-AB69-34F16F98F945}"/>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0</c:v>
                </c:pt>
                <c:pt idx="1">
                  <c:v>1916</c:v>
                </c:pt>
                <c:pt idx="2">
                  <c:v>37396</c:v>
                </c:pt>
                <c:pt idx="3">
                  <c:v>12228</c:v>
                </c:pt>
                <c:pt idx="4">
                  <c:v>142</c:v>
                </c:pt>
                <c:pt idx="5">
                  <c:v>1</c:v>
                </c:pt>
                <c:pt idx="6">
                  <c:v>0</c:v>
                </c:pt>
                <c:pt idx="7">
                  <c:v>0</c:v>
                </c:pt>
                <c:pt idx="8">
                  <c:v>0</c:v>
                </c:pt>
                <c:pt idx="9">
                  <c:v>40819</c:v>
                </c:pt>
                <c:pt idx="10">
                  <c:v>42168</c:v>
                </c:pt>
                <c:pt idx="11">
                  <c:v>6578</c:v>
                </c:pt>
                <c:pt idx="12">
                  <c:v>17192</c:v>
                </c:pt>
                <c:pt idx="13">
                  <c:v>21303</c:v>
                </c:pt>
                <c:pt idx="14">
                  <c:v>7461</c:v>
                </c:pt>
                <c:pt idx="15">
                  <c:v>43</c:v>
                </c:pt>
                <c:pt idx="16">
                  <c:v>35829</c:v>
                </c:pt>
                <c:pt idx="17">
                  <c:v>44812</c:v>
                </c:pt>
                <c:pt idx="18">
                  <c:v>14043</c:v>
                </c:pt>
                <c:pt idx="19">
                  <c:v>60</c:v>
                </c:pt>
                <c:pt idx="20">
                  <c:v>1</c:v>
                </c:pt>
                <c:pt idx="21">
                  <c:v>18875</c:v>
                </c:pt>
                <c:pt idx="22">
                  <c:v>19234</c:v>
                </c:pt>
                <c:pt idx="23">
                  <c:v>2616</c:v>
                </c:pt>
                <c:pt idx="24">
                  <c:v>20182</c:v>
                </c:pt>
                <c:pt idx="25">
                  <c:v>31984</c:v>
                </c:pt>
                <c:pt idx="26">
                  <c:v>10227</c:v>
                </c:pt>
                <c:pt idx="27">
                  <c:v>18</c:v>
                </c:pt>
                <c:pt idx="28">
                  <c:v>2</c:v>
                </c:pt>
                <c:pt idx="29">
                  <c:v>6</c:v>
                </c:pt>
                <c:pt idx="30">
                  <c:v>0</c:v>
                </c:pt>
                <c:pt idx="31">
                  <c:v>0</c:v>
                </c:pt>
                <c:pt idx="32">
                  <c:v>0</c:v>
                </c:pt>
                <c:pt idx="33">
                  <c:v>8404</c:v>
                </c:pt>
                <c:pt idx="34">
                  <c:v>9887</c:v>
                </c:pt>
                <c:pt idx="35">
                  <c:v>3098</c:v>
                </c:pt>
                <c:pt idx="36">
                  <c:v>843</c:v>
                </c:pt>
                <c:pt idx="37">
                  <c:v>19596</c:v>
                </c:pt>
                <c:pt idx="38">
                  <c:v>7044</c:v>
                </c:pt>
                <c:pt idx="39">
                  <c:v>13</c:v>
                </c:pt>
                <c:pt idx="40">
                  <c:v>7657</c:v>
                </c:pt>
                <c:pt idx="41">
                  <c:v>13687</c:v>
                </c:pt>
                <c:pt idx="42">
                  <c:v>5078</c:v>
                </c:pt>
                <c:pt idx="43">
                  <c:v>39</c:v>
                </c:pt>
                <c:pt idx="44">
                  <c:v>2</c:v>
                </c:pt>
                <c:pt idx="45">
                  <c:v>5</c:v>
                </c:pt>
                <c:pt idx="46">
                  <c:v>41369</c:v>
                </c:pt>
                <c:pt idx="47">
                  <c:v>45452</c:v>
                </c:pt>
                <c:pt idx="48">
                  <c:v>446</c:v>
                </c:pt>
                <c:pt idx="49">
                  <c:v>13</c:v>
                </c:pt>
                <c:pt idx="50">
                  <c:v>1</c:v>
                </c:pt>
                <c:pt idx="51">
                  <c:v>14926</c:v>
                </c:pt>
                <c:pt idx="52">
                  <c:v>19078</c:v>
                </c:pt>
                <c:pt idx="53">
                  <c:v>29930</c:v>
                </c:pt>
                <c:pt idx="54">
                  <c:v>9386</c:v>
                </c:pt>
                <c:pt idx="55">
                  <c:v>185</c:v>
                </c:pt>
                <c:pt idx="56">
                  <c:v>2043</c:v>
                </c:pt>
                <c:pt idx="57">
                  <c:v>759</c:v>
                </c:pt>
                <c:pt idx="58">
                  <c:v>3</c:v>
                </c:pt>
                <c:pt idx="59">
                  <c:v>1367</c:v>
                </c:pt>
                <c:pt idx="60">
                  <c:v>3691</c:v>
                </c:pt>
                <c:pt idx="61">
                  <c:v>143</c:v>
                </c:pt>
                <c:pt idx="62">
                  <c:v>25495</c:v>
                </c:pt>
                <c:pt idx="63">
                  <c:v>32467</c:v>
                </c:pt>
                <c:pt idx="64">
                  <c:v>9174</c:v>
                </c:pt>
                <c:pt idx="65">
                  <c:v>96</c:v>
                </c:pt>
                <c:pt idx="66">
                  <c:v>27</c:v>
                </c:pt>
                <c:pt idx="67">
                  <c:v>24</c:v>
                </c:pt>
                <c:pt idx="68">
                  <c:v>40521</c:v>
                </c:pt>
                <c:pt idx="69">
                  <c:v>50190</c:v>
                </c:pt>
                <c:pt idx="70">
                  <c:v>1098</c:v>
                </c:pt>
                <c:pt idx="71">
                  <c:v>10923</c:v>
                </c:pt>
                <c:pt idx="72">
                  <c:v>14964</c:v>
                </c:pt>
                <c:pt idx="73">
                  <c:v>1998</c:v>
                </c:pt>
                <c:pt idx="74">
                  <c:v>15</c:v>
                </c:pt>
                <c:pt idx="75">
                  <c:v>42</c:v>
                </c:pt>
                <c:pt idx="76">
                  <c:v>845</c:v>
                </c:pt>
                <c:pt idx="77">
                  <c:v>24891</c:v>
                </c:pt>
                <c:pt idx="78">
                  <c:v>6259</c:v>
                </c:pt>
                <c:pt idx="79">
                  <c:v>15</c:v>
                </c:pt>
                <c:pt idx="80">
                  <c:v>18834</c:v>
                </c:pt>
                <c:pt idx="81">
                  <c:v>24637</c:v>
                </c:pt>
                <c:pt idx="82">
                  <c:v>16167</c:v>
                </c:pt>
                <c:pt idx="83">
                  <c:v>9715</c:v>
                </c:pt>
                <c:pt idx="84">
                  <c:v>2894</c:v>
                </c:pt>
                <c:pt idx="85">
                  <c:v>6</c:v>
                </c:pt>
                <c:pt idx="86">
                  <c:v>0</c:v>
                </c:pt>
                <c:pt idx="87">
                  <c:v>0</c:v>
                </c:pt>
                <c:pt idx="88">
                  <c:v>0</c:v>
                </c:pt>
                <c:pt idx="89">
                  <c:v>0</c:v>
                </c:pt>
                <c:pt idx="90">
                  <c:v>10681</c:v>
                </c:pt>
                <c:pt idx="91">
                  <c:v>13812</c:v>
                </c:pt>
                <c:pt idx="92">
                  <c:v>4483</c:v>
                </c:pt>
                <c:pt idx="93">
                  <c:v>17</c:v>
                </c:pt>
                <c:pt idx="94">
                  <c:v>38881</c:v>
                </c:pt>
                <c:pt idx="95">
                  <c:v>41220</c:v>
                </c:pt>
                <c:pt idx="96">
                  <c:v>398</c:v>
                </c:pt>
                <c:pt idx="97">
                  <c:v>22261</c:v>
                </c:pt>
                <c:pt idx="98">
                  <c:v>25702</c:v>
                </c:pt>
                <c:pt idx="99">
                  <c:v>3715</c:v>
                </c:pt>
                <c:pt idx="100">
                  <c:v>10</c:v>
                </c:pt>
                <c:pt idx="101">
                  <c:v>2</c:v>
                </c:pt>
                <c:pt idx="102">
                  <c:v>0</c:v>
                </c:pt>
                <c:pt idx="103">
                  <c:v>0</c:v>
                </c:pt>
              </c:numCache>
            </c:numRef>
          </c:val>
          <c:extLst>
            <c:ext xmlns:c16="http://schemas.microsoft.com/office/drawing/2014/chart" uri="{C3380CC4-5D6E-409C-BE32-E72D297353CC}">
              <c16:uniqueId val="{00000001-7F1C-42D6-AB69-34F16F98F945}"/>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4E00-47D8-B98F-F888755F1F0E}"/>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4E00-47D8-B98F-F888755F1F0E}"/>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1-E3C4-46BC-AA3D-A3795B7CC7B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56849691495307E-2"/>
          <c:y val="0.27975726895119418"/>
          <c:w val="0.96119032748959832"/>
          <c:h val="0.71045820353063349"/>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0-0F35-47AC-8F76-BEFC330A665E}"/>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1-0F35-47AC-8F76-BEFC330A665E}"/>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5424</c:v>
                </c:pt>
                <c:pt idx="1">
                  <c:v>7694</c:v>
                </c:pt>
                <c:pt idx="2">
                  <c:v>8064</c:v>
                </c:pt>
                <c:pt idx="3">
                  <c:v>6105</c:v>
                </c:pt>
                <c:pt idx="4">
                  <c:v>4306</c:v>
                </c:pt>
                <c:pt idx="5">
                  <c:v>3336</c:v>
                </c:pt>
                <c:pt idx="6">
                  <c:v>3409</c:v>
                </c:pt>
                <c:pt idx="7">
                  <c:v>3185</c:v>
                </c:pt>
                <c:pt idx="8">
                  <c:v>3633</c:v>
                </c:pt>
                <c:pt idx="9">
                  <c:v>5065</c:v>
                </c:pt>
                <c:pt idx="10">
                  <c:v>5831</c:v>
                </c:pt>
                <c:pt idx="11">
                  <c:v>6041</c:v>
                </c:pt>
                <c:pt idx="12">
                  <c:v>5872</c:v>
                </c:pt>
                <c:pt idx="13">
                  <c:v>5386</c:v>
                </c:pt>
                <c:pt idx="14">
                  <c:v>5546</c:v>
                </c:pt>
                <c:pt idx="15">
                  <c:v>5797</c:v>
                </c:pt>
                <c:pt idx="16">
                  <c:v>3841</c:v>
                </c:pt>
                <c:pt idx="17">
                  <c:v>4474</c:v>
                </c:pt>
                <c:pt idx="18">
                  <c:v>4046</c:v>
                </c:pt>
                <c:pt idx="19">
                  <c:v>5739</c:v>
                </c:pt>
                <c:pt idx="20">
                  <c:v>4628</c:v>
                </c:pt>
                <c:pt idx="21">
                  <c:v>4043</c:v>
                </c:pt>
                <c:pt idx="22">
                  <c:v>3040</c:v>
                </c:pt>
                <c:pt idx="23">
                  <c:v>3112</c:v>
                </c:pt>
                <c:pt idx="24">
                  <c:v>2948</c:v>
                </c:pt>
                <c:pt idx="25">
                  <c:v>4052</c:v>
                </c:pt>
                <c:pt idx="26">
                  <c:v>340</c:v>
                </c:pt>
                <c:pt idx="27">
                  <c:v>406</c:v>
                </c:pt>
                <c:pt idx="28">
                  <c:v>554</c:v>
                </c:pt>
                <c:pt idx="29">
                  <c:v>3932</c:v>
                </c:pt>
                <c:pt idx="30">
                  <c:v>1999</c:v>
                </c:pt>
                <c:pt idx="31">
                  <c:v>2003</c:v>
                </c:pt>
                <c:pt idx="32">
                  <c:v>1782</c:v>
                </c:pt>
                <c:pt idx="33">
                  <c:v>2538</c:v>
                </c:pt>
                <c:pt idx="34">
                  <c:v>2795</c:v>
                </c:pt>
                <c:pt idx="35">
                  <c:v>3057</c:v>
                </c:pt>
                <c:pt idx="36">
                  <c:v>3241</c:v>
                </c:pt>
                <c:pt idx="37">
                  <c:v>2863</c:v>
                </c:pt>
                <c:pt idx="38">
                  <c:v>1742</c:v>
                </c:pt>
                <c:pt idx="39">
                  <c:v>1306</c:v>
                </c:pt>
                <c:pt idx="40">
                  <c:v>1600</c:v>
                </c:pt>
                <c:pt idx="41">
                  <c:v>3084</c:v>
                </c:pt>
                <c:pt idx="42">
                  <c:v>3587</c:v>
                </c:pt>
                <c:pt idx="43">
                  <c:v>3988</c:v>
                </c:pt>
                <c:pt idx="44">
                  <c:v>4116</c:v>
                </c:pt>
                <c:pt idx="45">
                  <c:v>4336</c:v>
                </c:pt>
                <c:pt idx="46">
                  <c:v>4213</c:v>
                </c:pt>
                <c:pt idx="47">
                  <c:v>4087</c:v>
                </c:pt>
                <c:pt idx="48">
                  <c:v>3314</c:v>
                </c:pt>
                <c:pt idx="49">
                  <c:v>3821</c:v>
                </c:pt>
                <c:pt idx="50">
                  <c:v>1905</c:v>
                </c:pt>
                <c:pt idx="51">
                  <c:v>4601</c:v>
                </c:pt>
                <c:pt idx="52">
                  <c:v>4532</c:v>
                </c:pt>
                <c:pt idx="53">
                  <c:v>4419</c:v>
                </c:pt>
                <c:pt idx="54">
                  <c:v>2489</c:v>
                </c:pt>
                <c:pt idx="55">
                  <c:v>2345</c:v>
                </c:pt>
                <c:pt idx="56">
                  <c:v>3038</c:v>
                </c:pt>
                <c:pt idx="57">
                  <c:v>4255</c:v>
                </c:pt>
                <c:pt idx="58">
                  <c:v>2925</c:v>
                </c:pt>
                <c:pt idx="59">
                  <c:v>2021</c:v>
                </c:pt>
                <c:pt idx="60">
                  <c:v>2115</c:v>
                </c:pt>
                <c:pt idx="61">
                  <c:v>4184</c:v>
                </c:pt>
                <c:pt idx="62">
                  <c:v>4940</c:v>
                </c:pt>
                <c:pt idx="63">
                  <c:v>5689</c:v>
                </c:pt>
                <c:pt idx="64">
                  <c:v>4866</c:v>
                </c:pt>
                <c:pt idx="65">
                  <c:v>4303</c:v>
                </c:pt>
                <c:pt idx="66">
                  <c:v>796</c:v>
                </c:pt>
                <c:pt idx="67">
                  <c:v>1015</c:v>
                </c:pt>
                <c:pt idx="68">
                  <c:v>575</c:v>
                </c:pt>
                <c:pt idx="69">
                  <c:v>4545</c:v>
                </c:pt>
                <c:pt idx="70">
                  <c:v>4789</c:v>
                </c:pt>
                <c:pt idx="71">
                  <c:v>4266</c:v>
                </c:pt>
                <c:pt idx="72">
                  <c:v>2262</c:v>
                </c:pt>
                <c:pt idx="73">
                  <c:v>2375</c:v>
                </c:pt>
                <c:pt idx="74">
                  <c:v>2028</c:v>
                </c:pt>
                <c:pt idx="75">
                  <c:v>2504</c:v>
                </c:pt>
                <c:pt idx="76">
                  <c:v>2759</c:v>
                </c:pt>
                <c:pt idx="77">
                  <c:v>1963</c:v>
                </c:pt>
                <c:pt idx="78">
                  <c:v>4173</c:v>
                </c:pt>
                <c:pt idx="79">
                  <c:v>2978</c:v>
                </c:pt>
                <c:pt idx="80">
                  <c:v>1941</c:v>
                </c:pt>
                <c:pt idx="81">
                  <c:v>1887</c:v>
                </c:pt>
                <c:pt idx="82">
                  <c:v>2078</c:v>
                </c:pt>
                <c:pt idx="83">
                  <c:v>3320</c:v>
                </c:pt>
                <c:pt idx="84">
                  <c:v>3041</c:v>
                </c:pt>
                <c:pt idx="85">
                  <c:v>2780</c:v>
                </c:pt>
                <c:pt idx="86">
                  <c:v>2988</c:v>
                </c:pt>
                <c:pt idx="87">
                  <c:v>2273</c:v>
                </c:pt>
                <c:pt idx="88">
                  <c:v>2301</c:v>
                </c:pt>
                <c:pt idx="89">
                  <c:v>2298</c:v>
                </c:pt>
                <c:pt idx="90">
                  <c:v>2674</c:v>
                </c:pt>
                <c:pt idx="91">
                  <c:v>2660</c:v>
                </c:pt>
                <c:pt idx="92">
                  <c:v>2819</c:v>
                </c:pt>
                <c:pt idx="93">
                  <c:v>2652</c:v>
                </c:pt>
                <c:pt idx="94">
                  <c:v>2536</c:v>
                </c:pt>
                <c:pt idx="95">
                  <c:v>2688</c:v>
                </c:pt>
                <c:pt idx="96">
                  <c:v>2415</c:v>
                </c:pt>
                <c:pt idx="97">
                  <c:v>2043</c:v>
                </c:pt>
                <c:pt idx="98">
                  <c:v>2222</c:v>
                </c:pt>
                <c:pt idx="99">
                  <c:v>2956</c:v>
                </c:pt>
                <c:pt idx="100">
                  <c:v>436</c:v>
                </c:pt>
                <c:pt idx="101">
                  <c:v>545</c:v>
                </c:pt>
                <c:pt idx="102">
                  <c:v>411</c:v>
                </c:pt>
                <c:pt idx="103">
                  <c:v>2657</c:v>
                </c:pt>
              </c:numCache>
            </c:numRef>
          </c:val>
          <c:extLst>
            <c:ext xmlns:c16="http://schemas.microsoft.com/office/drawing/2014/chart" uri="{C3380CC4-5D6E-409C-BE32-E72D297353CC}">
              <c16:uniqueId val="{00000000-F61D-48BC-8F2C-2427BC9DB9F7}"/>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788</c:v>
                </c:pt>
                <c:pt idx="1">
                  <c:v>10958</c:v>
                </c:pt>
                <c:pt idx="2">
                  <c:v>13555</c:v>
                </c:pt>
                <c:pt idx="3">
                  <c:v>12297</c:v>
                </c:pt>
                <c:pt idx="4">
                  <c:v>11165</c:v>
                </c:pt>
                <c:pt idx="5">
                  <c:v>8783</c:v>
                </c:pt>
                <c:pt idx="6">
                  <c:v>9989</c:v>
                </c:pt>
                <c:pt idx="7">
                  <c:v>5529</c:v>
                </c:pt>
                <c:pt idx="8">
                  <c:v>6362</c:v>
                </c:pt>
                <c:pt idx="9">
                  <c:v>5893</c:v>
                </c:pt>
                <c:pt idx="10">
                  <c:v>2544</c:v>
                </c:pt>
                <c:pt idx="11">
                  <c:v>225</c:v>
                </c:pt>
                <c:pt idx="12">
                  <c:v>584</c:v>
                </c:pt>
                <c:pt idx="13">
                  <c:v>546</c:v>
                </c:pt>
                <c:pt idx="14">
                  <c:v>178</c:v>
                </c:pt>
                <c:pt idx="15">
                  <c:v>26</c:v>
                </c:pt>
                <c:pt idx="16">
                  <c:v>16345</c:v>
                </c:pt>
                <c:pt idx="17">
                  <c:v>18415</c:v>
                </c:pt>
                <c:pt idx="18">
                  <c:v>6514</c:v>
                </c:pt>
                <c:pt idx="19">
                  <c:v>96</c:v>
                </c:pt>
                <c:pt idx="20">
                  <c:v>4622</c:v>
                </c:pt>
                <c:pt idx="21">
                  <c:v>6267</c:v>
                </c:pt>
                <c:pt idx="22">
                  <c:v>8289</c:v>
                </c:pt>
                <c:pt idx="23">
                  <c:v>8461</c:v>
                </c:pt>
                <c:pt idx="24">
                  <c:v>3085</c:v>
                </c:pt>
                <c:pt idx="25">
                  <c:v>202</c:v>
                </c:pt>
                <c:pt idx="26">
                  <c:v>13498</c:v>
                </c:pt>
                <c:pt idx="27">
                  <c:v>17015</c:v>
                </c:pt>
                <c:pt idx="28">
                  <c:v>7966</c:v>
                </c:pt>
                <c:pt idx="29">
                  <c:v>43</c:v>
                </c:pt>
                <c:pt idx="30">
                  <c:v>8668</c:v>
                </c:pt>
                <c:pt idx="31">
                  <c:v>9714</c:v>
                </c:pt>
                <c:pt idx="32">
                  <c:v>5639</c:v>
                </c:pt>
                <c:pt idx="33">
                  <c:v>2928</c:v>
                </c:pt>
                <c:pt idx="34">
                  <c:v>1384</c:v>
                </c:pt>
                <c:pt idx="35">
                  <c:v>312</c:v>
                </c:pt>
                <c:pt idx="36">
                  <c:v>527</c:v>
                </c:pt>
                <c:pt idx="37">
                  <c:v>554</c:v>
                </c:pt>
                <c:pt idx="38">
                  <c:v>7510</c:v>
                </c:pt>
                <c:pt idx="39">
                  <c:v>10610</c:v>
                </c:pt>
                <c:pt idx="40">
                  <c:v>3797</c:v>
                </c:pt>
                <c:pt idx="41">
                  <c:v>108</c:v>
                </c:pt>
                <c:pt idx="42">
                  <c:v>112</c:v>
                </c:pt>
                <c:pt idx="43">
                  <c:v>120</c:v>
                </c:pt>
                <c:pt idx="44">
                  <c:v>64</c:v>
                </c:pt>
                <c:pt idx="45">
                  <c:v>76</c:v>
                </c:pt>
                <c:pt idx="46">
                  <c:v>54</c:v>
                </c:pt>
                <c:pt idx="47">
                  <c:v>52</c:v>
                </c:pt>
                <c:pt idx="48">
                  <c:v>12536</c:v>
                </c:pt>
                <c:pt idx="49">
                  <c:v>16121</c:v>
                </c:pt>
                <c:pt idx="50">
                  <c:v>7616</c:v>
                </c:pt>
                <c:pt idx="51">
                  <c:v>25</c:v>
                </c:pt>
                <c:pt idx="52">
                  <c:v>45</c:v>
                </c:pt>
                <c:pt idx="53">
                  <c:v>22</c:v>
                </c:pt>
                <c:pt idx="54">
                  <c:v>13220</c:v>
                </c:pt>
                <c:pt idx="55">
                  <c:v>12617</c:v>
                </c:pt>
                <c:pt idx="56">
                  <c:v>3521</c:v>
                </c:pt>
                <c:pt idx="57">
                  <c:v>56</c:v>
                </c:pt>
                <c:pt idx="58">
                  <c:v>4188</c:v>
                </c:pt>
                <c:pt idx="59">
                  <c:v>4176</c:v>
                </c:pt>
                <c:pt idx="60">
                  <c:v>5584</c:v>
                </c:pt>
                <c:pt idx="61">
                  <c:v>8227</c:v>
                </c:pt>
                <c:pt idx="62">
                  <c:v>2884</c:v>
                </c:pt>
                <c:pt idx="63">
                  <c:v>172</c:v>
                </c:pt>
                <c:pt idx="64">
                  <c:v>167</c:v>
                </c:pt>
                <c:pt idx="65">
                  <c:v>111</c:v>
                </c:pt>
                <c:pt idx="66">
                  <c:v>19061</c:v>
                </c:pt>
                <c:pt idx="67">
                  <c:v>22806</c:v>
                </c:pt>
                <c:pt idx="68">
                  <c:v>10136</c:v>
                </c:pt>
                <c:pt idx="69">
                  <c:v>275</c:v>
                </c:pt>
                <c:pt idx="70">
                  <c:v>263</c:v>
                </c:pt>
                <c:pt idx="71">
                  <c:v>280</c:v>
                </c:pt>
                <c:pt idx="72">
                  <c:v>5159</c:v>
                </c:pt>
                <c:pt idx="73">
                  <c:v>7463</c:v>
                </c:pt>
                <c:pt idx="74">
                  <c:v>6894</c:v>
                </c:pt>
                <c:pt idx="75">
                  <c:v>5402</c:v>
                </c:pt>
                <c:pt idx="76">
                  <c:v>6667</c:v>
                </c:pt>
                <c:pt idx="77">
                  <c:v>4448</c:v>
                </c:pt>
                <c:pt idx="78">
                  <c:v>2013</c:v>
                </c:pt>
                <c:pt idx="79">
                  <c:v>87</c:v>
                </c:pt>
                <c:pt idx="80">
                  <c:v>7287</c:v>
                </c:pt>
                <c:pt idx="81">
                  <c:v>10948</c:v>
                </c:pt>
                <c:pt idx="82">
                  <c:v>3570</c:v>
                </c:pt>
                <c:pt idx="83">
                  <c:v>38</c:v>
                </c:pt>
                <c:pt idx="84">
                  <c:v>10</c:v>
                </c:pt>
                <c:pt idx="85">
                  <c:v>10</c:v>
                </c:pt>
                <c:pt idx="86">
                  <c:v>703</c:v>
                </c:pt>
                <c:pt idx="87">
                  <c:v>3282</c:v>
                </c:pt>
                <c:pt idx="88">
                  <c:v>3401</c:v>
                </c:pt>
                <c:pt idx="89">
                  <c:v>1288</c:v>
                </c:pt>
                <c:pt idx="90">
                  <c:v>42</c:v>
                </c:pt>
                <c:pt idx="91">
                  <c:v>34</c:v>
                </c:pt>
                <c:pt idx="92">
                  <c:v>10</c:v>
                </c:pt>
                <c:pt idx="93">
                  <c:v>8</c:v>
                </c:pt>
                <c:pt idx="94">
                  <c:v>11610</c:v>
                </c:pt>
                <c:pt idx="95">
                  <c:v>13969</c:v>
                </c:pt>
                <c:pt idx="96">
                  <c:v>4174</c:v>
                </c:pt>
                <c:pt idx="97">
                  <c:v>9270</c:v>
                </c:pt>
                <c:pt idx="98">
                  <c:v>3242</c:v>
                </c:pt>
                <c:pt idx="99">
                  <c:v>0</c:v>
                </c:pt>
                <c:pt idx="100">
                  <c:v>9868</c:v>
                </c:pt>
                <c:pt idx="101">
                  <c:v>12410</c:v>
                </c:pt>
                <c:pt idx="102">
                  <c:v>5436</c:v>
                </c:pt>
                <c:pt idx="103">
                  <c:v>45</c:v>
                </c:pt>
              </c:numCache>
            </c:numRef>
          </c:val>
          <c:extLst>
            <c:ext xmlns:c16="http://schemas.microsoft.com/office/drawing/2014/chart" uri="{C3380CC4-5D6E-409C-BE32-E72D297353CC}">
              <c16:uniqueId val="{00000001-F61D-48BC-8F2C-2427BC9DB9F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0810</c:v>
                </c:pt>
                <c:pt idx="1">
                  <c:v>10089</c:v>
                </c:pt>
                <c:pt idx="2">
                  <c:v>5121</c:v>
                </c:pt>
                <c:pt idx="3">
                  <c:v>7276</c:v>
                </c:pt>
                <c:pt idx="4">
                  <c:v>8916</c:v>
                </c:pt>
                <c:pt idx="5">
                  <c:v>9411</c:v>
                </c:pt>
                <c:pt idx="6">
                  <c:v>8041</c:v>
                </c:pt>
                <c:pt idx="7">
                  <c:v>8669</c:v>
                </c:pt>
                <c:pt idx="8">
                  <c:v>11931</c:v>
                </c:pt>
                <c:pt idx="9">
                  <c:v>8121</c:v>
                </c:pt>
                <c:pt idx="10">
                  <c:v>4572</c:v>
                </c:pt>
                <c:pt idx="11">
                  <c:v>8127</c:v>
                </c:pt>
                <c:pt idx="12">
                  <c:v>9262</c:v>
                </c:pt>
                <c:pt idx="13">
                  <c:v>8141</c:v>
                </c:pt>
                <c:pt idx="14">
                  <c:v>9018</c:v>
                </c:pt>
                <c:pt idx="15">
                  <c:v>9003</c:v>
                </c:pt>
                <c:pt idx="16">
                  <c:v>6797</c:v>
                </c:pt>
                <c:pt idx="17">
                  <c:v>4823</c:v>
                </c:pt>
                <c:pt idx="18">
                  <c:v>8083</c:v>
                </c:pt>
                <c:pt idx="19">
                  <c:v>11032</c:v>
                </c:pt>
                <c:pt idx="20">
                  <c:v>10107</c:v>
                </c:pt>
                <c:pt idx="21">
                  <c:v>8418</c:v>
                </c:pt>
                <c:pt idx="22">
                  <c:v>5994</c:v>
                </c:pt>
                <c:pt idx="23">
                  <c:v>7599</c:v>
                </c:pt>
                <c:pt idx="24">
                  <c:v>5115</c:v>
                </c:pt>
                <c:pt idx="25">
                  <c:v>3805</c:v>
                </c:pt>
                <c:pt idx="26">
                  <c:v>6006</c:v>
                </c:pt>
                <c:pt idx="27">
                  <c:v>7379</c:v>
                </c:pt>
                <c:pt idx="28">
                  <c:v>7123</c:v>
                </c:pt>
                <c:pt idx="29">
                  <c:v>7142</c:v>
                </c:pt>
                <c:pt idx="30">
                  <c:v>6877</c:v>
                </c:pt>
                <c:pt idx="31">
                  <c:v>6220</c:v>
                </c:pt>
                <c:pt idx="32">
                  <c:v>5853</c:v>
                </c:pt>
                <c:pt idx="33">
                  <c:v>6009</c:v>
                </c:pt>
                <c:pt idx="34">
                  <c:v>5303</c:v>
                </c:pt>
                <c:pt idx="35">
                  <c:v>5357</c:v>
                </c:pt>
                <c:pt idx="36">
                  <c:v>4769</c:v>
                </c:pt>
                <c:pt idx="37">
                  <c:v>2497</c:v>
                </c:pt>
                <c:pt idx="38">
                  <c:v>3398</c:v>
                </c:pt>
                <c:pt idx="39">
                  <c:v>3621</c:v>
                </c:pt>
                <c:pt idx="40">
                  <c:v>3879</c:v>
                </c:pt>
                <c:pt idx="41">
                  <c:v>4732</c:v>
                </c:pt>
                <c:pt idx="42">
                  <c:v>7308</c:v>
                </c:pt>
                <c:pt idx="43">
                  <c:v>9036</c:v>
                </c:pt>
                <c:pt idx="44">
                  <c:v>10084</c:v>
                </c:pt>
                <c:pt idx="45">
                  <c:v>9083</c:v>
                </c:pt>
                <c:pt idx="46">
                  <c:v>5482</c:v>
                </c:pt>
                <c:pt idx="47">
                  <c:v>3778</c:v>
                </c:pt>
                <c:pt idx="48">
                  <c:v>7809</c:v>
                </c:pt>
                <c:pt idx="49">
                  <c:v>7739</c:v>
                </c:pt>
                <c:pt idx="50">
                  <c:v>7596</c:v>
                </c:pt>
                <c:pt idx="51">
                  <c:v>6196</c:v>
                </c:pt>
                <c:pt idx="52">
                  <c:v>5910</c:v>
                </c:pt>
                <c:pt idx="53">
                  <c:v>3695</c:v>
                </c:pt>
                <c:pt idx="54">
                  <c:v>6430</c:v>
                </c:pt>
                <c:pt idx="55">
                  <c:v>8035</c:v>
                </c:pt>
                <c:pt idx="56">
                  <c:v>7611</c:v>
                </c:pt>
                <c:pt idx="57">
                  <c:v>9039</c:v>
                </c:pt>
                <c:pt idx="58">
                  <c:v>8087</c:v>
                </c:pt>
                <c:pt idx="59">
                  <c:v>8932</c:v>
                </c:pt>
                <c:pt idx="60">
                  <c:v>8868</c:v>
                </c:pt>
                <c:pt idx="61">
                  <c:v>13093</c:v>
                </c:pt>
                <c:pt idx="62">
                  <c:v>8128</c:v>
                </c:pt>
                <c:pt idx="63">
                  <c:v>4890</c:v>
                </c:pt>
                <c:pt idx="64">
                  <c:v>6845</c:v>
                </c:pt>
                <c:pt idx="65">
                  <c:v>8260</c:v>
                </c:pt>
                <c:pt idx="66">
                  <c:v>8951</c:v>
                </c:pt>
                <c:pt idx="67">
                  <c:v>9377</c:v>
                </c:pt>
                <c:pt idx="68">
                  <c:v>7130</c:v>
                </c:pt>
                <c:pt idx="69">
                  <c:v>4881</c:v>
                </c:pt>
                <c:pt idx="70">
                  <c:v>8326</c:v>
                </c:pt>
                <c:pt idx="71">
                  <c:v>6489</c:v>
                </c:pt>
                <c:pt idx="72">
                  <c:v>6081</c:v>
                </c:pt>
                <c:pt idx="73">
                  <c:v>7404</c:v>
                </c:pt>
                <c:pt idx="74">
                  <c:v>7204</c:v>
                </c:pt>
                <c:pt idx="75">
                  <c:v>8013</c:v>
                </c:pt>
                <c:pt idx="76">
                  <c:v>6689</c:v>
                </c:pt>
                <c:pt idx="77">
                  <c:v>6812</c:v>
                </c:pt>
                <c:pt idx="78">
                  <c:v>6117</c:v>
                </c:pt>
                <c:pt idx="79">
                  <c:v>6225</c:v>
                </c:pt>
                <c:pt idx="80">
                  <c:v>3929</c:v>
                </c:pt>
                <c:pt idx="81">
                  <c:v>2740</c:v>
                </c:pt>
                <c:pt idx="82">
                  <c:v>4127</c:v>
                </c:pt>
                <c:pt idx="83">
                  <c:v>4589</c:v>
                </c:pt>
                <c:pt idx="84">
                  <c:v>4916</c:v>
                </c:pt>
                <c:pt idx="85">
                  <c:v>5241</c:v>
                </c:pt>
                <c:pt idx="86">
                  <c:v>5137</c:v>
                </c:pt>
                <c:pt idx="87">
                  <c:v>5001</c:v>
                </c:pt>
                <c:pt idx="88">
                  <c:v>4319</c:v>
                </c:pt>
                <c:pt idx="89">
                  <c:v>4010</c:v>
                </c:pt>
                <c:pt idx="90">
                  <c:v>2753</c:v>
                </c:pt>
                <c:pt idx="91">
                  <c:v>1734</c:v>
                </c:pt>
                <c:pt idx="92">
                  <c:v>3341</c:v>
                </c:pt>
                <c:pt idx="93">
                  <c:v>5772</c:v>
                </c:pt>
                <c:pt idx="94">
                  <c:v>5197</c:v>
                </c:pt>
                <c:pt idx="95">
                  <c:v>3434</c:v>
                </c:pt>
                <c:pt idx="96">
                  <c:v>7685</c:v>
                </c:pt>
                <c:pt idx="97">
                  <c:v>4914</c:v>
                </c:pt>
                <c:pt idx="98">
                  <c:v>2971</c:v>
                </c:pt>
                <c:pt idx="99">
                  <c:v>5204</c:v>
                </c:pt>
                <c:pt idx="100">
                  <c:v>5523</c:v>
                </c:pt>
                <c:pt idx="101">
                  <c:v>5494</c:v>
                </c:pt>
                <c:pt idx="102">
                  <c:v>5440</c:v>
                </c:pt>
                <c:pt idx="103">
                  <c:v>9116</c:v>
                </c:pt>
              </c:numCache>
            </c:numRef>
          </c:val>
          <c:extLst>
            <c:ext xmlns:c16="http://schemas.microsoft.com/office/drawing/2014/chart" uri="{C3380CC4-5D6E-409C-BE32-E72D297353CC}">
              <c16:uniqueId val="{00000000-6F53-47D1-94A7-6E320397265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0</c:v>
                </c:pt>
                <c:pt idx="1">
                  <c:v>1916</c:v>
                </c:pt>
                <c:pt idx="2">
                  <c:v>37396</c:v>
                </c:pt>
                <c:pt idx="3">
                  <c:v>12228</c:v>
                </c:pt>
                <c:pt idx="4">
                  <c:v>142</c:v>
                </c:pt>
                <c:pt idx="5">
                  <c:v>1</c:v>
                </c:pt>
                <c:pt idx="6">
                  <c:v>0</c:v>
                </c:pt>
                <c:pt idx="7">
                  <c:v>0</c:v>
                </c:pt>
                <c:pt idx="8">
                  <c:v>0</c:v>
                </c:pt>
                <c:pt idx="9">
                  <c:v>40819</c:v>
                </c:pt>
                <c:pt idx="10">
                  <c:v>42168</c:v>
                </c:pt>
                <c:pt idx="11">
                  <c:v>6578</c:v>
                </c:pt>
                <c:pt idx="12">
                  <c:v>17192</c:v>
                </c:pt>
                <c:pt idx="13">
                  <c:v>21303</c:v>
                </c:pt>
                <c:pt idx="14">
                  <c:v>7461</c:v>
                </c:pt>
                <c:pt idx="15">
                  <c:v>43</c:v>
                </c:pt>
                <c:pt idx="16">
                  <c:v>35829</c:v>
                </c:pt>
                <c:pt idx="17">
                  <c:v>44812</c:v>
                </c:pt>
                <c:pt idx="18">
                  <c:v>14043</c:v>
                </c:pt>
                <c:pt idx="19">
                  <c:v>60</c:v>
                </c:pt>
                <c:pt idx="20">
                  <c:v>1</c:v>
                </c:pt>
                <c:pt idx="21">
                  <c:v>18875</c:v>
                </c:pt>
                <c:pt idx="22">
                  <c:v>19234</c:v>
                </c:pt>
                <c:pt idx="23">
                  <c:v>2616</c:v>
                </c:pt>
                <c:pt idx="24">
                  <c:v>20182</c:v>
                </c:pt>
                <c:pt idx="25">
                  <c:v>31984</c:v>
                </c:pt>
                <c:pt idx="26">
                  <c:v>10227</c:v>
                </c:pt>
                <c:pt idx="27">
                  <c:v>18</c:v>
                </c:pt>
                <c:pt idx="28">
                  <c:v>2</c:v>
                </c:pt>
                <c:pt idx="29">
                  <c:v>6</c:v>
                </c:pt>
                <c:pt idx="30">
                  <c:v>0</c:v>
                </c:pt>
                <c:pt idx="31">
                  <c:v>0</c:v>
                </c:pt>
                <c:pt idx="32">
                  <c:v>0</c:v>
                </c:pt>
                <c:pt idx="33">
                  <c:v>8404</c:v>
                </c:pt>
                <c:pt idx="34">
                  <c:v>9887</c:v>
                </c:pt>
                <c:pt idx="35">
                  <c:v>3098</c:v>
                </c:pt>
                <c:pt idx="36">
                  <c:v>843</c:v>
                </c:pt>
                <c:pt idx="37">
                  <c:v>19596</c:v>
                </c:pt>
                <c:pt idx="38">
                  <c:v>7044</c:v>
                </c:pt>
                <c:pt idx="39">
                  <c:v>13</c:v>
                </c:pt>
                <c:pt idx="40">
                  <c:v>7657</c:v>
                </c:pt>
                <c:pt idx="41">
                  <c:v>13687</c:v>
                </c:pt>
                <c:pt idx="42">
                  <c:v>5078</c:v>
                </c:pt>
                <c:pt idx="43">
                  <c:v>39</c:v>
                </c:pt>
                <c:pt idx="44">
                  <c:v>2</c:v>
                </c:pt>
                <c:pt idx="45">
                  <c:v>5</c:v>
                </c:pt>
                <c:pt idx="46">
                  <c:v>41369</c:v>
                </c:pt>
                <c:pt idx="47">
                  <c:v>45452</c:v>
                </c:pt>
                <c:pt idx="48">
                  <c:v>446</c:v>
                </c:pt>
                <c:pt idx="49">
                  <c:v>13</c:v>
                </c:pt>
                <c:pt idx="50">
                  <c:v>1</c:v>
                </c:pt>
                <c:pt idx="51">
                  <c:v>14926</c:v>
                </c:pt>
                <c:pt idx="52">
                  <c:v>19078</c:v>
                </c:pt>
                <c:pt idx="53">
                  <c:v>29930</c:v>
                </c:pt>
                <c:pt idx="54">
                  <c:v>9386</c:v>
                </c:pt>
                <c:pt idx="55">
                  <c:v>185</c:v>
                </c:pt>
                <c:pt idx="56">
                  <c:v>2043</c:v>
                </c:pt>
                <c:pt idx="57">
                  <c:v>759</c:v>
                </c:pt>
                <c:pt idx="58">
                  <c:v>3</c:v>
                </c:pt>
                <c:pt idx="59">
                  <c:v>1367</c:v>
                </c:pt>
                <c:pt idx="60">
                  <c:v>3691</c:v>
                </c:pt>
                <c:pt idx="61">
                  <c:v>143</c:v>
                </c:pt>
                <c:pt idx="62">
                  <c:v>25495</c:v>
                </c:pt>
                <c:pt idx="63">
                  <c:v>32467</c:v>
                </c:pt>
                <c:pt idx="64">
                  <c:v>9174</c:v>
                </c:pt>
                <c:pt idx="65">
                  <c:v>96</c:v>
                </c:pt>
                <c:pt idx="66">
                  <c:v>27</c:v>
                </c:pt>
                <c:pt idx="67">
                  <c:v>24</c:v>
                </c:pt>
                <c:pt idx="68">
                  <c:v>40521</c:v>
                </c:pt>
                <c:pt idx="69">
                  <c:v>50190</c:v>
                </c:pt>
                <c:pt idx="70">
                  <c:v>1098</c:v>
                </c:pt>
                <c:pt idx="71">
                  <c:v>10923</c:v>
                </c:pt>
                <c:pt idx="72">
                  <c:v>14964</c:v>
                </c:pt>
                <c:pt idx="73">
                  <c:v>1998</c:v>
                </c:pt>
                <c:pt idx="74">
                  <c:v>15</c:v>
                </c:pt>
                <c:pt idx="75">
                  <c:v>42</c:v>
                </c:pt>
                <c:pt idx="76">
                  <c:v>845</c:v>
                </c:pt>
                <c:pt idx="77">
                  <c:v>24891</c:v>
                </c:pt>
                <c:pt idx="78">
                  <c:v>6259</c:v>
                </c:pt>
                <c:pt idx="79">
                  <c:v>15</c:v>
                </c:pt>
                <c:pt idx="80">
                  <c:v>18834</c:v>
                </c:pt>
                <c:pt idx="81">
                  <c:v>24637</c:v>
                </c:pt>
                <c:pt idx="82">
                  <c:v>16167</c:v>
                </c:pt>
                <c:pt idx="83">
                  <c:v>9715</c:v>
                </c:pt>
                <c:pt idx="84">
                  <c:v>2894</c:v>
                </c:pt>
                <c:pt idx="85">
                  <c:v>6</c:v>
                </c:pt>
                <c:pt idx="86">
                  <c:v>0</c:v>
                </c:pt>
                <c:pt idx="87">
                  <c:v>0</c:v>
                </c:pt>
                <c:pt idx="88">
                  <c:v>0</c:v>
                </c:pt>
                <c:pt idx="89">
                  <c:v>0</c:v>
                </c:pt>
                <c:pt idx="90">
                  <c:v>10681</c:v>
                </c:pt>
                <c:pt idx="91">
                  <c:v>13812</c:v>
                </c:pt>
                <c:pt idx="92">
                  <c:v>4483</c:v>
                </c:pt>
                <c:pt idx="93">
                  <c:v>17</c:v>
                </c:pt>
                <c:pt idx="94">
                  <c:v>38881</c:v>
                </c:pt>
                <c:pt idx="95">
                  <c:v>41220</c:v>
                </c:pt>
                <c:pt idx="96">
                  <c:v>398</c:v>
                </c:pt>
                <c:pt idx="97">
                  <c:v>22261</c:v>
                </c:pt>
                <c:pt idx="98">
                  <c:v>25702</c:v>
                </c:pt>
                <c:pt idx="99">
                  <c:v>3715</c:v>
                </c:pt>
                <c:pt idx="100">
                  <c:v>10</c:v>
                </c:pt>
                <c:pt idx="101">
                  <c:v>2</c:v>
                </c:pt>
                <c:pt idx="102">
                  <c:v>0</c:v>
                </c:pt>
                <c:pt idx="103">
                  <c:v>0</c:v>
                </c:pt>
              </c:numCache>
            </c:numRef>
          </c:val>
          <c:extLst>
            <c:ext xmlns:c16="http://schemas.microsoft.com/office/drawing/2014/chart" uri="{C3380CC4-5D6E-409C-BE32-E72D297353CC}">
              <c16:uniqueId val="{00000001-6F53-47D1-94A7-6E320397265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DD3D-4642-97D9-E9DEC2D41E77}"/>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DD3D-4642-97D9-E9DEC2D41E7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1-E3C4-46BC-AA3D-A3795B7CC7B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38621105571207E-2"/>
          <c:y val="0.22640674019619741"/>
          <c:w val="0.96604631207450631"/>
          <c:h val="0.76380960518739549"/>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0-2A09-4FFC-9D4D-9CC3F6B2DEDD}"/>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1-2A09-4FFC-9D4D-9CC3F6B2DEDD}"/>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11845961320117E-2"/>
          <c:y val="0"/>
          <c:w val="0.96437630807735975"/>
          <c:h val="0.85225155098855032"/>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0810</c:v>
                </c:pt>
                <c:pt idx="1">
                  <c:v>10089</c:v>
                </c:pt>
                <c:pt idx="2">
                  <c:v>5121</c:v>
                </c:pt>
                <c:pt idx="3">
                  <c:v>7276</c:v>
                </c:pt>
                <c:pt idx="4">
                  <c:v>8916</c:v>
                </c:pt>
                <c:pt idx="5">
                  <c:v>9411</c:v>
                </c:pt>
                <c:pt idx="6">
                  <c:v>8041</c:v>
                </c:pt>
                <c:pt idx="7">
                  <c:v>8669</c:v>
                </c:pt>
                <c:pt idx="8">
                  <c:v>11931</c:v>
                </c:pt>
                <c:pt idx="9">
                  <c:v>8121</c:v>
                </c:pt>
                <c:pt idx="10">
                  <c:v>4572</c:v>
                </c:pt>
                <c:pt idx="11">
                  <c:v>8127</c:v>
                </c:pt>
                <c:pt idx="12">
                  <c:v>9262</c:v>
                </c:pt>
                <c:pt idx="13">
                  <c:v>8141</c:v>
                </c:pt>
                <c:pt idx="14">
                  <c:v>9018</c:v>
                </c:pt>
                <c:pt idx="15">
                  <c:v>9003</c:v>
                </c:pt>
                <c:pt idx="16">
                  <c:v>6797</c:v>
                </c:pt>
                <c:pt idx="17">
                  <c:v>4823</c:v>
                </c:pt>
                <c:pt idx="18">
                  <c:v>8083</c:v>
                </c:pt>
                <c:pt idx="19">
                  <c:v>11032</c:v>
                </c:pt>
                <c:pt idx="20">
                  <c:v>10107</c:v>
                </c:pt>
                <c:pt idx="21">
                  <c:v>8418</c:v>
                </c:pt>
                <c:pt idx="22">
                  <c:v>5994</c:v>
                </c:pt>
                <c:pt idx="23">
                  <c:v>7599</c:v>
                </c:pt>
                <c:pt idx="24">
                  <c:v>5115</c:v>
                </c:pt>
                <c:pt idx="25">
                  <c:v>3805</c:v>
                </c:pt>
                <c:pt idx="26">
                  <c:v>6006</c:v>
                </c:pt>
                <c:pt idx="27">
                  <c:v>7379</c:v>
                </c:pt>
                <c:pt idx="28">
                  <c:v>7123</c:v>
                </c:pt>
                <c:pt idx="29">
                  <c:v>7142</c:v>
                </c:pt>
                <c:pt idx="30">
                  <c:v>6877</c:v>
                </c:pt>
                <c:pt idx="31">
                  <c:v>6220</c:v>
                </c:pt>
                <c:pt idx="32">
                  <c:v>5853</c:v>
                </c:pt>
                <c:pt idx="33">
                  <c:v>6009</c:v>
                </c:pt>
                <c:pt idx="34">
                  <c:v>5303</c:v>
                </c:pt>
                <c:pt idx="35">
                  <c:v>5357</c:v>
                </c:pt>
                <c:pt idx="36">
                  <c:v>4769</c:v>
                </c:pt>
                <c:pt idx="37">
                  <c:v>2497</c:v>
                </c:pt>
                <c:pt idx="38">
                  <c:v>3398</c:v>
                </c:pt>
                <c:pt idx="39">
                  <c:v>3621</c:v>
                </c:pt>
                <c:pt idx="40">
                  <c:v>3879</c:v>
                </c:pt>
                <c:pt idx="41">
                  <c:v>4732</c:v>
                </c:pt>
                <c:pt idx="42">
                  <c:v>7308</c:v>
                </c:pt>
                <c:pt idx="43">
                  <c:v>9036</c:v>
                </c:pt>
                <c:pt idx="44">
                  <c:v>10084</c:v>
                </c:pt>
                <c:pt idx="45">
                  <c:v>9083</c:v>
                </c:pt>
                <c:pt idx="46">
                  <c:v>5482</c:v>
                </c:pt>
                <c:pt idx="47">
                  <c:v>3778</c:v>
                </c:pt>
                <c:pt idx="48">
                  <c:v>7809</c:v>
                </c:pt>
                <c:pt idx="49">
                  <c:v>7739</c:v>
                </c:pt>
                <c:pt idx="50">
                  <c:v>7596</c:v>
                </c:pt>
                <c:pt idx="51">
                  <c:v>6196</c:v>
                </c:pt>
                <c:pt idx="52">
                  <c:v>5910</c:v>
                </c:pt>
                <c:pt idx="53">
                  <c:v>3695</c:v>
                </c:pt>
                <c:pt idx="54">
                  <c:v>6430</c:v>
                </c:pt>
                <c:pt idx="55">
                  <c:v>8035</c:v>
                </c:pt>
                <c:pt idx="56">
                  <c:v>7611</c:v>
                </c:pt>
                <c:pt idx="57">
                  <c:v>9039</c:v>
                </c:pt>
                <c:pt idx="58">
                  <c:v>8087</c:v>
                </c:pt>
                <c:pt idx="59">
                  <c:v>8932</c:v>
                </c:pt>
                <c:pt idx="60">
                  <c:v>8868</c:v>
                </c:pt>
                <c:pt idx="61">
                  <c:v>13093</c:v>
                </c:pt>
                <c:pt idx="62">
                  <c:v>8128</c:v>
                </c:pt>
                <c:pt idx="63">
                  <c:v>4890</c:v>
                </c:pt>
                <c:pt idx="64">
                  <c:v>6845</c:v>
                </c:pt>
                <c:pt idx="65">
                  <c:v>8260</c:v>
                </c:pt>
                <c:pt idx="66">
                  <c:v>8951</c:v>
                </c:pt>
                <c:pt idx="67">
                  <c:v>9377</c:v>
                </c:pt>
                <c:pt idx="68">
                  <c:v>7130</c:v>
                </c:pt>
                <c:pt idx="69">
                  <c:v>4881</c:v>
                </c:pt>
                <c:pt idx="70">
                  <c:v>8326</c:v>
                </c:pt>
                <c:pt idx="71">
                  <c:v>6489</c:v>
                </c:pt>
                <c:pt idx="72">
                  <c:v>6081</c:v>
                </c:pt>
                <c:pt idx="73">
                  <c:v>7404</c:v>
                </c:pt>
                <c:pt idx="74">
                  <c:v>7204</c:v>
                </c:pt>
                <c:pt idx="75">
                  <c:v>8013</c:v>
                </c:pt>
                <c:pt idx="76">
                  <c:v>6689</c:v>
                </c:pt>
                <c:pt idx="77">
                  <c:v>6812</c:v>
                </c:pt>
                <c:pt idx="78">
                  <c:v>6117</c:v>
                </c:pt>
                <c:pt idx="79">
                  <c:v>6225</c:v>
                </c:pt>
                <c:pt idx="80">
                  <c:v>3929</c:v>
                </c:pt>
                <c:pt idx="81">
                  <c:v>2740</c:v>
                </c:pt>
                <c:pt idx="82">
                  <c:v>4127</c:v>
                </c:pt>
                <c:pt idx="83">
                  <c:v>4589</c:v>
                </c:pt>
                <c:pt idx="84">
                  <c:v>4916</c:v>
                </c:pt>
                <c:pt idx="85">
                  <c:v>5241</c:v>
                </c:pt>
                <c:pt idx="86">
                  <c:v>5137</c:v>
                </c:pt>
                <c:pt idx="87">
                  <c:v>5001</c:v>
                </c:pt>
                <c:pt idx="88">
                  <c:v>4319</c:v>
                </c:pt>
                <c:pt idx="89">
                  <c:v>4010</c:v>
                </c:pt>
                <c:pt idx="90">
                  <c:v>2753</c:v>
                </c:pt>
                <c:pt idx="91">
                  <c:v>1734</c:v>
                </c:pt>
                <c:pt idx="92">
                  <c:v>3341</c:v>
                </c:pt>
                <c:pt idx="93">
                  <c:v>5772</c:v>
                </c:pt>
                <c:pt idx="94">
                  <c:v>5197</c:v>
                </c:pt>
                <c:pt idx="95">
                  <c:v>3434</c:v>
                </c:pt>
                <c:pt idx="96">
                  <c:v>7685</c:v>
                </c:pt>
                <c:pt idx="97">
                  <c:v>4914</c:v>
                </c:pt>
                <c:pt idx="98">
                  <c:v>2971</c:v>
                </c:pt>
                <c:pt idx="99">
                  <c:v>5204</c:v>
                </c:pt>
                <c:pt idx="100">
                  <c:v>5523</c:v>
                </c:pt>
                <c:pt idx="101">
                  <c:v>5494</c:v>
                </c:pt>
                <c:pt idx="102">
                  <c:v>5440</c:v>
                </c:pt>
                <c:pt idx="103">
                  <c:v>9116</c:v>
                </c:pt>
              </c:numCache>
            </c:numRef>
          </c:val>
          <c:extLst>
            <c:ext xmlns:c16="http://schemas.microsoft.com/office/drawing/2014/chart" uri="{C3380CC4-5D6E-409C-BE32-E72D297353CC}">
              <c16:uniqueId val="{00000000-7F1C-42D6-AB69-34F16F98F945}"/>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0</c:v>
                </c:pt>
                <c:pt idx="1">
                  <c:v>1916</c:v>
                </c:pt>
                <c:pt idx="2">
                  <c:v>37396</c:v>
                </c:pt>
                <c:pt idx="3">
                  <c:v>12228</c:v>
                </c:pt>
                <c:pt idx="4">
                  <c:v>142</c:v>
                </c:pt>
                <c:pt idx="5">
                  <c:v>1</c:v>
                </c:pt>
                <c:pt idx="6">
                  <c:v>0</c:v>
                </c:pt>
                <c:pt idx="7">
                  <c:v>0</c:v>
                </c:pt>
                <c:pt idx="8">
                  <c:v>0</c:v>
                </c:pt>
                <c:pt idx="9">
                  <c:v>40819</c:v>
                </c:pt>
                <c:pt idx="10">
                  <c:v>42168</c:v>
                </c:pt>
                <c:pt idx="11">
                  <c:v>6578</c:v>
                </c:pt>
                <c:pt idx="12">
                  <c:v>17192</c:v>
                </c:pt>
                <c:pt idx="13">
                  <c:v>21303</c:v>
                </c:pt>
                <c:pt idx="14">
                  <c:v>7461</c:v>
                </c:pt>
                <c:pt idx="15">
                  <c:v>43</c:v>
                </c:pt>
                <c:pt idx="16">
                  <c:v>35829</c:v>
                </c:pt>
                <c:pt idx="17">
                  <c:v>44812</c:v>
                </c:pt>
                <c:pt idx="18">
                  <c:v>14043</c:v>
                </c:pt>
                <c:pt idx="19">
                  <c:v>60</c:v>
                </c:pt>
                <c:pt idx="20">
                  <c:v>1</c:v>
                </c:pt>
                <c:pt idx="21">
                  <c:v>18875</c:v>
                </c:pt>
                <c:pt idx="22">
                  <c:v>19234</c:v>
                </c:pt>
                <c:pt idx="23">
                  <c:v>2616</c:v>
                </c:pt>
                <c:pt idx="24">
                  <c:v>20182</c:v>
                </c:pt>
                <c:pt idx="25">
                  <c:v>31984</c:v>
                </c:pt>
                <c:pt idx="26">
                  <c:v>10227</c:v>
                </c:pt>
                <c:pt idx="27">
                  <c:v>18</c:v>
                </c:pt>
                <c:pt idx="28">
                  <c:v>2</c:v>
                </c:pt>
                <c:pt idx="29">
                  <c:v>6</c:v>
                </c:pt>
                <c:pt idx="30">
                  <c:v>0</c:v>
                </c:pt>
                <c:pt idx="31">
                  <c:v>0</c:v>
                </c:pt>
                <c:pt idx="32">
                  <c:v>0</c:v>
                </c:pt>
                <c:pt idx="33">
                  <c:v>8404</c:v>
                </c:pt>
                <c:pt idx="34">
                  <c:v>9887</c:v>
                </c:pt>
                <c:pt idx="35">
                  <c:v>3098</c:v>
                </c:pt>
                <c:pt idx="36">
                  <c:v>843</c:v>
                </c:pt>
                <c:pt idx="37">
                  <c:v>19596</c:v>
                </c:pt>
                <c:pt idx="38">
                  <c:v>7044</c:v>
                </c:pt>
                <c:pt idx="39">
                  <c:v>13</c:v>
                </c:pt>
                <c:pt idx="40">
                  <c:v>7657</c:v>
                </c:pt>
                <c:pt idx="41">
                  <c:v>13687</c:v>
                </c:pt>
                <c:pt idx="42">
                  <c:v>5078</c:v>
                </c:pt>
                <c:pt idx="43">
                  <c:v>39</c:v>
                </c:pt>
                <c:pt idx="44">
                  <c:v>2</c:v>
                </c:pt>
                <c:pt idx="45">
                  <c:v>5</c:v>
                </c:pt>
                <c:pt idx="46">
                  <c:v>41369</c:v>
                </c:pt>
                <c:pt idx="47">
                  <c:v>45452</c:v>
                </c:pt>
                <c:pt idx="48">
                  <c:v>446</c:v>
                </c:pt>
                <c:pt idx="49">
                  <c:v>13</c:v>
                </c:pt>
                <c:pt idx="50">
                  <c:v>1</c:v>
                </c:pt>
                <c:pt idx="51">
                  <c:v>14926</c:v>
                </c:pt>
                <c:pt idx="52">
                  <c:v>19078</c:v>
                </c:pt>
                <c:pt idx="53">
                  <c:v>29930</c:v>
                </c:pt>
                <c:pt idx="54">
                  <c:v>9386</c:v>
                </c:pt>
                <c:pt idx="55">
                  <c:v>185</c:v>
                </c:pt>
                <c:pt idx="56">
                  <c:v>2043</c:v>
                </c:pt>
                <c:pt idx="57">
                  <c:v>759</c:v>
                </c:pt>
                <c:pt idx="58">
                  <c:v>3</c:v>
                </c:pt>
                <c:pt idx="59">
                  <c:v>1367</c:v>
                </c:pt>
                <c:pt idx="60">
                  <c:v>3691</c:v>
                </c:pt>
                <c:pt idx="61">
                  <c:v>143</c:v>
                </c:pt>
                <c:pt idx="62">
                  <c:v>25495</c:v>
                </c:pt>
                <c:pt idx="63">
                  <c:v>32467</c:v>
                </c:pt>
                <c:pt idx="64">
                  <c:v>9174</c:v>
                </c:pt>
                <c:pt idx="65">
                  <c:v>96</c:v>
                </c:pt>
                <c:pt idx="66">
                  <c:v>27</c:v>
                </c:pt>
                <c:pt idx="67">
                  <c:v>24</c:v>
                </c:pt>
                <c:pt idx="68">
                  <c:v>40521</c:v>
                </c:pt>
                <c:pt idx="69">
                  <c:v>50190</c:v>
                </c:pt>
                <c:pt idx="70">
                  <c:v>1098</c:v>
                </c:pt>
                <c:pt idx="71">
                  <c:v>10923</c:v>
                </c:pt>
                <c:pt idx="72">
                  <c:v>14964</c:v>
                </c:pt>
                <c:pt idx="73">
                  <c:v>1998</c:v>
                </c:pt>
                <c:pt idx="74">
                  <c:v>15</c:v>
                </c:pt>
                <c:pt idx="75">
                  <c:v>42</c:v>
                </c:pt>
                <c:pt idx="76">
                  <c:v>845</c:v>
                </c:pt>
                <c:pt idx="77">
                  <c:v>24891</c:v>
                </c:pt>
                <c:pt idx="78">
                  <c:v>6259</c:v>
                </c:pt>
                <c:pt idx="79">
                  <c:v>15</c:v>
                </c:pt>
                <c:pt idx="80">
                  <c:v>18834</c:v>
                </c:pt>
                <c:pt idx="81">
                  <c:v>24637</c:v>
                </c:pt>
                <c:pt idx="82">
                  <c:v>16167</c:v>
                </c:pt>
                <c:pt idx="83">
                  <c:v>9715</c:v>
                </c:pt>
                <c:pt idx="84">
                  <c:v>2894</c:v>
                </c:pt>
                <c:pt idx="85">
                  <c:v>6</c:v>
                </c:pt>
                <c:pt idx="86">
                  <c:v>0</c:v>
                </c:pt>
                <c:pt idx="87">
                  <c:v>0</c:v>
                </c:pt>
                <c:pt idx="88">
                  <c:v>0</c:v>
                </c:pt>
                <c:pt idx="89">
                  <c:v>0</c:v>
                </c:pt>
                <c:pt idx="90">
                  <c:v>10681</c:v>
                </c:pt>
                <c:pt idx="91">
                  <c:v>13812</c:v>
                </c:pt>
                <c:pt idx="92">
                  <c:v>4483</c:v>
                </c:pt>
                <c:pt idx="93">
                  <c:v>17</c:v>
                </c:pt>
                <c:pt idx="94">
                  <c:v>38881</c:v>
                </c:pt>
                <c:pt idx="95">
                  <c:v>41220</c:v>
                </c:pt>
                <c:pt idx="96">
                  <c:v>398</c:v>
                </c:pt>
                <c:pt idx="97">
                  <c:v>22261</c:v>
                </c:pt>
                <c:pt idx="98">
                  <c:v>25702</c:v>
                </c:pt>
                <c:pt idx="99">
                  <c:v>3715</c:v>
                </c:pt>
                <c:pt idx="100">
                  <c:v>10</c:v>
                </c:pt>
                <c:pt idx="101">
                  <c:v>2</c:v>
                </c:pt>
                <c:pt idx="102">
                  <c:v>0</c:v>
                </c:pt>
                <c:pt idx="103">
                  <c:v>0</c:v>
                </c:pt>
              </c:numCache>
            </c:numRef>
          </c:val>
          <c:extLst>
            <c:ext xmlns:c16="http://schemas.microsoft.com/office/drawing/2014/chart" uri="{C3380CC4-5D6E-409C-BE32-E72D297353CC}">
              <c16:uniqueId val="{00000001-7F1C-42D6-AB69-34F16F98F945}"/>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4E00-47D8-B98F-F888755F1F0E}"/>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4E00-47D8-B98F-F888755F1F0E}"/>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19792786125353E-2"/>
          <c:y val="0.22555108645669017"/>
          <c:w val="0.96766497516299987"/>
          <c:h val="0.76466540290122786"/>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1-E3C4-46BC-AA3D-A3795B7CC7B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0-E3C4-46BC-AA3D-A3795B7CC7B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72A7-4D08-96D7-E73109FBDC9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72A7-4D08-96D7-E73109FBDC9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56849691495307E-2"/>
          <c:y val="0.27975726895119418"/>
          <c:w val="0.96119032748959832"/>
          <c:h val="0.71045820353063349"/>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0-0F35-47AC-8F76-BEFC330A665E}"/>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1-0F35-47AC-8F76-BEFC330A665E}"/>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5424</c:v>
                </c:pt>
                <c:pt idx="1">
                  <c:v>7694</c:v>
                </c:pt>
                <c:pt idx="2">
                  <c:v>8064</c:v>
                </c:pt>
                <c:pt idx="3">
                  <c:v>6105</c:v>
                </c:pt>
                <c:pt idx="4">
                  <c:v>4306</c:v>
                </c:pt>
                <c:pt idx="5">
                  <c:v>3336</c:v>
                </c:pt>
                <c:pt idx="6">
                  <c:v>3409</c:v>
                </c:pt>
                <c:pt idx="7">
                  <c:v>3185</c:v>
                </c:pt>
                <c:pt idx="8">
                  <c:v>3633</c:v>
                </c:pt>
                <c:pt idx="9">
                  <c:v>5065</c:v>
                </c:pt>
                <c:pt idx="10">
                  <c:v>5831</c:v>
                </c:pt>
                <c:pt idx="11">
                  <c:v>6041</c:v>
                </c:pt>
                <c:pt idx="12">
                  <c:v>5872</c:v>
                </c:pt>
                <c:pt idx="13">
                  <c:v>5386</c:v>
                </c:pt>
                <c:pt idx="14">
                  <c:v>5546</c:v>
                </c:pt>
                <c:pt idx="15">
                  <c:v>5797</c:v>
                </c:pt>
                <c:pt idx="16">
                  <c:v>3841</c:v>
                </c:pt>
                <c:pt idx="17">
                  <c:v>4474</c:v>
                </c:pt>
                <c:pt idx="18">
                  <c:v>4046</c:v>
                </c:pt>
                <c:pt idx="19">
                  <c:v>5739</c:v>
                </c:pt>
                <c:pt idx="20">
                  <c:v>4628</c:v>
                </c:pt>
                <c:pt idx="21">
                  <c:v>4043</c:v>
                </c:pt>
                <c:pt idx="22">
                  <c:v>3040</c:v>
                </c:pt>
                <c:pt idx="23">
                  <c:v>3112</c:v>
                </c:pt>
                <c:pt idx="24">
                  <c:v>2948</c:v>
                </c:pt>
                <c:pt idx="25">
                  <c:v>4052</c:v>
                </c:pt>
                <c:pt idx="26">
                  <c:v>340</c:v>
                </c:pt>
                <c:pt idx="27">
                  <c:v>406</c:v>
                </c:pt>
                <c:pt idx="28">
                  <c:v>554</c:v>
                </c:pt>
                <c:pt idx="29">
                  <c:v>3932</c:v>
                </c:pt>
                <c:pt idx="30">
                  <c:v>1999</c:v>
                </c:pt>
                <c:pt idx="31">
                  <c:v>2003</c:v>
                </c:pt>
                <c:pt idx="32">
                  <c:v>1782</c:v>
                </c:pt>
                <c:pt idx="33">
                  <c:v>2538</c:v>
                </c:pt>
                <c:pt idx="34">
                  <c:v>2795</c:v>
                </c:pt>
                <c:pt idx="35">
                  <c:v>3057</c:v>
                </c:pt>
                <c:pt idx="36">
                  <c:v>3241</c:v>
                </c:pt>
                <c:pt idx="37">
                  <c:v>2863</c:v>
                </c:pt>
                <c:pt idx="38">
                  <c:v>1742</c:v>
                </c:pt>
                <c:pt idx="39">
                  <c:v>1306</c:v>
                </c:pt>
                <c:pt idx="40">
                  <c:v>1600</c:v>
                </c:pt>
                <c:pt idx="41">
                  <c:v>3084</c:v>
                </c:pt>
                <c:pt idx="42">
                  <c:v>3587</c:v>
                </c:pt>
                <c:pt idx="43">
                  <c:v>3988</c:v>
                </c:pt>
                <c:pt idx="44">
                  <c:v>4116</c:v>
                </c:pt>
                <c:pt idx="45">
                  <c:v>4336</c:v>
                </c:pt>
                <c:pt idx="46">
                  <c:v>4213</c:v>
                </c:pt>
                <c:pt idx="47">
                  <c:v>4087</c:v>
                </c:pt>
                <c:pt idx="48">
                  <c:v>3314</c:v>
                </c:pt>
                <c:pt idx="49">
                  <c:v>3821</c:v>
                </c:pt>
                <c:pt idx="50">
                  <c:v>1905</c:v>
                </c:pt>
                <c:pt idx="51">
                  <c:v>4601</c:v>
                </c:pt>
                <c:pt idx="52">
                  <c:v>4532</c:v>
                </c:pt>
                <c:pt idx="53">
                  <c:v>4419</c:v>
                </c:pt>
                <c:pt idx="54">
                  <c:v>2489</c:v>
                </c:pt>
                <c:pt idx="55">
                  <c:v>2345</c:v>
                </c:pt>
                <c:pt idx="56">
                  <c:v>3038</c:v>
                </c:pt>
                <c:pt idx="57">
                  <c:v>4255</c:v>
                </c:pt>
                <c:pt idx="58">
                  <c:v>2925</c:v>
                </c:pt>
                <c:pt idx="59">
                  <c:v>2021</c:v>
                </c:pt>
                <c:pt idx="60">
                  <c:v>2115</c:v>
                </c:pt>
                <c:pt idx="61">
                  <c:v>4184</c:v>
                </c:pt>
                <c:pt idx="62">
                  <c:v>4940</c:v>
                </c:pt>
                <c:pt idx="63">
                  <c:v>5689</c:v>
                </c:pt>
                <c:pt idx="64">
                  <c:v>4866</c:v>
                </c:pt>
                <c:pt idx="65">
                  <c:v>4303</c:v>
                </c:pt>
                <c:pt idx="66">
                  <c:v>796</c:v>
                </c:pt>
                <c:pt idx="67">
                  <c:v>1015</c:v>
                </c:pt>
                <c:pt idx="68">
                  <c:v>575</c:v>
                </c:pt>
                <c:pt idx="69">
                  <c:v>4545</c:v>
                </c:pt>
                <c:pt idx="70">
                  <c:v>4789</c:v>
                </c:pt>
                <c:pt idx="71">
                  <c:v>4266</c:v>
                </c:pt>
                <c:pt idx="72">
                  <c:v>2262</c:v>
                </c:pt>
                <c:pt idx="73">
                  <c:v>2375</c:v>
                </c:pt>
                <c:pt idx="74">
                  <c:v>2028</c:v>
                </c:pt>
                <c:pt idx="75">
                  <c:v>2504</c:v>
                </c:pt>
                <c:pt idx="76">
                  <c:v>2759</c:v>
                </c:pt>
                <c:pt idx="77">
                  <c:v>1963</c:v>
                </c:pt>
                <c:pt idx="78">
                  <c:v>4173</c:v>
                </c:pt>
                <c:pt idx="79">
                  <c:v>2978</c:v>
                </c:pt>
                <c:pt idx="80">
                  <c:v>1941</c:v>
                </c:pt>
                <c:pt idx="81">
                  <c:v>1887</c:v>
                </c:pt>
                <c:pt idx="82">
                  <c:v>2078</c:v>
                </c:pt>
                <c:pt idx="83">
                  <c:v>3320</c:v>
                </c:pt>
                <c:pt idx="84">
                  <c:v>3041</c:v>
                </c:pt>
                <c:pt idx="85">
                  <c:v>2780</c:v>
                </c:pt>
                <c:pt idx="86">
                  <c:v>2988</c:v>
                </c:pt>
                <c:pt idx="87">
                  <c:v>2273</c:v>
                </c:pt>
                <c:pt idx="88">
                  <c:v>2301</c:v>
                </c:pt>
                <c:pt idx="89">
                  <c:v>2298</c:v>
                </c:pt>
                <c:pt idx="90">
                  <c:v>2674</c:v>
                </c:pt>
                <c:pt idx="91">
                  <c:v>2660</c:v>
                </c:pt>
                <c:pt idx="92">
                  <c:v>2819</c:v>
                </c:pt>
                <c:pt idx="93">
                  <c:v>2652</c:v>
                </c:pt>
                <c:pt idx="94">
                  <c:v>2536</c:v>
                </c:pt>
                <c:pt idx="95">
                  <c:v>2688</c:v>
                </c:pt>
                <c:pt idx="96">
                  <c:v>2415</c:v>
                </c:pt>
                <c:pt idx="97">
                  <c:v>2043</c:v>
                </c:pt>
                <c:pt idx="98">
                  <c:v>2222</c:v>
                </c:pt>
                <c:pt idx="99">
                  <c:v>2956</c:v>
                </c:pt>
                <c:pt idx="100">
                  <c:v>436</c:v>
                </c:pt>
                <c:pt idx="101">
                  <c:v>545</c:v>
                </c:pt>
                <c:pt idx="102">
                  <c:v>411</c:v>
                </c:pt>
                <c:pt idx="103">
                  <c:v>2657</c:v>
                </c:pt>
              </c:numCache>
            </c:numRef>
          </c:val>
          <c:extLst>
            <c:ext xmlns:c16="http://schemas.microsoft.com/office/drawing/2014/chart" uri="{C3380CC4-5D6E-409C-BE32-E72D297353CC}">
              <c16:uniqueId val="{00000000-F61D-48BC-8F2C-2427BC9DB9F7}"/>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788</c:v>
                </c:pt>
                <c:pt idx="1">
                  <c:v>10958</c:v>
                </c:pt>
                <c:pt idx="2">
                  <c:v>13555</c:v>
                </c:pt>
                <c:pt idx="3">
                  <c:v>12297</c:v>
                </c:pt>
                <c:pt idx="4">
                  <c:v>11165</c:v>
                </c:pt>
                <c:pt idx="5">
                  <c:v>8783</c:v>
                </c:pt>
                <c:pt idx="6">
                  <c:v>9989</c:v>
                </c:pt>
                <c:pt idx="7">
                  <c:v>5529</c:v>
                </c:pt>
                <c:pt idx="8">
                  <c:v>6362</c:v>
                </c:pt>
                <c:pt idx="9">
                  <c:v>5893</c:v>
                </c:pt>
                <c:pt idx="10">
                  <c:v>2544</c:v>
                </c:pt>
                <c:pt idx="11">
                  <c:v>225</c:v>
                </c:pt>
                <c:pt idx="12">
                  <c:v>584</c:v>
                </c:pt>
                <c:pt idx="13">
                  <c:v>546</c:v>
                </c:pt>
                <c:pt idx="14">
                  <c:v>178</c:v>
                </c:pt>
                <c:pt idx="15">
                  <c:v>26</c:v>
                </c:pt>
                <c:pt idx="16">
                  <c:v>16345</c:v>
                </c:pt>
                <c:pt idx="17">
                  <c:v>18415</c:v>
                </c:pt>
                <c:pt idx="18">
                  <c:v>6514</c:v>
                </c:pt>
                <c:pt idx="19">
                  <c:v>96</c:v>
                </c:pt>
                <c:pt idx="20">
                  <c:v>4622</c:v>
                </c:pt>
                <c:pt idx="21">
                  <c:v>6267</c:v>
                </c:pt>
                <c:pt idx="22">
                  <c:v>8289</c:v>
                </c:pt>
                <c:pt idx="23">
                  <c:v>8461</c:v>
                </c:pt>
                <c:pt idx="24">
                  <c:v>3085</c:v>
                </c:pt>
                <c:pt idx="25">
                  <c:v>202</c:v>
                </c:pt>
                <c:pt idx="26">
                  <c:v>13498</c:v>
                </c:pt>
                <c:pt idx="27">
                  <c:v>17015</c:v>
                </c:pt>
                <c:pt idx="28">
                  <c:v>7966</c:v>
                </c:pt>
                <c:pt idx="29">
                  <c:v>43</c:v>
                </c:pt>
                <c:pt idx="30">
                  <c:v>8668</c:v>
                </c:pt>
                <c:pt idx="31">
                  <c:v>9714</c:v>
                </c:pt>
                <c:pt idx="32">
                  <c:v>5639</c:v>
                </c:pt>
                <c:pt idx="33">
                  <c:v>2928</c:v>
                </c:pt>
                <c:pt idx="34">
                  <c:v>1384</c:v>
                </c:pt>
                <c:pt idx="35">
                  <c:v>312</c:v>
                </c:pt>
                <c:pt idx="36">
                  <c:v>527</c:v>
                </c:pt>
                <c:pt idx="37">
                  <c:v>554</c:v>
                </c:pt>
                <c:pt idx="38">
                  <c:v>7510</c:v>
                </c:pt>
                <c:pt idx="39">
                  <c:v>10610</c:v>
                </c:pt>
                <c:pt idx="40">
                  <c:v>3797</c:v>
                </c:pt>
                <c:pt idx="41">
                  <c:v>108</c:v>
                </c:pt>
                <c:pt idx="42">
                  <c:v>112</c:v>
                </c:pt>
                <c:pt idx="43">
                  <c:v>120</c:v>
                </c:pt>
                <c:pt idx="44">
                  <c:v>64</c:v>
                </c:pt>
                <c:pt idx="45">
                  <c:v>76</c:v>
                </c:pt>
                <c:pt idx="46">
                  <c:v>54</c:v>
                </c:pt>
                <c:pt idx="47">
                  <c:v>52</c:v>
                </c:pt>
                <c:pt idx="48">
                  <c:v>12536</c:v>
                </c:pt>
                <c:pt idx="49">
                  <c:v>16121</c:v>
                </c:pt>
                <c:pt idx="50">
                  <c:v>7616</c:v>
                </c:pt>
                <c:pt idx="51">
                  <c:v>25</c:v>
                </c:pt>
                <c:pt idx="52">
                  <c:v>45</c:v>
                </c:pt>
                <c:pt idx="53">
                  <c:v>22</c:v>
                </c:pt>
                <c:pt idx="54">
                  <c:v>13220</c:v>
                </c:pt>
                <c:pt idx="55">
                  <c:v>12617</c:v>
                </c:pt>
                <c:pt idx="56">
                  <c:v>3521</c:v>
                </c:pt>
                <c:pt idx="57">
                  <c:v>56</c:v>
                </c:pt>
                <c:pt idx="58">
                  <c:v>4188</c:v>
                </c:pt>
                <c:pt idx="59">
                  <c:v>4176</c:v>
                </c:pt>
                <c:pt idx="60">
                  <c:v>5584</c:v>
                </c:pt>
                <c:pt idx="61">
                  <c:v>8227</c:v>
                </c:pt>
                <c:pt idx="62">
                  <c:v>2884</c:v>
                </c:pt>
                <c:pt idx="63">
                  <c:v>172</c:v>
                </c:pt>
                <c:pt idx="64">
                  <c:v>167</c:v>
                </c:pt>
                <c:pt idx="65">
                  <c:v>111</c:v>
                </c:pt>
                <c:pt idx="66">
                  <c:v>19061</c:v>
                </c:pt>
                <c:pt idx="67">
                  <c:v>22806</c:v>
                </c:pt>
                <c:pt idx="68">
                  <c:v>10136</c:v>
                </c:pt>
                <c:pt idx="69">
                  <c:v>275</c:v>
                </c:pt>
                <c:pt idx="70">
                  <c:v>263</c:v>
                </c:pt>
                <c:pt idx="71">
                  <c:v>280</c:v>
                </c:pt>
                <c:pt idx="72">
                  <c:v>5159</c:v>
                </c:pt>
                <c:pt idx="73">
                  <c:v>7463</c:v>
                </c:pt>
                <c:pt idx="74">
                  <c:v>6894</c:v>
                </c:pt>
                <c:pt idx="75">
                  <c:v>5402</c:v>
                </c:pt>
                <c:pt idx="76">
                  <c:v>6667</c:v>
                </c:pt>
                <c:pt idx="77">
                  <c:v>4448</c:v>
                </c:pt>
                <c:pt idx="78">
                  <c:v>2013</c:v>
                </c:pt>
                <c:pt idx="79">
                  <c:v>87</c:v>
                </c:pt>
                <c:pt idx="80">
                  <c:v>7287</c:v>
                </c:pt>
                <c:pt idx="81">
                  <c:v>10948</c:v>
                </c:pt>
                <c:pt idx="82">
                  <c:v>3570</c:v>
                </c:pt>
                <c:pt idx="83">
                  <c:v>38</c:v>
                </c:pt>
                <c:pt idx="84">
                  <c:v>10</c:v>
                </c:pt>
                <c:pt idx="85">
                  <c:v>10</c:v>
                </c:pt>
                <c:pt idx="86">
                  <c:v>703</c:v>
                </c:pt>
                <c:pt idx="87">
                  <c:v>3282</c:v>
                </c:pt>
                <c:pt idx="88">
                  <c:v>3401</c:v>
                </c:pt>
                <c:pt idx="89">
                  <c:v>1288</c:v>
                </c:pt>
                <c:pt idx="90">
                  <c:v>42</c:v>
                </c:pt>
                <c:pt idx="91">
                  <c:v>34</c:v>
                </c:pt>
                <c:pt idx="92">
                  <c:v>10</c:v>
                </c:pt>
                <c:pt idx="93">
                  <c:v>8</c:v>
                </c:pt>
                <c:pt idx="94">
                  <c:v>11610</c:v>
                </c:pt>
                <c:pt idx="95">
                  <c:v>13969</c:v>
                </c:pt>
                <c:pt idx="96">
                  <c:v>4174</c:v>
                </c:pt>
                <c:pt idx="97">
                  <c:v>9270</c:v>
                </c:pt>
                <c:pt idx="98">
                  <c:v>3242</c:v>
                </c:pt>
                <c:pt idx="99">
                  <c:v>0</c:v>
                </c:pt>
                <c:pt idx="100">
                  <c:v>9868</c:v>
                </c:pt>
                <c:pt idx="101">
                  <c:v>12410</c:v>
                </c:pt>
                <c:pt idx="102">
                  <c:v>5436</c:v>
                </c:pt>
                <c:pt idx="103">
                  <c:v>45</c:v>
                </c:pt>
              </c:numCache>
            </c:numRef>
          </c:val>
          <c:extLst>
            <c:ext xmlns:c16="http://schemas.microsoft.com/office/drawing/2014/chart" uri="{C3380CC4-5D6E-409C-BE32-E72D297353CC}">
              <c16:uniqueId val="{00000001-F61D-48BC-8F2C-2427BC9DB9F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0810</c:v>
                </c:pt>
                <c:pt idx="1">
                  <c:v>10089</c:v>
                </c:pt>
                <c:pt idx="2">
                  <c:v>5121</c:v>
                </c:pt>
                <c:pt idx="3">
                  <c:v>7276</c:v>
                </c:pt>
                <c:pt idx="4">
                  <c:v>8916</c:v>
                </c:pt>
                <c:pt idx="5">
                  <c:v>9411</c:v>
                </c:pt>
                <c:pt idx="6">
                  <c:v>8041</c:v>
                </c:pt>
                <c:pt idx="7">
                  <c:v>8669</c:v>
                </c:pt>
                <c:pt idx="8">
                  <c:v>11931</c:v>
                </c:pt>
                <c:pt idx="9">
                  <c:v>8121</c:v>
                </c:pt>
                <c:pt idx="10">
                  <c:v>4572</c:v>
                </c:pt>
                <c:pt idx="11">
                  <c:v>8127</c:v>
                </c:pt>
                <c:pt idx="12">
                  <c:v>9262</c:v>
                </c:pt>
                <c:pt idx="13">
                  <c:v>8141</c:v>
                </c:pt>
                <c:pt idx="14">
                  <c:v>9018</c:v>
                </c:pt>
                <c:pt idx="15">
                  <c:v>9003</c:v>
                </c:pt>
                <c:pt idx="16">
                  <c:v>6797</c:v>
                </c:pt>
                <c:pt idx="17">
                  <c:v>4823</c:v>
                </c:pt>
                <c:pt idx="18">
                  <c:v>8083</c:v>
                </c:pt>
                <c:pt idx="19">
                  <c:v>11032</c:v>
                </c:pt>
                <c:pt idx="20">
                  <c:v>10107</c:v>
                </c:pt>
                <c:pt idx="21">
                  <c:v>8418</c:v>
                </c:pt>
                <c:pt idx="22">
                  <c:v>5994</c:v>
                </c:pt>
                <c:pt idx="23">
                  <c:v>7599</c:v>
                </c:pt>
                <c:pt idx="24">
                  <c:v>5115</c:v>
                </c:pt>
                <c:pt idx="25">
                  <c:v>3805</c:v>
                </c:pt>
                <c:pt idx="26">
                  <c:v>6006</c:v>
                </c:pt>
                <c:pt idx="27">
                  <c:v>7379</c:v>
                </c:pt>
                <c:pt idx="28">
                  <c:v>7123</c:v>
                </c:pt>
                <c:pt idx="29">
                  <c:v>7142</c:v>
                </c:pt>
                <c:pt idx="30">
                  <c:v>6877</c:v>
                </c:pt>
                <c:pt idx="31">
                  <c:v>6220</c:v>
                </c:pt>
                <c:pt idx="32">
                  <c:v>5853</c:v>
                </c:pt>
                <c:pt idx="33">
                  <c:v>6009</c:v>
                </c:pt>
                <c:pt idx="34">
                  <c:v>5303</c:v>
                </c:pt>
                <c:pt idx="35">
                  <c:v>5357</c:v>
                </c:pt>
                <c:pt idx="36">
                  <c:v>4769</c:v>
                </c:pt>
                <c:pt idx="37">
                  <c:v>2497</c:v>
                </c:pt>
                <c:pt idx="38">
                  <c:v>3398</c:v>
                </c:pt>
                <c:pt idx="39">
                  <c:v>3621</c:v>
                </c:pt>
                <c:pt idx="40">
                  <c:v>3879</c:v>
                </c:pt>
                <c:pt idx="41">
                  <c:v>4732</c:v>
                </c:pt>
                <c:pt idx="42">
                  <c:v>7308</c:v>
                </c:pt>
                <c:pt idx="43">
                  <c:v>9036</c:v>
                </c:pt>
                <c:pt idx="44">
                  <c:v>10084</c:v>
                </c:pt>
                <c:pt idx="45">
                  <c:v>9083</c:v>
                </c:pt>
                <c:pt idx="46">
                  <c:v>5482</c:v>
                </c:pt>
                <c:pt idx="47">
                  <c:v>3778</c:v>
                </c:pt>
                <c:pt idx="48">
                  <c:v>7809</c:v>
                </c:pt>
                <c:pt idx="49">
                  <c:v>7739</c:v>
                </c:pt>
                <c:pt idx="50">
                  <c:v>7596</c:v>
                </c:pt>
                <c:pt idx="51">
                  <c:v>6196</c:v>
                </c:pt>
                <c:pt idx="52">
                  <c:v>5910</c:v>
                </c:pt>
                <c:pt idx="53">
                  <c:v>3695</c:v>
                </c:pt>
                <c:pt idx="54">
                  <c:v>6430</c:v>
                </c:pt>
                <c:pt idx="55">
                  <c:v>8035</c:v>
                </c:pt>
                <c:pt idx="56">
                  <c:v>7611</c:v>
                </c:pt>
                <c:pt idx="57">
                  <c:v>9039</c:v>
                </c:pt>
                <c:pt idx="58">
                  <c:v>8087</c:v>
                </c:pt>
                <c:pt idx="59">
                  <c:v>8932</c:v>
                </c:pt>
                <c:pt idx="60">
                  <c:v>8868</c:v>
                </c:pt>
                <c:pt idx="61">
                  <c:v>13093</c:v>
                </c:pt>
                <c:pt idx="62">
                  <c:v>8128</c:v>
                </c:pt>
                <c:pt idx="63">
                  <c:v>4890</c:v>
                </c:pt>
                <c:pt idx="64">
                  <c:v>6845</c:v>
                </c:pt>
                <c:pt idx="65">
                  <c:v>8260</c:v>
                </c:pt>
                <c:pt idx="66">
                  <c:v>8951</c:v>
                </c:pt>
                <c:pt idx="67">
                  <c:v>9377</c:v>
                </c:pt>
                <c:pt idx="68">
                  <c:v>7130</c:v>
                </c:pt>
                <c:pt idx="69">
                  <c:v>4881</c:v>
                </c:pt>
                <c:pt idx="70">
                  <c:v>8326</c:v>
                </c:pt>
                <c:pt idx="71">
                  <c:v>6489</c:v>
                </c:pt>
                <c:pt idx="72">
                  <c:v>6081</c:v>
                </c:pt>
                <c:pt idx="73">
                  <c:v>7404</c:v>
                </c:pt>
                <c:pt idx="74">
                  <c:v>7204</c:v>
                </c:pt>
                <c:pt idx="75">
                  <c:v>8013</c:v>
                </c:pt>
                <c:pt idx="76">
                  <c:v>6689</c:v>
                </c:pt>
                <c:pt idx="77">
                  <c:v>6812</c:v>
                </c:pt>
                <c:pt idx="78">
                  <c:v>6117</c:v>
                </c:pt>
                <c:pt idx="79">
                  <c:v>6225</c:v>
                </c:pt>
                <c:pt idx="80">
                  <c:v>3929</c:v>
                </c:pt>
                <c:pt idx="81">
                  <c:v>2740</c:v>
                </c:pt>
                <c:pt idx="82">
                  <c:v>4127</c:v>
                </c:pt>
                <c:pt idx="83">
                  <c:v>4589</c:v>
                </c:pt>
                <c:pt idx="84">
                  <c:v>4916</c:v>
                </c:pt>
                <c:pt idx="85">
                  <c:v>5241</c:v>
                </c:pt>
                <c:pt idx="86">
                  <c:v>5137</c:v>
                </c:pt>
                <c:pt idx="87">
                  <c:v>5001</c:v>
                </c:pt>
                <c:pt idx="88">
                  <c:v>4319</c:v>
                </c:pt>
                <c:pt idx="89">
                  <c:v>4010</c:v>
                </c:pt>
                <c:pt idx="90">
                  <c:v>2753</c:v>
                </c:pt>
                <c:pt idx="91">
                  <c:v>1734</c:v>
                </c:pt>
                <c:pt idx="92">
                  <c:v>3341</c:v>
                </c:pt>
                <c:pt idx="93">
                  <c:v>5772</c:v>
                </c:pt>
                <c:pt idx="94">
                  <c:v>5197</c:v>
                </c:pt>
                <c:pt idx="95">
                  <c:v>3434</c:v>
                </c:pt>
                <c:pt idx="96">
                  <c:v>7685</c:v>
                </c:pt>
                <c:pt idx="97">
                  <c:v>4914</c:v>
                </c:pt>
                <c:pt idx="98">
                  <c:v>2971</c:v>
                </c:pt>
                <c:pt idx="99">
                  <c:v>5204</c:v>
                </c:pt>
                <c:pt idx="100">
                  <c:v>5523</c:v>
                </c:pt>
                <c:pt idx="101">
                  <c:v>5494</c:v>
                </c:pt>
                <c:pt idx="102">
                  <c:v>5440</c:v>
                </c:pt>
                <c:pt idx="103">
                  <c:v>9116</c:v>
                </c:pt>
              </c:numCache>
            </c:numRef>
          </c:val>
          <c:extLst>
            <c:ext xmlns:c16="http://schemas.microsoft.com/office/drawing/2014/chart" uri="{C3380CC4-5D6E-409C-BE32-E72D297353CC}">
              <c16:uniqueId val="{00000000-6F53-47D1-94A7-6E320397265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0</c:v>
                </c:pt>
                <c:pt idx="1">
                  <c:v>1916</c:v>
                </c:pt>
                <c:pt idx="2">
                  <c:v>37396</c:v>
                </c:pt>
                <c:pt idx="3">
                  <c:v>12228</c:v>
                </c:pt>
                <c:pt idx="4">
                  <c:v>142</c:v>
                </c:pt>
                <c:pt idx="5">
                  <c:v>1</c:v>
                </c:pt>
                <c:pt idx="6">
                  <c:v>0</c:v>
                </c:pt>
                <c:pt idx="7">
                  <c:v>0</c:v>
                </c:pt>
                <c:pt idx="8">
                  <c:v>0</c:v>
                </c:pt>
                <c:pt idx="9">
                  <c:v>40819</c:v>
                </c:pt>
                <c:pt idx="10">
                  <c:v>42168</c:v>
                </c:pt>
                <c:pt idx="11">
                  <c:v>6578</c:v>
                </c:pt>
                <c:pt idx="12">
                  <c:v>17192</c:v>
                </c:pt>
                <c:pt idx="13">
                  <c:v>21303</c:v>
                </c:pt>
                <c:pt idx="14">
                  <c:v>7461</c:v>
                </c:pt>
                <c:pt idx="15">
                  <c:v>43</c:v>
                </c:pt>
                <c:pt idx="16">
                  <c:v>35829</c:v>
                </c:pt>
                <c:pt idx="17">
                  <c:v>44812</c:v>
                </c:pt>
                <c:pt idx="18">
                  <c:v>14043</c:v>
                </c:pt>
                <c:pt idx="19">
                  <c:v>60</c:v>
                </c:pt>
                <c:pt idx="20">
                  <c:v>1</c:v>
                </c:pt>
                <c:pt idx="21">
                  <c:v>18875</c:v>
                </c:pt>
                <c:pt idx="22">
                  <c:v>19234</c:v>
                </c:pt>
                <c:pt idx="23">
                  <c:v>2616</c:v>
                </c:pt>
                <c:pt idx="24">
                  <c:v>20182</c:v>
                </c:pt>
                <c:pt idx="25">
                  <c:v>31984</c:v>
                </c:pt>
                <c:pt idx="26">
                  <c:v>10227</c:v>
                </c:pt>
                <c:pt idx="27">
                  <c:v>18</c:v>
                </c:pt>
                <c:pt idx="28">
                  <c:v>2</c:v>
                </c:pt>
                <c:pt idx="29">
                  <c:v>6</c:v>
                </c:pt>
                <c:pt idx="30">
                  <c:v>0</c:v>
                </c:pt>
                <c:pt idx="31">
                  <c:v>0</c:v>
                </c:pt>
                <c:pt idx="32">
                  <c:v>0</c:v>
                </c:pt>
                <c:pt idx="33">
                  <c:v>8404</c:v>
                </c:pt>
                <c:pt idx="34">
                  <c:v>9887</c:v>
                </c:pt>
                <c:pt idx="35">
                  <c:v>3098</c:v>
                </c:pt>
                <c:pt idx="36">
                  <c:v>843</c:v>
                </c:pt>
                <c:pt idx="37">
                  <c:v>19596</c:v>
                </c:pt>
                <c:pt idx="38">
                  <c:v>7044</c:v>
                </c:pt>
                <c:pt idx="39">
                  <c:v>13</c:v>
                </c:pt>
                <c:pt idx="40">
                  <c:v>7657</c:v>
                </c:pt>
                <c:pt idx="41">
                  <c:v>13687</c:v>
                </c:pt>
                <c:pt idx="42">
                  <c:v>5078</c:v>
                </c:pt>
                <c:pt idx="43">
                  <c:v>39</c:v>
                </c:pt>
                <c:pt idx="44">
                  <c:v>2</c:v>
                </c:pt>
                <c:pt idx="45">
                  <c:v>5</c:v>
                </c:pt>
                <c:pt idx="46">
                  <c:v>41369</c:v>
                </c:pt>
                <c:pt idx="47">
                  <c:v>45452</c:v>
                </c:pt>
                <c:pt idx="48">
                  <c:v>446</c:v>
                </c:pt>
                <c:pt idx="49">
                  <c:v>13</c:v>
                </c:pt>
                <c:pt idx="50">
                  <c:v>1</c:v>
                </c:pt>
                <c:pt idx="51">
                  <c:v>14926</c:v>
                </c:pt>
                <c:pt idx="52">
                  <c:v>19078</c:v>
                </c:pt>
                <c:pt idx="53">
                  <c:v>29930</c:v>
                </c:pt>
                <c:pt idx="54">
                  <c:v>9386</c:v>
                </c:pt>
                <c:pt idx="55">
                  <c:v>185</c:v>
                </c:pt>
                <c:pt idx="56">
                  <c:v>2043</c:v>
                </c:pt>
                <c:pt idx="57">
                  <c:v>759</c:v>
                </c:pt>
                <c:pt idx="58">
                  <c:v>3</c:v>
                </c:pt>
                <c:pt idx="59">
                  <c:v>1367</c:v>
                </c:pt>
                <c:pt idx="60">
                  <c:v>3691</c:v>
                </c:pt>
                <c:pt idx="61">
                  <c:v>143</c:v>
                </c:pt>
                <c:pt idx="62">
                  <c:v>25495</c:v>
                </c:pt>
                <c:pt idx="63">
                  <c:v>32467</c:v>
                </c:pt>
                <c:pt idx="64">
                  <c:v>9174</c:v>
                </c:pt>
                <c:pt idx="65">
                  <c:v>96</c:v>
                </c:pt>
                <c:pt idx="66">
                  <c:v>27</c:v>
                </c:pt>
                <c:pt idx="67">
                  <c:v>24</c:v>
                </c:pt>
                <c:pt idx="68">
                  <c:v>40521</c:v>
                </c:pt>
                <c:pt idx="69">
                  <c:v>50190</c:v>
                </c:pt>
                <c:pt idx="70">
                  <c:v>1098</c:v>
                </c:pt>
                <c:pt idx="71">
                  <c:v>10923</c:v>
                </c:pt>
                <c:pt idx="72">
                  <c:v>14964</c:v>
                </c:pt>
                <c:pt idx="73">
                  <c:v>1998</c:v>
                </c:pt>
                <c:pt idx="74">
                  <c:v>15</c:v>
                </c:pt>
                <c:pt idx="75">
                  <c:v>42</c:v>
                </c:pt>
                <c:pt idx="76">
                  <c:v>845</c:v>
                </c:pt>
                <c:pt idx="77">
                  <c:v>24891</c:v>
                </c:pt>
                <c:pt idx="78">
                  <c:v>6259</c:v>
                </c:pt>
                <c:pt idx="79">
                  <c:v>15</c:v>
                </c:pt>
                <c:pt idx="80">
                  <c:v>18834</c:v>
                </c:pt>
                <c:pt idx="81">
                  <c:v>24637</c:v>
                </c:pt>
                <c:pt idx="82">
                  <c:v>16167</c:v>
                </c:pt>
                <c:pt idx="83">
                  <c:v>9715</c:v>
                </c:pt>
                <c:pt idx="84">
                  <c:v>2894</c:v>
                </c:pt>
                <c:pt idx="85">
                  <c:v>6</c:v>
                </c:pt>
                <c:pt idx="86">
                  <c:v>0</c:v>
                </c:pt>
                <c:pt idx="87">
                  <c:v>0</c:v>
                </c:pt>
                <c:pt idx="88">
                  <c:v>0</c:v>
                </c:pt>
                <c:pt idx="89">
                  <c:v>0</c:v>
                </c:pt>
                <c:pt idx="90">
                  <c:v>10681</c:v>
                </c:pt>
                <c:pt idx="91">
                  <c:v>13812</c:v>
                </c:pt>
                <c:pt idx="92">
                  <c:v>4483</c:v>
                </c:pt>
                <c:pt idx="93">
                  <c:v>17</c:v>
                </c:pt>
                <c:pt idx="94">
                  <c:v>38881</c:v>
                </c:pt>
                <c:pt idx="95">
                  <c:v>41220</c:v>
                </c:pt>
                <c:pt idx="96">
                  <c:v>398</c:v>
                </c:pt>
                <c:pt idx="97">
                  <c:v>22261</c:v>
                </c:pt>
                <c:pt idx="98">
                  <c:v>25702</c:v>
                </c:pt>
                <c:pt idx="99">
                  <c:v>3715</c:v>
                </c:pt>
                <c:pt idx="100">
                  <c:v>10</c:v>
                </c:pt>
                <c:pt idx="101">
                  <c:v>2</c:v>
                </c:pt>
                <c:pt idx="102">
                  <c:v>0</c:v>
                </c:pt>
                <c:pt idx="103">
                  <c:v>0</c:v>
                </c:pt>
              </c:numCache>
            </c:numRef>
          </c:val>
          <c:extLst>
            <c:ext xmlns:c16="http://schemas.microsoft.com/office/drawing/2014/chart" uri="{C3380CC4-5D6E-409C-BE32-E72D297353CC}">
              <c16:uniqueId val="{00000001-6F53-47D1-94A7-6E320397265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DD3D-4642-97D9-E9DEC2D41E77}"/>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DD3D-4642-97D9-E9DEC2D41E7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56849691495307E-2"/>
          <c:y val="0.27975726895119418"/>
          <c:w val="0.96119032748959832"/>
          <c:h val="0.71045820353063349"/>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2478</c:v>
                </c:pt>
                <c:pt idx="1">
                  <c:v>2478</c:v>
                </c:pt>
                <c:pt idx="2">
                  <c:v>2478</c:v>
                </c:pt>
                <c:pt idx="3">
                  <c:v>2478</c:v>
                </c:pt>
                <c:pt idx="4">
                  <c:v>2368</c:v>
                </c:pt>
                <c:pt idx="5">
                  <c:v>2000</c:v>
                </c:pt>
                <c:pt idx="6">
                  <c:v>2062</c:v>
                </c:pt>
                <c:pt idx="7">
                  <c:v>1695</c:v>
                </c:pt>
                <c:pt idx="8">
                  <c:v>2342</c:v>
                </c:pt>
                <c:pt idx="9">
                  <c:v>2167</c:v>
                </c:pt>
                <c:pt idx="10">
                  <c:v>1912</c:v>
                </c:pt>
                <c:pt idx="11">
                  <c:v>2228</c:v>
                </c:pt>
                <c:pt idx="12">
                  <c:v>2262</c:v>
                </c:pt>
                <c:pt idx="13">
                  <c:v>2672</c:v>
                </c:pt>
                <c:pt idx="14">
                  <c:v>1171</c:v>
                </c:pt>
                <c:pt idx="15">
                  <c:v>1025</c:v>
                </c:pt>
                <c:pt idx="16">
                  <c:v>1176</c:v>
                </c:pt>
                <c:pt idx="17">
                  <c:v>3347</c:v>
                </c:pt>
                <c:pt idx="18">
                  <c:v>5213</c:v>
                </c:pt>
                <c:pt idx="19">
                  <c:v>3988</c:v>
                </c:pt>
                <c:pt idx="20">
                  <c:v>2546</c:v>
                </c:pt>
                <c:pt idx="21">
                  <c:v>2440</c:v>
                </c:pt>
                <c:pt idx="22">
                  <c:v>1616</c:v>
                </c:pt>
                <c:pt idx="23">
                  <c:v>1790</c:v>
                </c:pt>
                <c:pt idx="24">
                  <c:v>1917</c:v>
                </c:pt>
                <c:pt idx="25">
                  <c:v>2749</c:v>
                </c:pt>
                <c:pt idx="26">
                  <c:v>2211</c:v>
                </c:pt>
                <c:pt idx="27">
                  <c:v>2044</c:v>
                </c:pt>
                <c:pt idx="28">
                  <c:v>2232</c:v>
                </c:pt>
                <c:pt idx="29">
                  <c:v>2490</c:v>
                </c:pt>
                <c:pt idx="30">
                  <c:v>1979</c:v>
                </c:pt>
                <c:pt idx="31">
                  <c:v>2482</c:v>
                </c:pt>
                <c:pt idx="32">
                  <c:v>1949</c:v>
                </c:pt>
                <c:pt idx="33">
                  <c:v>1205</c:v>
                </c:pt>
                <c:pt idx="34">
                  <c:v>1466</c:v>
                </c:pt>
                <c:pt idx="35">
                  <c:v>1873</c:v>
                </c:pt>
                <c:pt idx="36">
                  <c:v>945</c:v>
                </c:pt>
                <c:pt idx="37">
                  <c:v>593</c:v>
                </c:pt>
                <c:pt idx="38">
                  <c:v>702</c:v>
                </c:pt>
                <c:pt idx="39">
                  <c:v>1690</c:v>
                </c:pt>
                <c:pt idx="40">
                  <c:v>1130</c:v>
                </c:pt>
                <c:pt idx="41">
                  <c:v>1307</c:v>
                </c:pt>
                <c:pt idx="42">
                  <c:v>3320</c:v>
                </c:pt>
                <c:pt idx="43">
                  <c:v>4953</c:v>
                </c:pt>
                <c:pt idx="44">
                  <c:v>1844</c:v>
                </c:pt>
                <c:pt idx="45">
                  <c:v>1679</c:v>
                </c:pt>
                <c:pt idx="46">
                  <c:v>2514</c:v>
                </c:pt>
                <c:pt idx="47">
                  <c:v>1407</c:v>
                </c:pt>
                <c:pt idx="48">
                  <c:v>1449</c:v>
                </c:pt>
                <c:pt idx="49">
                  <c:v>2514</c:v>
                </c:pt>
                <c:pt idx="50">
                  <c:v>1311</c:v>
                </c:pt>
                <c:pt idx="51">
                  <c:v>1514</c:v>
                </c:pt>
                <c:pt idx="52">
                  <c:v>2288</c:v>
                </c:pt>
                <c:pt idx="53">
                  <c:v>1808</c:v>
                </c:pt>
                <c:pt idx="54">
                  <c:v>1719</c:v>
                </c:pt>
                <c:pt idx="55">
                  <c:v>2315</c:v>
                </c:pt>
                <c:pt idx="56">
                  <c:v>2433</c:v>
                </c:pt>
                <c:pt idx="57">
                  <c:v>2402</c:v>
                </c:pt>
                <c:pt idx="58">
                  <c:v>1912</c:v>
                </c:pt>
                <c:pt idx="59">
                  <c:v>1664</c:v>
                </c:pt>
                <c:pt idx="60">
                  <c:v>2185</c:v>
                </c:pt>
                <c:pt idx="61">
                  <c:v>2158</c:v>
                </c:pt>
                <c:pt idx="62">
                  <c:v>2155</c:v>
                </c:pt>
                <c:pt idx="63">
                  <c:v>2291</c:v>
                </c:pt>
                <c:pt idx="64">
                  <c:v>2452</c:v>
                </c:pt>
                <c:pt idx="65">
                  <c:v>2399</c:v>
                </c:pt>
                <c:pt idx="66">
                  <c:v>1807</c:v>
                </c:pt>
                <c:pt idx="67">
                  <c:v>1760</c:v>
                </c:pt>
                <c:pt idx="68">
                  <c:v>1361</c:v>
                </c:pt>
                <c:pt idx="69">
                  <c:v>1578</c:v>
                </c:pt>
                <c:pt idx="70">
                  <c:v>1971</c:v>
                </c:pt>
                <c:pt idx="71">
                  <c:v>1774</c:v>
                </c:pt>
                <c:pt idx="72">
                  <c:v>1724</c:v>
                </c:pt>
                <c:pt idx="73">
                  <c:v>1949</c:v>
                </c:pt>
                <c:pt idx="74">
                  <c:v>1957</c:v>
                </c:pt>
                <c:pt idx="75">
                  <c:v>1741</c:v>
                </c:pt>
                <c:pt idx="76">
                  <c:v>1219</c:v>
                </c:pt>
                <c:pt idx="77">
                  <c:v>1265</c:v>
                </c:pt>
                <c:pt idx="78">
                  <c:v>1072</c:v>
                </c:pt>
                <c:pt idx="79">
                  <c:v>1414</c:v>
                </c:pt>
                <c:pt idx="80">
                  <c:v>1146</c:v>
                </c:pt>
                <c:pt idx="81">
                  <c:v>942</c:v>
                </c:pt>
                <c:pt idx="82">
                  <c:v>1361</c:v>
                </c:pt>
                <c:pt idx="83">
                  <c:v>1520</c:v>
                </c:pt>
                <c:pt idx="84">
                  <c:v>1632</c:v>
                </c:pt>
                <c:pt idx="85">
                  <c:v>1510</c:v>
                </c:pt>
                <c:pt idx="86">
                  <c:v>1497</c:v>
                </c:pt>
                <c:pt idx="87">
                  <c:v>1432</c:v>
                </c:pt>
                <c:pt idx="88">
                  <c:v>718</c:v>
                </c:pt>
                <c:pt idx="89">
                  <c:v>665</c:v>
                </c:pt>
                <c:pt idx="90">
                  <c:v>732</c:v>
                </c:pt>
                <c:pt idx="91">
                  <c:v>1199</c:v>
                </c:pt>
                <c:pt idx="92">
                  <c:v>833</c:v>
                </c:pt>
                <c:pt idx="93">
                  <c:v>897</c:v>
                </c:pt>
                <c:pt idx="94">
                  <c:v>915</c:v>
                </c:pt>
                <c:pt idx="95">
                  <c:v>702</c:v>
                </c:pt>
                <c:pt idx="96">
                  <c:v>794</c:v>
                </c:pt>
                <c:pt idx="97">
                  <c:v>1337</c:v>
                </c:pt>
                <c:pt idx="98">
                  <c:v>1604</c:v>
                </c:pt>
                <c:pt idx="99">
                  <c:v>854</c:v>
                </c:pt>
                <c:pt idx="100">
                  <c:v>1836</c:v>
                </c:pt>
                <c:pt idx="101">
                  <c:v>2304</c:v>
                </c:pt>
                <c:pt idx="102">
                  <c:v>1807</c:v>
                </c:pt>
                <c:pt idx="103">
                  <c:v>1531</c:v>
                </c:pt>
              </c:numCache>
            </c:numRef>
          </c:val>
          <c:extLst>
            <c:ext xmlns:c16="http://schemas.microsoft.com/office/drawing/2014/chart" uri="{C3380CC4-5D6E-409C-BE32-E72D297353CC}">
              <c16:uniqueId val="{00000000-0F35-47AC-8F76-BEFC330A665E}"/>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2028</c:v>
                </c:pt>
                <c:pt idx="1">
                  <c:v>2028</c:v>
                </c:pt>
                <c:pt idx="2">
                  <c:v>2028</c:v>
                </c:pt>
                <c:pt idx="3">
                  <c:v>2028</c:v>
                </c:pt>
                <c:pt idx="4">
                  <c:v>2943</c:v>
                </c:pt>
                <c:pt idx="5">
                  <c:v>3084</c:v>
                </c:pt>
                <c:pt idx="6">
                  <c:v>2000</c:v>
                </c:pt>
                <c:pt idx="7">
                  <c:v>1256</c:v>
                </c:pt>
                <c:pt idx="8">
                  <c:v>412</c:v>
                </c:pt>
                <c:pt idx="9">
                  <c:v>2182</c:v>
                </c:pt>
                <c:pt idx="10">
                  <c:v>2978</c:v>
                </c:pt>
                <c:pt idx="11">
                  <c:v>1629</c:v>
                </c:pt>
                <c:pt idx="12">
                  <c:v>1001</c:v>
                </c:pt>
                <c:pt idx="13">
                  <c:v>378</c:v>
                </c:pt>
                <c:pt idx="14">
                  <c:v>9946</c:v>
                </c:pt>
                <c:pt idx="15">
                  <c:v>12137</c:v>
                </c:pt>
                <c:pt idx="16">
                  <c:v>6138</c:v>
                </c:pt>
                <c:pt idx="17">
                  <c:v>573</c:v>
                </c:pt>
                <c:pt idx="18">
                  <c:v>1911</c:v>
                </c:pt>
                <c:pt idx="19">
                  <c:v>1572</c:v>
                </c:pt>
                <c:pt idx="20">
                  <c:v>1318</c:v>
                </c:pt>
                <c:pt idx="21">
                  <c:v>1474</c:v>
                </c:pt>
                <c:pt idx="22">
                  <c:v>3060</c:v>
                </c:pt>
                <c:pt idx="23">
                  <c:v>2616</c:v>
                </c:pt>
                <c:pt idx="24">
                  <c:v>1361</c:v>
                </c:pt>
                <c:pt idx="25">
                  <c:v>180</c:v>
                </c:pt>
                <c:pt idx="26">
                  <c:v>1706</c:v>
                </c:pt>
                <c:pt idx="27">
                  <c:v>2097</c:v>
                </c:pt>
                <c:pt idx="28">
                  <c:v>4730</c:v>
                </c:pt>
                <c:pt idx="29">
                  <c:v>5465</c:v>
                </c:pt>
                <c:pt idx="30">
                  <c:v>2221</c:v>
                </c:pt>
                <c:pt idx="31">
                  <c:v>182</c:v>
                </c:pt>
                <c:pt idx="32">
                  <c:v>1305</c:v>
                </c:pt>
                <c:pt idx="33">
                  <c:v>2192</c:v>
                </c:pt>
                <c:pt idx="34">
                  <c:v>1632</c:v>
                </c:pt>
                <c:pt idx="35">
                  <c:v>765</c:v>
                </c:pt>
                <c:pt idx="36">
                  <c:v>3408</c:v>
                </c:pt>
                <c:pt idx="37">
                  <c:v>4140</c:v>
                </c:pt>
                <c:pt idx="38">
                  <c:v>2408</c:v>
                </c:pt>
                <c:pt idx="39">
                  <c:v>205</c:v>
                </c:pt>
                <c:pt idx="40">
                  <c:v>1437</c:v>
                </c:pt>
                <c:pt idx="41">
                  <c:v>2342</c:v>
                </c:pt>
                <c:pt idx="42">
                  <c:v>2397</c:v>
                </c:pt>
                <c:pt idx="43">
                  <c:v>1774</c:v>
                </c:pt>
                <c:pt idx="44">
                  <c:v>5172</c:v>
                </c:pt>
                <c:pt idx="45">
                  <c:v>2814</c:v>
                </c:pt>
                <c:pt idx="46">
                  <c:v>581</c:v>
                </c:pt>
                <c:pt idx="47">
                  <c:v>5403</c:v>
                </c:pt>
                <c:pt idx="48">
                  <c:v>3282</c:v>
                </c:pt>
                <c:pt idx="49">
                  <c:v>258</c:v>
                </c:pt>
                <c:pt idx="50">
                  <c:v>4291</c:v>
                </c:pt>
                <c:pt idx="51">
                  <c:v>2578</c:v>
                </c:pt>
                <c:pt idx="52">
                  <c:v>341</c:v>
                </c:pt>
                <c:pt idx="53">
                  <c:v>2465</c:v>
                </c:pt>
                <c:pt idx="54">
                  <c:v>1096</c:v>
                </c:pt>
                <c:pt idx="55">
                  <c:v>246</c:v>
                </c:pt>
                <c:pt idx="56">
                  <c:v>175</c:v>
                </c:pt>
                <c:pt idx="57">
                  <c:v>147</c:v>
                </c:pt>
                <c:pt idx="58">
                  <c:v>1069</c:v>
                </c:pt>
                <c:pt idx="59">
                  <c:v>862</c:v>
                </c:pt>
                <c:pt idx="60">
                  <c:v>187</c:v>
                </c:pt>
                <c:pt idx="61">
                  <c:v>1513</c:v>
                </c:pt>
                <c:pt idx="62">
                  <c:v>2362</c:v>
                </c:pt>
                <c:pt idx="63">
                  <c:v>898</c:v>
                </c:pt>
                <c:pt idx="64">
                  <c:v>431</c:v>
                </c:pt>
                <c:pt idx="65">
                  <c:v>60</c:v>
                </c:pt>
                <c:pt idx="66">
                  <c:v>3535</c:v>
                </c:pt>
                <c:pt idx="67">
                  <c:v>4094</c:v>
                </c:pt>
                <c:pt idx="68">
                  <c:v>4133</c:v>
                </c:pt>
                <c:pt idx="69">
                  <c:v>3639</c:v>
                </c:pt>
                <c:pt idx="70">
                  <c:v>5408</c:v>
                </c:pt>
                <c:pt idx="71">
                  <c:v>3501</c:v>
                </c:pt>
                <c:pt idx="72">
                  <c:v>1232</c:v>
                </c:pt>
                <c:pt idx="73">
                  <c:v>1018</c:v>
                </c:pt>
                <c:pt idx="74">
                  <c:v>156</c:v>
                </c:pt>
                <c:pt idx="75">
                  <c:v>135</c:v>
                </c:pt>
                <c:pt idx="76">
                  <c:v>3172</c:v>
                </c:pt>
                <c:pt idx="77">
                  <c:v>3215</c:v>
                </c:pt>
                <c:pt idx="78">
                  <c:v>2768</c:v>
                </c:pt>
                <c:pt idx="79">
                  <c:v>1343</c:v>
                </c:pt>
                <c:pt idx="80">
                  <c:v>1481</c:v>
                </c:pt>
                <c:pt idx="81">
                  <c:v>2332</c:v>
                </c:pt>
                <c:pt idx="82">
                  <c:v>2313</c:v>
                </c:pt>
                <c:pt idx="83">
                  <c:v>432</c:v>
                </c:pt>
                <c:pt idx="84">
                  <c:v>57</c:v>
                </c:pt>
                <c:pt idx="85">
                  <c:v>51</c:v>
                </c:pt>
                <c:pt idx="86">
                  <c:v>265</c:v>
                </c:pt>
                <c:pt idx="87">
                  <c:v>406</c:v>
                </c:pt>
                <c:pt idx="88">
                  <c:v>2365</c:v>
                </c:pt>
                <c:pt idx="89">
                  <c:v>3110</c:v>
                </c:pt>
                <c:pt idx="90">
                  <c:v>1479</c:v>
                </c:pt>
                <c:pt idx="91">
                  <c:v>191</c:v>
                </c:pt>
                <c:pt idx="92">
                  <c:v>1302</c:v>
                </c:pt>
                <c:pt idx="93">
                  <c:v>1871</c:v>
                </c:pt>
                <c:pt idx="94">
                  <c:v>1555</c:v>
                </c:pt>
                <c:pt idx="95">
                  <c:v>6364</c:v>
                </c:pt>
                <c:pt idx="96">
                  <c:v>8770</c:v>
                </c:pt>
                <c:pt idx="97">
                  <c:v>1132</c:v>
                </c:pt>
                <c:pt idx="98">
                  <c:v>710</c:v>
                </c:pt>
                <c:pt idx="99">
                  <c:v>4715</c:v>
                </c:pt>
                <c:pt idx="100">
                  <c:v>3239</c:v>
                </c:pt>
                <c:pt idx="101">
                  <c:v>1751</c:v>
                </c:pt>
                <c:pt idx="102">
                  <c:v>342</c:v>
                </c:pt>
                <c:pt idx="103">
                  <c:v>209</c:v>
                </c:pt>
              </c:numCache>
            </c:numRef>
          </c:val>
          <c:extLst>
            <c:ext xmlns:c16="http://schemas.microsoft.com/office/drawing/2014/chart" uri="{C3380CC4-5D6E-409C-BE32-E72D297353CC}">
              <c16:uniqueId val="{00000001-0F35-47AC-8F76-BEFC330A665E}"/>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d/yyyy" sourceLinked="1"/>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5424</c:v>
                </c:pt>
                <c:pt idx="1">
                  <c:v>7694</c:v>
                </c:pt>
                <c:pt idx="2">
                  <c:v>8064</c:v>
                </c:pt>
                <c:pt idx="3">
                  <c:v>6105</c:v>
                </c:pt>
                <c:pt idx="4">
                  <c:v>4306</c:v>
                </c:pt>
                <c:pt idx="5">
                  <c:v>3336</c:v>
                </c:pt>
                <c:pt idx="6">
                  <c:v>3409</c:v>
                </c:pt>
                <c:pt idx="7">
                  <c:v>3185</c:v>
                </c:pt>
                <c:pt idx="8">
                  <c:v>3633</c:v>
                </c:pt>
                <c:pt idx="9">
                  <c:v>5065</c:v>
                </c:pt>
                <c:pt idx="10">
                  <c:v>5831</c:v>
                </c:pt>
                <c:pt idx="11">
                  <c:v>6041</c:v>
                </c:pt>
                <c:pt idx="12">
                  <c:v>5872</c:v>
                </c:pt>
                <c:pt idx="13">
                  <c:v>5386</c:v>
                </c:pt>
                <c:pt idx="14">
                  <c:v>5546</c:v>
                </c:pt>
                <c:pt idx="15">
                  <c:v>5797</c:v>
                </c:pt>
                <c:pt idx="16">
                  <c:v>3841</c:v>
                </c:pt>
                <c:pt idx="17">
                  <c:v>4474</c:v>
                </c:pt>
                <c:pt idx="18">
                  <c:v>4046</c:v>
                </c:pt>
                <c:pt idx="19">
                  <c:v>5739</c:v>
                </c:pt>
                <c:pt idx="20">
                  <c:v>4628</c:v>
                </c:pt>
                <c:pt idx="21">
                  <c:v>4043</c:v>
                </c:pt>
                <c:pt idx="22">
                  <c:v>3040</c:v>
                </c:pt>
                <c:pt idx="23">
                  <c:v>3112</c:v>
                </c:pt>
                <c:pt idx="24">
                  <c:v>2948</c:v>
                </c:pt>
                <c:pt idx="25">
                  <c:v>4052</c:v>
                </c:pt>
                <c:pt idx="26">
                  <c:v>340</c:v>
                </c:pt>
                <c:pt idx="27">
                  <c:v>406</c:v>
                </c:pt>
                <c:pt idx="28">
                  <c:v>554</c:v>
                </c:pt>
                <c:pt idx="29">
                  <c:v>3932</c:v>
                </c:pt>
                <c:pt idx="30">
                  <c:v>1999</c:v>
                </c:pt>
                <c:pt idx="31">
                  <c:v>2003</c:v>
                </c:pt>
                <c:pt idx="32">
                  <c:v>1782</c:v>
                </c:pt>
                <c:pt idx="33">
                  <c:v>2538</c:v>
                </c:pt>
                <c:pt idx="34">
                  <c:v>2795</c:v>
                </c:pt>
                <c:pt idx="35">
                  <c:v>3057</c:v>
                </c:pt>
                <c:pt idx="36">
                  <c:v>3241</c:v>
                </c:pt>
                <c:pt idx="37">
                  <c:v>2863</c:v>
                </c:pt>
                <c:pt idx="38">
                  <c:v>1742</c:v>
                </c:pt>
                <c:pt idx="39">
                  <c:v>1306</c:v>
                </c:pt>
                <c:pt idx="40">
                  <c:v>1600</c:v>
                </c:pt>
                <c:pt idx="41">
                  <c:v>3084</c:v>
                </c:pt>
                <c:pt idx="42">
                  <c:v>3587</c:v>
                </c:pt>
                <c:pt idx="43">
                  <c:v>3988</c:v>
                </c:pt>
                <c:pt idx="44">
                  <c:v>4116</c:v>
                </c:pt>
                <c:pt idx="45">
                  <c:v>4336</c:v>
                </c:pt>
                <c:pt idx="46">
                  <c:v>4213</c:v>
                </c:pt>
                <c:pt idx="47">
                  <c:v>4087</c:v>
                </c:pt>
                <c:pt idx="48">
                  <c:v>3314</c:v>
                </c:pt>
                <c:pt idx="49">
                  <c:v>3821</c:v>
                </c:pt>
                <c:pt idx="50">
                  <c:v>1905</c:v>
                </c:pt>
                <c:pt idx="51">
                  <c:v>4601</c:v>
                </c:pt>
                <c:pt idx="52">
                  <c:v>4532</c:v>
                </c:pt>
                <c:pt idx="53">
                  <c:v>4419</c:v>
                </c:pt>
                <c:pt idx="54">
                  <c:v>2489</c:v>
                </c:pt>
                <c:pt idx="55">
                  <c:v>2345</c:v>
                </c:pt>
                <c:pt idx="56">
                  <c:v>3038</c:v>
                </c:pt>
                <c:pt idx="57">
                  <c:v>4255</c:v>
                </c:pt>
                <c:pt idx="58">
                  <c:v>2925</c:v>
                </c:pt>
                <c:pt idx="59">
                  <c:v>2021</c:v>
                </c:pt>
                <c:pt idx="60">
                  <c:v>2115</c:v>
                </c:pt>
                <c:pt idx="61">
                  <c:v>4184</c:v>
                </c:pt>
                <c:pt idx="62">
                  <c:v>4940</c:v>
                </c:pt>
                <c:pt idx="63">
                  <c:v>5689</c:v>
                </c:pt>
                <c:pt idx="64">
                  <c:v>4866</c:v>
                </c:pt>
                <c:pt idx="65">
                  <c:v>4303</c:v>
                </c:pt>
                <c:pt idx="66">
                  <c:v>796</c:v>
                </c:pt>
                <c:pt idx="67">
                  <c:v>1015</c:v>
                </c:pt>
                <c:pt idx="68">
                  <c:v>575</c:v>
                </c:pt>
                <c:pt idx="69">
                  <c:v>4545</c:v>
                </c:pt>
                <c:pt idx="70">
                  <c:v>4789</c:v>
                </c:pt>
                <c:pt idx="71">
                  <c:v>4266</c:v>
                </c:pt>
                <c:pt idx="72">
                  <c:v>2262</c:v>
                </c:pt>
                <c:pt idx="73">
                  <c:v>2375</c:v>
                </c:pt>
                <c:pt idx="74">
                  <c:v>2028</c:v>
                </c:pt>
                <c:pt idx="75">
                  <c:v>2504</c:v>
                </c:pt>
                <c:pt idx="76">
                  <c:v>2759</c:v>
                </c:pt>
                <c:pt idx="77">
                  <c:v>1963</c:v>
                </c:pt>
                <c:pt idx="78">
                  <c:v>4173</c:v>
                </c:pt>
                <c:pt idx="79">
                  <c:v>2978</c:v>
                </c:pt>
                <c:pt idx="80">
                  <c:v>1941</c:v>
                </c:pt>
                <c:pt idx="81">
                  <c:v>1887</c:v>
                </c:pt>
                <c:pt idx="82">
                  <c:v>2078</c:v>
                </c:pt>
                <c:pt idx="83">
                  <c:v>3320</c:v>
                </c:pt>
                <c:pt idx="84">
                  <c:v>3041</c:v>
                </c:pt>
                <c:pt idx="85">
                  <c:v>2780</c:v>
                </c:pt>
                <c:pt idx="86">
                  <c:v>2988</c:v>
                </c:pt>
                <c:pt idx="87">
                  <c:v>2273</c:v>
                </c:pt>
                <c:pt idx="88">
                  <c:v>2301</c:v>
                </c:pt>
                <c:pt idx="89">
                  <c:v>2298</c:v>
                </c:pt>
                <c:pt idx="90">
                  <c:v>2674</c:v>
                </c:pt>
                <c:pt idx="91">
                  <c:v>2660</c:v>
                </c:pt>
                <c:pt idx="92">
                  <c:v>2819</c:v>
                </c:pt>
                <c:pt idx="93">
                  <c:v>2652</c:v>
                </c:pt>
                <c:pt idx="94">
                  <c:v>2536</c:v>
                </c:pt>
                <c:pt idx="95">
                  <c:v>2688</c:v>
                </c:pt>
                <c:pt idx="96">
                  <c:v>2415</c:v>
                </c:pt>
                <c:pt idx="97">
                  <c:v>2043</c:v>
                </c:pt>
                <c:pt idx="98">
                  <c:v>2222</c:v>
                </c:pt>
                <c:pt idx="99">
                  <c:v>2956</c:v>
                </c:pt>
                <c:pt idx="100">
                  <c:v>436</c:v>
                </c:pt>
                <c:pt idx="101">
                  <c:v>545</c:v>
                </c:pt>
                <c:pt idx="102">
                  <c:v>411</c:v>
                </c:pt>
                <c:pt idx="103">
                  <c:v>2657</c:v>
                </c:pt>
              </c:numCache>
            </c:numRef>
          </c:val>
          <c:extLst>
            <c:ext xmlns:c16="http://schemas.microsoft.com/office/drawing/2014/chart" uri="{C3380CC4-5D6E-409C-BE32-E72D297353CC}">
              <c16:uniqueId val="{00000000-F61D-48BC-8F2C-2427BC9DB9F7}"/>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788</c:v>
                </c:pt>
                <c:pt idx="1">
                  <c:v>10958</c:v>
                </c:pt>
                <c:pt idx="2">
                  <c:v>13555</c:v>
                </c:pt>
                <c:pt idx="3">
                  <c:v>12297</c:v>
                </c:pt>
                <c:pt idx="4">
                  <c:v>11165</c:v>
                </c:pt>
                <c:pt idx="5">
                  <c:v>8783</c:v>
                </c:pt>
                <c:pt idx="6">
                  <c:v>9989</c:v>
                </c:pt>
                <c:pt idx="7">
                  <c:v>5529</c:v>
                </c:pt>
                <c:pt idx="8">
                  <c:v>6362</c:v>
                </c:pt>
                <c:pt idx="9">
                  <c:v>5893</c:v>
                </c:pt>
                <c:pt idx="10">
                  <c:v>2544</c:v>
                </c:pt>
                <c:pt idx="11">
                  <c:v>225</c:v>
                </c:pt>
                <c:pt idx="12">
                  <c:v>584</c:v>
                </c:pt>
                <c:pt idx="13">
                  <c:v>546</c:v>
                </c:pt>
                <c:pt idx="14">
                  <c:v>178</c:v>
                </c:pt>
                <c:pt idx="15">
                  <c:v>26</c:v>
                </c:pt>
                <c:pt idx="16">
                  <c:v>16345</c:v>
                </c:pt>
                <c:pt idx="17">
                  <c:v>18415</c:v>
                </c:pt>
                <c:pt idx="18">
                  <c:v>6514</c:v>
                </c:pt>
                <c:pt idx="19">
                  <c:v>96</c:v>
                </c:pt>
                <c:pt idx="20">
                  <c:v>4622</c:v>
                </c:pt>
                <c:pt idx="21">
                  <c:v>6267</c:v>
                </c:pt>
                <c:pt idx="22">
                  <c:v>8289</c:v>
                </c:pt>
                <c:pt idx="23">
                  <c:v>8461</c:v>
                </c:pt>
                <c:pt idx="24">
                  <c:v>3085</c:v>
                </c:pt>
                <c:pt idx="25">
                  <c:v>202</c:v>
                </c:pt>
                <c:pt idx="26">
                  <c:v>13498</c:v>
                </c:pt>
                <c:pt idx="27">
                  <c:v>17015</c:v>
                </c:pt>
                <c:pt idx="28">
                  <c:v>7966</c:v>
                </c:pt>
                <c:pt idx="29">
                  <c:v>43</c:v>
                </c:pt>
                <c:pt idx="30">
                  <c:v>8668</c:v>
                </c:pt>
                <c:pt idx="31">
                  <c:v>9714</c:v>
                </c:pt>
                <c:pt idx="32">
                  <c:v>5639</c:v>
                </c:pt>
                <c:pt idx="33">
                  <c:v>2928</c:v>
                </c:pt>
                <c:pt idx="34">
                  <c:v>1384</c:v>
                </c:pt>
                <c:pt idx="35">
                  <c:v>312</c:v>
                </c:pt>
                <c:pt idx="36">
                  <c:v>527</c:v>
                </c:pt>
                <c:pt idx="37">
                  <c:v>554</c:v>
                </c:pt>
                <c:pt idx="38">
                  <c:v>7510</c:v>
                </c:pt>
                <c:pt idx="39">
                  <c:v>10610</c:v>
                </c:pt>
                <c:pt idx="40">
                  <c:v>3797</c:v>
                </c:pt>
                <c:pt idx="41">
                  <c:v>108</c:v>
                </c:pt>
                <c:pt idx="42">
                  <c:v>112</c:v>
                </c:pt>
                <c:pt idx="43">
                  <c:v>120</c:v>
                </c:pt>
                <c:pt idx="44">
                  <c:v>64</c:v>
                </c:pt>
                <c:pt idx="45">
                  <c:v>76</c:v>
                </c:pt>
                <c:pt idx="46">
                  <c:v>54</c:v>
                </c:pt>
                <c:pt idx="47">
                  <c:v>52</c:v>
                </c:pt>
                <c:pt idx="48">
                  <c:v>12536</c:v>
                </c:pt>
                <c:pt idx="49">
                  <c:v>16121</c:v>
                </c:pt>
                <c:pt idx="50">
                  <c:v>7616</c:v>
                </c:pt>
                <c:pt idx="51">
                  <c:v>25</c:v>
                </c:pt>
                <c:pt idx="52">
                  <c:v>45</c:v>
                </c:pt>
                <c:pt idx="53">
                  <c:v>22</c:v>
                </c:pt>
                <c:pt idx="54">
                  <c:v>13220</c:v>
                </c:pt>
                <c:pt idx="55">
                  <c:v>12617</c:v>
                </c:pt>
                <c:pt idx="56">
                  <c:v>3521</c:v>
                </c:pt>
                <c:pt idx="57">
                  <c:v>56</c:v>
                </c:pt>
                <c:pt idx="58">
                  <c:v>4188</c:v>
                </c:pt>
                <c:pt idx="59">
                  <c:v>4176</c:v>
                </c:pt>
                <c:pt idx="60">
                  <c:v>5584</c:v>
                </c:pt>
                <c:pt idx="61">
                  <c:v>8227</c:v>
                </c:pt>
                <c:pt idx="62">
                  <c:v>2884</c:v>
                </c:pt>
                <c:pt idx="63">
                  <c:v>172</c:v>
                </c:pt>
                <c:pt idx="64">
                  <c:v>167</c:v>
                </c:pt>
                <c:pt idx="65">
                  <c:v>111</c:v>
                </c:pt>
                <c:pt idx="66">
                  <c:v>19061</c:v>
                </c:pt>
                <c:pt idx="67">
                  <c:v>22806</c:v>
                </c:pt>
                <c:pt idx="68">
                  <c:v>10136</c:v>
                </c:pt>
                <c:pt idx="69">
                  <c:v>275</c:v>
                </c:pt>
                <c:pt idx="70">
                  <c:v>263</c:v>
                </c:pt>
                <c:pt idx="71">
                  <c:v>280</c:v>
                </c:pt>
                <c:pt idx="72">
                  <c:v>5159</c:v>
                </c:pt>
                <c:pt idx="73">
                  <c:v>7463</c:v>
                </c:pt>
                <c:pt idx="74">
                  <c:v>6894</c:v>
                </c:pt>
                <c:pt idx="75">
                  <c:v>5402</c:v>
                </c:pt>
                <c:pt idx="76">
                  <c:v>6667</c:v>
                </c:pt>
                <c:pt idx="77">
                  <c:v>4448</c:v>
                </c:pt>
                <c:pt idx="78">
                  <c:v>2013</c:v>
                </c:pt>
                <c:pt idx="79">
                  <c:v>87</c:v>
                </c:pt>
                <c:pt idx="80">
                  <c:v>7287</c:v>
                </c:pt>
                <c:pt idx="81">
                  <c:v>10948</c:v>
                </c:pt>
                <c:pt idx="82">
                  <c:v>3570</c:v>
                </c:pt>
                <c:pt idx="83">
                  <c:v>38</c:v>
                </c:pt>
                <c:pt idx="84">
                  <c:v>10</c:v>
                </c:pt>
                <c:pt idx="85">
                  <c:v>10</c:v>
                </c:pt>
                <c:pt idx="86">
                  <c:v>703</c:v>
                </c:pt>
                <c:pt idx="87">
                  <c:v>3282</c:v>
                </c:pt>
                <c:pt idx="88">
                  <c:v>3401</c:v>
                </c:pt>
                <c:pt idx="89">
                  <c:v>1288</c:v>
                </c:pt>
                <c:pt idx="90">
                  <c:v>42</c:v>
                </c:pt>
                <c:pt idx="91">
                  <c:v>34</c:v>
                </c:pt>
                <c:pt idx="92">
                  <c:v>10</c:v>
                </c:pt>
                <c:pt idx="93">
                  <c:v>8</c:v>
                </c:pt>
                <c:pt idx="94">
                  <c:v>11610</c:v>
                </c:pt>
                <c:pt idx="95">
                  <c:v>13969</c:v>
                </c:pt>
                <c:pt idx="96">
                  <c:v>4174</c:v>
                </c:pt>
                <c:pt idx="97">
                  <c:v>9270</c:v>
                </c:pt>
                <c:pt idx="98">
                  <c:v>3242</c:v>
                </c:pt>
                <c:pt idx="99">
                  <c:v>0</c:v>
                </c:pt>
                <c:pt idx="100">
                  <c:v>9868</c:v>
                </c:pt>
                <c:pt idx="101">
                  <c:v>12410</c:v>
                </c:pt>
                <c:pt idx="102">
                  <c:v>5436</c:v>
                </c:pt>
                <c:pt idx="103">
                  <c:v>45</c:v>
                </c:pt>
              </c:numCache>
            </c:numRef>
          </c:val>
          <c:extLst>
            <c:ext xmlns:c16="http://schemas.microsoft.com/office/drawing/2014/chart" uri="{C3380CC4-5D6E-409C-BE32-E72D297353CC}">
              <c16:uniqueId val="{00000001-F61D-48BC-8F2C-2427BC9DB9F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809502574346388E-2"/>
          <c:y val="0.13083628337387626"/>
          <c:w val="0.96438099485130724"/>
          <c:h val="0.68926382698704391"/>
        </c:manualLayout>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0810</c:v>
                </c:pt>
                <c:pt idx="1">
                  <c:v>10089</c:v>
                </c:pt>
                <c:pt idx="2">
                  <c:v>5121</c:v>
                </c:pt>
                <c:pt idx="3">
                  <c:v>7276</c:v>
                </c:pt>
                <c:pt idx="4">
                  <c:v>8916</c:v>
                </c:pt>
                <c:pt idx="5">
                  <c:v>9411</c:v>
                </c:pt>
                <c:pt idx="6">
                  <c:v>8041</c:v>
                </c:pt>
                <c:pt idx="7">
                  <c:v>8669</c:v>
                </c:pt>
                <c:pt idx="8">
                  <c:v>11931</c:v>
                </c:pt>
                <c:pt idx="9">
                  <c:v>8121</c:v>
                </c:pt>
                <c:pt idx="10">
                  <c:v>4572</c:v>
                </c:pt>
                <c:pt idx="11">
                  <c:v>8127</c:v>
                </c:pt>
                <c:pt idx="12">
                  <c:v>9262</c:v>
                </c:pt>
                <c:pt idx="13">
                  <c:v>8141</c:v>
                </c:pt>
                <c:pt idx="14">
                  <c:v>9018</c:v>
                </c:pt>
                <c:pt idx="15">
                  <c:v>9003</c:v>
                </c:pt>
                <c:pt idx="16">
                  <c:v>6797</c:v>
                </c:pt>
                <c:pt idx="17">
                  <c:v>4823</c:v>
                </c:pt>
                <c:pt idx="18">
                  <c:v>8083</c:v>
                </c:pt>
                <c:pt idx="19">
                  <c:v>11032</c:v>
                </c:pt>
                <c:pt idx="20">
                  <c:v>10107</c:v>
                </c:pt>
                <c:pt idx="21">
                  <c:v>8418</c:v>
                </c:pt>
                <c:pt idx="22">
                  <c:v>5994</c:v>
                </c:pt>
                <c:pt idx="23">
                  <c:v>7599</c:v>
                </c:pt>
                <c:pt idx="24">
                  <c:v>5115</c:v>
                </c:pt>
                <c:pt idx="25">
                  <c:v>3805</c:v>
                </c:pt>
                <c:pt idx="26">
                  <c:v>6006</c:v>
                </c:pt>
                <c:pt idx="27">
                  <c:v>7379</c:v>
                </c:pt>
                <c:pt idx="28">
                  <c:v>7123</c:v>
                </c:pt>
                <c:pt idx="29">
                  <c:v>7142</c:v>
                </c:pt>
                <c:pt idx="30">
                  <c:v>6877</c:v>
                </c:pt>
                <c:pt idx="31">
                  <c:v>6220</c:v>
                </c:pt>
                <c:pt idx="32">
                  <c:v>5853</c:v>
                </c:pt>
                <c:pt idx="33">
                  <c:v>6009</c:v>
                </c:pt>
                <c:pt idx="34">
                  <c:v>5303</c:v>
                </c:pt>
                <c:pt idx="35">
                  <c:v>5357</c:v>
                </c:pt>
                <c:pt idx="36">
                  <c:v>4769</c:v>
                </c:pt>
                <c:pt idx="37">
                  <c:v>2497</c:v>
                </c:pt>
                <c:pt idx="38">
                  <c:v>3398</c:v>
                </c:pt>
                <c:pt idx="39">
                  <c:v>3621</c:v>
                </c:pt>
                <c:pt idx="40">
                  <c:v>3879</c:v>
                </c:pt>
                <c:pt idx="41">
                  <c:v>4732</c:v>
                </c:pt>
                <c:pt idx="42">
                  <c:v>7308</c:v>
                </c:pt>
                <c:pt idx="43">
                  <c:v>9036</c:v>
                </c:pt>
                <c:pt idx="44">
                  <c:v>10084</c:v>
                </c:pt>
                <c:pt idx="45">
                  <c:v>9083</c:v>
                </c:pt>
                <c:pt idx="46">
                  <c:v>5482</c:v>
                </c:pt>
                <c:pt idx="47">
                  <c:v>3778</c:v>
                </c:pt>
                <c:pt idx="48">
                  <c:v>7809</c:v>
                </c:pt>
                <c:pt idx="49">
                  <c:v>7739</c:v>
                </c:pt>
                <c:pt idx="50">
                  <c:v>7596</c:v>
                </c:pt>
                <c:pt idx="51">
                  <c:v>6196</c:v>
                </c:pt>
                <c:pt idx="52">
                  <c:v>5910</c:v>
                </c:pt>
                <c:pt idx="53">
                  <c:v>3695</c:v>
                </c:pt>
                <c:pt idx="54">
                  <c:v>6430</c:v>
                </c:pt>
                <c:pt idx="55">
                  <c:v>8035</c:v>
                </c:pt>
                <c:pt idx="56">
                  <c:v>7611</c:v>
                </c:pt>
                <c:pt idx="57">
                  <c:v>9039</c:v>
                </c:pt>
                <c:pt idx="58">
                  <c:v>8087</c:v>
                </c:pt>
                <c:pt idx="59">
                  <c:v>8932</c:v>
                </c:pt>
                <c:pt idx="60">
                  <c:v>8868</c:v>
                </c:pt>
                <c:pt idx="61">
                  <c:v>13093</c:v>
                </c:pt>
                <c:pt idx="62">
                  <c:v>8128</c:v>
                </c:pt>
                <c:pt idx="63">
                  <c:v>4890</c:v>
                </c:pt>
                <c:pt idx="64">
                  <c:v>6845</c:v>
                </c:pt>
                <c:pt idx="65">
                  <c:v>8260</c:v>
                </c:pt>
                <c:pt idx="66">
                  <c:v>8951</c:v>
                </c:pt>
                <c:pt idx="67">
                  <c:v>9377</c:v>
                </c:pt>
                <c:pt idx="68">
                  <c:v>7130</c:v>
                </c:pt>
                <c:pt idx="69">
                  <c:v>4881</c:v>
                </c:pt>
                <c:pt idx="70">
                  <c:v>8326</c:v>
                </c:pt>
                <c:pt idx="71">
                  <c:v>6489</c:v>
                </c:pt>
                <c:pt idx="72">
                  <c:v>6081</c:v>
                </c:pt>
                <c:pt idx="73">
                  <c:v>7404</c:v>
                </c:pt>
                <c:pt idx="74">
                  <c:v>7204</c:v>
                </c:pt>
                <c:pt idx="75">
                  <c:v>8013</c:v>
                </c:pt>
                <c:pt idx="76">
                  <c:v>6689</c:v>
                </c:pt>
                <c:pt idx="77">
                  <c:v>6812</c:v>
                </c:pt>
                <c:pt idx="78">
                  <c:v>6117</c:v>
                </c:pt>
                <c:pt idx="79">
                  <c:v>6225</c:v>
                </c:pt>
                <c:pt idx="80">
                  <c:v>3929</c:v>
                </c:pt>
                <c:pt idx="81">
                  <c:v>2740</c:v>
                </c:pt>
                <c:pt idx="82">
                  <c:v>4127</c:v>
                </c:pt>
                <c:pt idx="83">
                  <c:v>4589</c:v>
                </c:pt>
                <c:pt idx="84">
                  <c:v>4916</c:v>
                </c:pt>
                <c:pt idx="85">
                  <c:v>5241</c:v>
                </c:pt>
                <c:pt idx="86">
                  <c:v>5137</c:v>
                </c:pt>
                <c:pt idx="87">
                  <c:v>5001</c:v>
                </c:pt>
                <c:pt idx="88">
                  <c:v>4319</c:v>
                </c:pt>
                <c:pt idx="89">
                  <c:v>4010</c:v>
                </c:pt>
                <c:pt idx="90">
                  <c:v>2753</c:v>
                </c:pt>
                <c:pt idx="91">
                  <c:v>1734</c:v>
                </c:pt>
                <c:pt idx="92">
                  <c:v>3341</c:v>
                </c:pt>
                <c:pt idx="93">
                  <c:v>5772</c:v>
                </c:pt>
                <c:pt idx="94">
                  <c:v>5197</c:v>
                </c:pt>
                <c:pt idx="95">
                  <c:v>3434</c:v>
                </c:pt>
                <c:pt idx="96">
                  <c:v>7685</c:v>
                </c:pt>
                <c:pt idx="97">
                  <c:v>4914</c:v>
                </c:pt>
                <c:pt idx="98">
                  <c:v>2971</c:v>
                </c:pt>
                <c:pt idx="99">
                  <c:v>5204</c:v>
                </c:pt>
                <c:pt idx="100">
                  <c:v>5523</c:v>
                </c:pt>
                <c:pt idx="101">
                  <c:v>5494</c:v>
                </c:pt>
                <c:pt idx="102">
                  <c:v>5440</c:v>
                </c:pt>
                <c:pt idx="103">
                  <c:v>9116</c:v>
                </c:pt>
              </c:numCache>
            </c:numRef>
          </c:val>
          <c:extLst>
            <c:ext xmlns:c16="http://schemas.microsoft.com/office/drawing/2014/chart" uri="{C3380CC4-5D6E-409C-BE32-E72D297353CC}">
              <c16:uniqueId val="{00000000-6F53-47D1-94A7-6E320397265A}"/>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0</c:v>
                </c:pt>
                <c:pt idx="1">
                  <c:v>1916</c:v>
                </c:pt>
                <c:pt idx="2">
                  <c:v>37396</c:v>
                </c:pt>
                <c:pt idx="3">
                  <c:v>12228</c:v>
                </c:pt>
                <c:pt idx="4">
                  <c:v>142</c:v>
                </c:pt>
                <c:pt idx="5">
                  <c:v>1</c:v>
                </c:pt>
                <c:pt idx="6">
                  <c:v>0</c:v>
                </c:pt>
                <c:pt idx="7">
                  <c:v>0</c:v>
                </c:pt>
                <c:pt idx="8">
                  <c:v>0</c:v>
                </c:pt>
                <c:pt idx="9">
                  <c:v>40819</c:v>
                </c:pt>
                <c:pt idx="10">
                  <c:v>42168</c:v>
                </c:pt>
                <c:pt idx="11">
                  <c:v>6578</c:v>
                </c:pt>
                <c:pt idx="12">
                  <c:v>17192</c:v>
                </c:pt>
                <c:pt idx="13">
                  <c:v>21303</c:v>
                </c:pt>
                <c:pt idx="14">
                  <c:v>7461</c:v>
                </c:pt>
                <c:pt idx="15">
                  <c:v>43</c:v>
                </c:pt>
                <c:pt idx="16">
                  <c:v>35829</c:v>
                </c:pt>
                <c:pt idx="17">
                  <c:v>44812</c:v>
                </c:pt>
                <c:pt idx="18">
                  <c:v>14043</c:v>
                </c:pt>
                <c:pt idx="19">
                  <c:v>60</c:v>
                </c:pt>
                <c:pt idx="20">
                  <c:v>1</c:v>
                </c:pt>
                <c:pt idx="21">
                  <c:v>18875</c:v>
                </c:pt>
                <c:pt idx="22">
                  <c:v>19234</c:v>
                </c:pt>
                <c:pt idx="23">
                  <c:v>2616</c:v>
                </c:pt>
                <c:pt idx="24">
                  <c:v>20182</c:v>
                </c:pt>
                <c:pt idx="25">
                  <c:v>31984</c:v>
                </c:pt>
                <c:pt idx="26">
                  <c:v>10227</c:v>
                </c:pt>
                <c:pt idx="27">
                  <c:v>18</c:v>
                </c:pt>
                <c:pt idx="28">
                  <c:v>2</c:v>
                </c:pt>
                <c:pt idx="29">
                  <c:v>6</c:v>
                </c:pt>
                <c:pt idx="30">
                  <c:v>0</c:v>
                </c:pt>
                <c:pt idx="31">
                  <c:v>0</c:v>
                </c:pt>
                <c:pt idx="32">
                  <c:v>0</c:v>
                </c:pt>
                <c:pt idx="33">
                  <c:v>8404</c:v>
                </c:pt>
                <c:pt idx="34">
                  <c:v>9887</c:v>
                </c:pt>
                <c:pt idx="35">
                  <c:v>3098</c:v>
                </c:pt>
                <c:pt idx="36">
                  <c:v>843</c:v>
                </c:pt>
                <c:pt idx="37">
                  <c:v>19596</c:v>
                </c:pt>
                <c:pt idx="38">
                  <c:v>7044</c:v>
                </c:pt>
                <c:pt idx="39">
                  <c:v>13</c:v>
                </c:pt>
                <c:pt idx="40">
                  <c:v>7657</c:v>
                </c:pt>
                <c:pt idx="41">
                  <c:v>13687</c:v>
                </c:pt>
                <c:pt idx="42">
                  <c:v>5078</c:v>
                </c:pt>
                <c:pt idx="43">
                  <c:v>39</c:v>
                </c:pt>
                <c:pt idx="44">
                  <c:v>2</c:v>
                </c:pt>
                <c:pt idx="45">
                  <c:v>5</c:v>
                </c:pt>
                <c:pt idx="46">
                  <c:v>41369</c:v>
                </c:pt>
                <c:pt idx="47">
                  <c:v>45452</c:v>
                </c:pt>
                <c:pt idx="48">
                  <c:v>446</c:v>
                </c:pt>
                <c:pt idx="49">
                  <c:v>13</c:v>
                </c:pt>
                <c:pt idx="50">
                  <c:v>1</c:v>
                </c:pt>
                <c:pt idx="51">
                  <c:v>14926</c:v>
                </c:pt>
                <c:pt idx="52">
                  <c:v>19078</c:v>
                </c:pt>
                <c:pt idx="53">
                  <c:v>29930</c:v>
                </c:pt>
                <c:pt idx="54">
                  <c:v>9386</c:v>
                </c:pt>
                <c:pt idx="55">
                  <c:v>185</c:v>
                </c:pt>
                <c:pt idx="56">
                  <c:v>2043</c:v>
                </c:pt>
                <c:pt idx="57">
                  <c:v>759</c:v>
                </c:pt>
                <c:pt idx="58">
                  <c:v>3</c:v>
                </c:pt>
                <c:pt idx="59">
                  <c:v>1367</c:v>
                </c:pt>
                <c:pt idx="60">
                  <c:v>3691</c:v>
                </c:pt>
                <c:pt idx="61">
                  <c:v>143</c:v>
                </c:pt>
                <c:pt idx="62">
                  <c:v>25495</c:v>
                </c:pt>
                <c:pt idx="63">
                  <c:v>32467</c:v>
                </c:pt>
                <c:pt idx="64">
                  <c:v>9174</c:v>
                </c:pt>
                <c:pt idx="65">
                  <c:v>96</c:v>
                </c:pt>
                <c:pt idx="66">
                  <c:v>27</c:v>
                </c:pt>
                <c:pt idx="67">
                  <c:v>24</c:v>
                </c:pt>
                <c:pt idx="68">
                  <c:v>40521</c:v>
                </c:pt>
                <c:pt idx="69">
                  <c:v>50190</c:v>
                </c:pt>
                <c:pt idx="70">
                  <c:v>1098</c:v>
                </c:pt>
                <c:pt idx="71">
                  <c:v>10923</c:v>
                </c:pt>
                <c:pt idx="72">
                  <c:v>14964</c:v>
                </c:pt>
                <c:pt idx="73">
                  <c:v>1998</c:v>
                </c:pt>
                <c:pt idx="74">
                  <c:v>15</c:v>
                </c:pt>
                <c:pt idx="75">
                  <c:v>42</c:v>
                </c:pt>
                <c:pt idx="76">
                  <c:v>845</c:v>
                </c:pt>
                <c:pt idx="77">
                  <c:v>24891</c:v>
                </c:pt>
                <c:pt idx="78">
                  <c:v>6259</c:v>
                </c:pt>
                <c:pt idx="79">
                  <c:v>15</c:v>
                </c:pt>
                <c:pt idx="80">
                  <c:v>18834</c:v>
                </c:pt>
                <c:pt idx="81">
                  <c:v>24637</c:v>
                </c:pt>
                <c:pt idx="82">
                  <c:v>16167</c:v>
                </c:pt>
                <c:pt idx="83">
                  <c:v>9715</c:v>
                </c:pt>
                <c:pt idx="84">
                  <c:v>2894</c:v>
                </c:pt>
                <c:pt idx="85">
                  <c:v>6</c:v>
                </c:pt>
                <c:pt idx="86">
                  <c:v>0</c:v>
                </c:pt>
                <c:pt idx="87">
                  <c:v>0</c:v>
                </c:pt>
                <c:pt idx="88">
                  <c:v>0</c:v>
                </c:pt>
                <c:pt idx="89">
                  <c:v>0</c:v>
                </c:pt>
                <c:pt idx="90">
                  <c:v>10681</c:v>
                </c:pt>
                <c:pt idx="91">
                  <c:v>13812</c:v>
                </c:pt>
                <c:pt idx="92">
                  <c:v>4483</c:v>
                </c:pt>
                <c:pt idx="93">
                  <c:v>17</c:v>
                </c:pt>
                <c:pt idx="94">
                  <c:v>38881</c:v>
                </c:pt>
                <c:pt idx="95">
                  <c:v>41220</c:v>
                </c:pt>
                <c:pt idx="96">
                  <c:v>398</c:v>
                </c:pt>
                <c:pt idx="97">
                  <c:v>22261</c:v>
                </c:pt>
                <c:pt idx="98">
                  <c:v>25702</c:v>
                </c:pt>
                <c:pt idx="99">
                  <c:v>3715</c:v>
                </c:pt>
                <c:pt idx="100">
                  <c:v>10</c:v>
                </c:pt>
                <c:pt idx="101">
                  <c:v>2</c:v>
                </c:pt>
                <c:pt idx="102">
                  <c:v>0</c:v>
                </c:pt>
                <c:pt idx="103">
                  <c:v>0</c:v>
                </c:pt>
              </c:numCache>
            </c:numRef>
          </c:val>
          <c:extLst>
            <c:ext xmlns:c16="http://schemas.microsoft.com/office/drawing/2014/chart" uri="{C3380CC4-5D6E-409C-BE32-E72D297353CC}">
              <c16:uniqueId val="{00000001-6F53-47D1-94A7-6E320397265A}"/>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1"/>
        <c:axPos val="b"/>
        <c:numFmt formatCode="mm/yyyy" sourceLinked="0"/>
        <c:majorTickMark val="out"/>
        <c:minorTickMark val="none"/>
        <c:tickLblPos val="nextTo"/>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Non Promo Volume</c:v>
                </c:pt>
              </c:strCache>
            </c:strRef>
          </c:tx>
          <c:spPr>
            <a:solidFill>
              <a:schemeClr val="bg2"/>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C$2:$C$105</c:f>
              <c:numCache>
                <c:formatCode>General</c:formatCode>
                <c:ptCount val="104"/>
                <c:pt idx="0">
                  <c:v>1283</c:v>
                </c:pt>
                <c:pt idx="1">
                  <c:v>1283</c:v>
                </c:pt>
                <c:pt idx="2">
                  <c:v>1283</c:v>
                </c:pt>
                <c:pt idx="3">
                  <c:v>1283</c:v>
                </c:pt>
                <c:pt idx="4">
                  <c:v>1315</c:v>
                </c:pt>
                <c:pt idx="5">
                  <c:v>1112</c:v>
                </c:pt>
                <c:pt idx="6">
                  <c:v>1135</c:v>
                </c:pt>
                <c:pt idx="7">
                  <c:v>1098</c:v>
                </c:pt>
                <c:pt idx="8">
                  <c:v>989</c:v>
                </c:pt>
                <c:pt idx="9">
                  <c:v>1221</c:v>
                </c:pt>
                <c:pt idx="10">
                  <c:v>1194</c:v>
                </c:pt>
                <c:pt idx="11">
                  <c:v>1222</c:v>
                </c:pt>
                <c:pt idx="12">
                  <c:v>870</c:v>
                </c:pt>
                <c:pt idx="13">
                  <c:v>767</c:v>
                </c:pt>
                <c:pt idx="14">
                  <c:v>974</c:v>
                </c:pt>
                <c:pt idx="15">
                  <c:v>1214</c:v>
                </c:pt>
                <c:pt idx="16">
                  <c:v>939</c:v>
                </c:pt>
                <c:pt idx="17">
                  <c:v>1242</c:v>
                </c:pt>
                <c:pt idx="18">
                  <c:v>1004</c:v>
                </c:pt>
                <c:pt idx="19">
                  <c:v>1254</c:v>
                </c:pt>
                <c:pt idx="20">
                  <c:v>858</c:v>
                </c:pt>
                <c:pt idx="21">
                  <c:v>864</c:v>
                </c:pt>
                <c:pt idx="22">
                  <c:v>1531</c:v>
                </c:pt>
                <c:pt idx="23">
                  <c:v>1435</c:v>
                </c:pt>
                <c:pt idx="24">
                  <c:v>1328</c:v>
                </c:pt>
                <c:pt idx="25">
                  <c:v>1355</c:v>
                </c:pt>
                <c:pt idx="26">
                  <c:v>712</c:v>
                </c:pt>
                <c:pt idx="27">
                  <c:v>658</c:v>
                </c:pt>
                <c:pt idx="28">
                  <c:v>513</c:v>
                </c:pt>
                <c:pt idx="29">
                  <c:v>865</c:v>
                </c:pt>
                <c:pt idx="30">
                  <c:v>723</c:v>
                </c:pt>
                <c:pt idx="31">
                  <c:v>831</c:v>
                </c:pt>
                <c:pt idx="32">
                  <c:v>709</c:v>
                </c:pt>
                <c:pt idx="33">
                  <c:v>752</c:v>
                </c:pt>
                <c:pt idx="34">
                  <c:v>815</c:v>
                </c:pt>
                <c:pt idx="35">
                  <c:v>972</c:v>
                </c:pt>
                <c:pt idx="36">
                  <c:v>641</c:v>
                </c:pt>
                <c:pt idx="37">
                  <c:v>543</c:v>
                </c:pt>
                <c:pt idx="38">
                  <c:v>437</c:v>
                </c:pt>
                <c:pt idx="39">
                  <c:v>673</c:v>
                </c:pt>
                <c:pt idx="40">
                  <c:v>601</c:v>
                </c:pt>
                <c:pt idx="41">
                  <c:v>889</c:v>
                </c:pt>
                <c:pt idx="42">
                  <c:v>813</c:v>
                </c:pt>
                <c:pt idx="43">
                  <c:v>898</c:v>
                </c:pt>
                <c:pt idx="44">
                  <c:v>787</c:v>
                </c:pt>
                <c:pt idx="45">
                  <c:v>1033</c:v>
                </c:pt>
                <c:pt idx="46">
                  <c:v>773</c:v>
                </c:pt>
                <c:pt idx="47">
                  <c:v>957</c:v>
                </c:pt>
                <c:pt idx="48">
                  <c:v>782</c:v>
                </c:pt>
                <c:pt idx="49">
                  <c:v>927</c:v>
                </c:pt>
                <c:pt idx="50">
                  <c:v>680</c:v>
                </c:pt>
                <c:pt idx="51">
                  <c:v>836</c:v>
                </c:pt>
                <c:pt idx="52">
                  <c:v>773</c:v>
                </c:pt>
                <c:pt idx="53">
                  <c:v>770</c:v>
                </c:pt>
                <c:pt idx="54">
                  <c:v>821</c:v>
                </c:pt>
                <c:pt idx="55">
                  <c:v>1025</c:v>
                </c:pt>
                <c:pt idx="56">
                  <c:v>719</c:v>
                </c:pt>
                <c:pt idx="57">
                  <c:v>719</c:v>
                </c:pt>
                <c:pt idx="58">
                  <c:v>696</c:v>
                </c:pt>
                <c:pt idx="59">
                  <c:v>800</c:v>
                </c:pt>
                <c:pt idx="60">
                  <c:v>587</c:v>
                </c:pt>
                <c:pt idx="61">
                  <c:v>536</c:v>
                </c:pt>
                <c:pt idx="62">
                  <c:v>788</c:v>
                </c:pt>
                <c:pt idx="63">
                  <c:v>879</c:v>
                </c:pt>
                <c:pt idx="64">
                  <c:v>943</c:v>
                </c:pt>
                <c:pt idx="65">
                  <c:v>842</c:v>
                </c:pt>
                <c:pt idx="66">
                  <c:v>1028</c:v>
                </c:pt>
                <c:pt idx="67">
                  <c:v>875</c:v>
                </c:pt>
                <c:pt idx="68">
                  <c:v>736</c:v>
                </c:pt>
                <c:pt idx="69">
                  <c:v>625</c:v>
                </c:pt>
                <c:pt idx="70">
                  <c:v>875</c:v>
                </c:pt>
                <c:pt idx="71">
                  <c:v>819</c:v>
                </c:pt>
                <c:pt idx="72">
                  <c:v>898</c:v>
                </c:pt>
                <c:pt idx="73">
                  <c:v>653</c:v>
                </c:pt>
                <c:pt idx="74">
                  <c:v>635</c:v>
                </c:pt>
                <c:pt idx="75">
                  <c:v>582</c:v>
                </c:pt>
                <c:pt idx="76">
                  <c:v>800</c:v>
                </c:pt>
                <c:pt idx="77">
                  <c:v>693</c:v>
                </c:pt>
                <c:pt idx="78">
                  <c:v>989</c:v>
                </c:pt>
                <c:pt idx="79">
                  <c:v>676</c:v>
                </c:pt>
                <c:pt idx="80">
                  <c:v>684</c:v>
                </c:pt>
                <c:pt idx="81">
                  <c:v>538</c:v>
                </c:pt>
                <c:pt idx="82">
                  <c:v>704</c:v>
                </c:pt>
                <c:pt idx="83">
                  <c:v>358</c:v>
                </c:pt>
                <c:pt idx="84">
                  <c:v>375</c:v>
                </c:pt>
                <c:pt idx="85">
                  <c:v>380</c:v>
                </c:pt>
                <c:pt idx="86">
                  <c:v>719</c:v>
                </c:pt>
                <c:pt idx="87">
                  <c:v>747</c:v>
                </c:pt>
                <c:pt idx="88">
                  <c:v>757</c:v>
                </c:pt>
                <c:pt idx="89">
                  <c:v>442</c:v>
                </c:pt>
                <c:pt idx="90">
                  <c:v>355</c:v>
                </c:pt>
                <c:pt idx="91">
                  <c:v>411</c:v>
                </c:pt>
                <c:pt idx="92">
                  <c:v>712</c:v>
                </c:pt>
                <c:pt idx="93">
                  <c:v>697</c:v>
                </c:pt>
                <c:pt idx="94">
                  <c:v>851</c:v>
                </c:pt>
                <c:pt idx="95">
                  <c:v>609</c:v>
                </c:pt>
                <c:pt idx="96">
                  <c:v>523</c:v>
                </c:pt>
                <c:pt idx="97">
                  <c:v>1860</c:v>
                </c:pt>
                <c:pt idx="98">
                  <c:v>796</c:v>
                </c:pt>
                <c:pt idx="99">
                  <c:v>826</c:v>
                </c:pt>
                <c:pt idx="100">
                  <c:v>960</c:v>
                </c:pt>
                <c:pt idx="101">
                  <c:v>702</c:v>
                </c:pt>
                <c:pt idx="102">
                  <c:v>500</c:v>
                </c:pt>
                <c:pt idx="103">
                  <c:v>355</c:v>
                </c:pt>
              </c:numCache>
            </c:numRef>
          </c:val>
          <c:extLst>
            <c:ext xmlns:c16="http://schemas.microsoft.com/office/drawing/2014/chart" uri="{C3380CC4-5D6E-409C-BE32-E72D297353CC}">
              <c16:uniqueId val="{00000000-DD3D-4642-97D9-E9DEC2D41E77}"/>
            </c:ext>
          </c:extLst>
        </c:ser>
        <c:ser>
          <c:idx val="0"/>
          <c:order val="1"/>
          <c:tx>
            <c:strRef>
              <c:f>Sheet1!$B$1</c:f>
              <c:strCache>
                <c:ptCount val="1"/>
                <c:pt idx="0">
                  <c:v>Promo Volume</c:v>
                </c:pt>
              </c:strCache>
            </c:strRef>
          </c:tx>
          <c:spPr>
            <a:solidFill>
              <a:schemeClr val="accent3"/>
            </a:solidFill>
            <a:ln>
              <a:noFill/>
            </a:ln>
            <a:effectLst/>
          </c:spPr>
          <c:invertIfNegative val="0"/>
          <c:cat>
            <c:numRef>
              <c:f>Sheet1!$A$2:$A$105</c:f>
              <c:numCache>
                <c:formatCode>m/d/yyyy</c:formatCode>
                <c:ptCount val="104"/>
                <c:pt idx="0">
                  <c:v>44143</c:v>
                </c:pt>
                <c:pt idx="1">
                  <c:v>44150</c:v>
                </c:pt>
                <c:pt idx="2">
                  <c:v>44157</c:v>
                </c:pt>
                <c:pt idx="3">
                  <c:v>44164</c:v>
                </c:pt>
                <c:pt idx="4">
                  <c:v>44171</c:v>
                </c:pt>
                <c:pt idx="5">
                  <c:v>44178</c:v>
                </c:pt>
                <c:pt idx="6">
                  <c:v>44185</c:v>
                </c:pt>
                <c:pt idx="7">
                  <c:v>44192</c:v>
                </c:pt>
                <c:pt idx="8">
                  <c:v>44199</c:v>
                </c:pt>
                <c:pt idx="9">
                  <c:v>44206</c:v>
                </c:pt>
                <c:pt idx="10">
                  <c:v>44213</c:v>
                </c:pt>
                <c:pt idx="11">
                  <c:v>44220</c:v>
                </c:pt>
                <c:pt idx="12">
                  <c:v>44227</c:v>
                </c:pt>
                <c:pt idx="13">
                  <c:v>44234</c:v>
                </c:pt>
                <c:pt idx="14">
                  <c:v>44241</c:v>
                </c:pt>
                <c:pt idx="15">
                  <c:v>44248</c:v>
                </c:pt>
                <c:pt idx="16">
                  <c:v>44255</c:v>
                </c:pt>
                <c:pt idx="17">
                  <c:v>44262</c:v>
                </c:pt>
                <c:pt idx="18">
                  <c:v>44269</c:v>
                </c:pt>
                <c:pt idx="19">
                  <c:v>44276</c:v>
                </c:pt>
                <c:pt idx="20">
                  <c:v>44283</c:v>
                </c:pt>
                <c:pt idx="21">
                  <c:v>44290</c:v>
                </c:pt>
                <c:pt idx="22">
                  <c:v>44297</c:v>
                </c:pt>
                <c:pt idx="23">
                  <c:v>44304</c:v>
                </c:pt>
                <c:pt idx="24">
                  <c:v>44311</c:v>
                </c:pt>
                <c:pt idx="25">
                  <c:v>44318</c:v>
                </c:pt>
                <c:pt idx="26">
                  <c:v>44325</c:v>
                </c:pt>
                <c:pt idx="27">
                  <c:v>44332</c:v>
                </c:pt>
                <c:pt idx="28">
                  <c:v>44339</c:v>
                </c:pt>
                <c:pt idx="29">
                  <c:v>44346</c:v>
                </c:pt>
                <c:pt idx="30">
                  <c:v>44353</c:v>
                </c:pt>
                <c:pt idx="31">
                  <c:v>44360</c:v>
                </c:pt>
                <c:pt idx="32">
                  <c:v>44367</c:v>
                </c:pt>
                <c:pt idx="33">
                  <c:v>44374</c:v>
                </c:pt>
                <c:pt idx="34">
                  <c:v>44381</c:v>
                </c:pt>
                <c:pt idx="35">
                  <c:v>44388</c:v>
                </c:pt>
                <c:pt idx="36">
                  <c:v>44395</c:v>
                </c:pt>
                <c:pt idx="37">
                  <c:v>44402</c:v>
                </c:pt>
                <c:pt idx="38">
                  <c:v>44409</c:v>
                </c:pt>
                <c:pt idx="39">
                  <c:v>44416</c:v>
                </c:pt>
                <c:pt idx="40">
                  <c:v>44423</c:v>
                </c:pt>
                <c:pt idx="41">
                  <c:v>44430</c:v>
                </c:pt>
                <c:pt idx="42">
                  <c:v>44437</c:v>
                </c:pt>
                <c:pt idx="43">
                  <c:v>44444</c:v>
                </c:pt>
                <c:pt idx="44">
                  <c:v>44451</c:v>
                </c:pt>
                <c:pt idx="45">
                  <c:v>44458</c:v>
                </c:pt>
                <c:pt idx="46">
                  <c:v>44465</c:v>
                </c:pt>
                <c:pt idx="47">
                  <c:v>44472</c:v>
                </c:pt>
                <c:pt idx="48">
                  <c:v>44479</c:v>
                </c:pt>
                <c:pt idx="49">
                  <c:v>44486</c:v>
                </c:pt>
                <c:pt idx="50">
                  <c:v>44493</c:v>
                </c:pt>
                <c:pt idx="51">
                  <c:v>44500</c:v>
                </c:pt>
                <c:pt idx="52">
                  <c:v>44507</c:v>
                </c:pt>
                <c:pt idx="53">
                  <c:v>44514</c:v>
                </c:pt>
                <c:pt idx="54">
                  <c:v>44521</c:v>
                </c:pt>
                <c:pt idx="55">
                  <c:v>44528</c:v>
                </c:pt>
                <c:pt idx="56">
                  <c:v>44535</c:v>
                </c:pt>
                <c:pt idx="57">
                  <c:v>44542</c:v>
                </c:pt>
                <c:pt idx="58">
                  <c:v>44549</c:v>
                </c:pt>
                <c:pt idx="59">
                  <c:v>44556</c:v>
                </c:pt>
                <c:pt idx="60">
                  <c:v>44563</c:v>
                </c:pt>
                <c:pt idx="61">
                  <c:v>44570</c:v>
                </c:pt>
                <c:pt idx="62">
                  <c:v>44577</c:v>
                </c:pt>
                <c:pt idx="63">
                  <c:v>44584</c:v>
                </c:pt>
                <c:pt idx="64">
                  <c:v>44591</c:v>
                </c:pt>
                <c:pt idx="65">
                  <c:v>44598</c:v>
                </c:pt>
                <c:pt idx="66">
                  <c:v>44605</c:v>
                </c:pt>
                <c:pt idx="67">
                  <c:v>44612</c:v>
                </c:pt>
                <c:pt idx="68">
                  <c:v>44619</c:v>
                </c:pt>
                <c:pt idx="69">
                  <c:v>44626</c:v>
                </c:pt>
                <c:pt idx="70">
                  <c:v>44633</c:v>
                </c:pt>
                <c:pt idx="71">
                  <c:v>44640</c:v>
                </c:pt>
                <c:pt idx="72">
                  <c:v>44647</c:v>
                </c:pt>
                <c:pt idx="73">
                  <c:v>44654</c:v>
                </c:pt>
                <c:pt idx="74">
                  <c:v>44661</c:v>
                </c:pt>
                <c:pt idx="75">
                  <c:v>44668</c:v>
                </c:pt>
                <c:pt idx="76">
                  <c:v>44675</c:v>
                </c:pt>
                <c:pt idx="77">
                  <c:v>44682</c:v>
                </c:pt>
                <c:pt idx="78">
                  <c:v>44689</c:v>
                </c:pt>
                <c:pt idx="79">
                  <c:v>44696</c:v>
                </c:pt>
                <c:pt idx="80">
                  <c:v>44703</c:v>
                </c:pt>
                <c:pt idx="81">
                  <c:v>44710</c:v>
                </c:pt>
                <c:pt idx="82">
                  <c:v>44717</c:v>
                </c:pt>
                <c:pt idx="83">
                  <c:v>44724</c:v>
                </c:pt>
                <c:pt idx="84">
                  <c:v>44731</c:v>
                </c:pt>
                <c:pt idx="85">
                  <c:v>44738</c:v>
                </c:pt>
                <c:pt idx="86">
                  <c:v>44745</c:v>
                </c:pt>
                <c:pt idx="87">
                  <c:v>44752</c:v>
                </c:pt>
                <c:pt idx="88">
                  <c:v>44759</c:v>
                </c:pt>
                <c:pt idx="89">
                  <c:v>44766</c:v>
                </c:pt>
                <c:pt idx="90">
                  <c:v>44773</c:v>
                </c:pt>
                <c:pt idx="91">
                  <c:v>44780</c:v>
                </c:pt>
                <c:pt idx="92">
                  <c:v>44787</c:v>
                </c:pt>
                <c:pt idx="93">
                  <c:v>44794</c:v>
                </c:pt>
                <c:pt idx="94">
                  <c:v>44801</c:v>
                </c:pt>
                <c:pt idx="95">
                  <c:v>44808</c:v>
                </c:pt>
                <c:pt idx="96">
                  <c:v>44815</c:v>
                </c:pt>
                <c:pt idx="97">
                  <c:v>44822</c:v>
                </c:pt>
                <c:pt idx="98">
                  <c:v>44829</c:v>
                </c:pt>
                <c:pt idx="99">
                  <c:v>44836</c:v>
                </c:pt>
                <c:pt idx="100">
                  <c:v>44843</c:v>
                </c:pt>
                <c:pt idx="101">
                  <c:v>44850</c:v>
                </c:pt>
                <c:pt idx="102">
                  <c:v>44857</c:v>
                </c:pt>
                <c:pt idx="103">
                  <c:v>44864</c:v>
                </c:pt>
              </c:numCache>
            </c:numRef>
          </c:cat>
          <c:val>
            <c:numRef>
              <c:f>Sheet1!$B$2:$B$105</c:f>
              <c:numCache>
                <c:formatCode>General</c:formatCode>
                <c:ptCount val="104"/>
                <c:pt idx="0">
                  <c:v>992</c:v>
                </c:pt>
                <c:pt idx="1">
                  <c:v>992</c:v>
                </c:pt>
                <c:pt idx="2">
                  <c:v>992</c:v>
                </c:pt>
                <c:pt idx="3">
                  <c:v>992</c:v>
                </c:pt>
                <c:pt idx="4">
                  <c:v>666</c:v>
                </c:pt>
                <c:pt idx="5">
                  <c:v>2247</c:v>
                </c:pt>
                <c:pt idx="6">
                  <c:v>867</c:v>
                </c:pt>
                <c:pt idx="7">
                  <c:v>62</c:v>
                </c:pt>
                <c:pt idx="8">
                  <c:v>585</c:v>
                </c:pt>
                <c:pt idx="9">
                  <c:v>989</c:v>
                </c:pt>
                <c:pt idx="10">
                  <c:v>670</c:v>
                </c:pt>
                <c:pt idx="11">
                  <c:v>453</c:v>
                </c:pt>
                <c:pt idx="12">
                  <c:v>2527</c:v>
                </c:pt>
                <c:pt idx="13">
                  <c:v>3217</c:v>
                </c:pt>
                <c:pt idx="14">
                  <c:v>1437</c:v>
                </c:pt>
                <c:pt idx="15">
                  <c:v>414</c:v>
                </c:pt>
                <c:pt idx="16">
                  <c:v>1160</c:v>
                </c:pt>
                <c:pt idx="17">
                  <c:v>1335</c:v>
                </c:pt>
                <c:pt idx="18">
                  <c:v>1243</c:v>
                </c:pt>
                <c:pt idx="19">
                  <c:v>911</c:v>
                </c:pt>
                <c:pt idx="20">
                  <c:v>2352</c:v>
                </c:pt>
                <c:pt idx="21">
                  <c:v>2064</c:v>
                </c:pt>
                <c:pt idx="22">
                  <c:v>243</c:v>
                </c:pt>
                <c:pt idx="23">
                  <c:v>155</c:v>
                </c:pt>
                <c:pt idx="24">
                  <c:v>114</c:v>
                </c:pt>
                <c:pt idx="25">
                  <c:v>92</c:v>
                </c:pt>
                <c:pt idx="26">
                  <c:v>1325</c:v>
                </c:pt>
                <c:pt idx="27">
                  <c:v>1896</c:v>
                </c:pt>
                <c:pt idx="28">
                  <c:v>1683</c:v>
                </c:pt>
                <c:pt idx="29">
                  <c:v>1193</c:v>
                </c:pt>
                <c:pt idx="30">
                  <c:v>1037</c:v>
                </c:pt>
                <c:pt idx="31">
                  <c:v>805</c:v>
                </c:pt>
                <c:pt idx="32">
                  <c:v>685</c:v>
                </c:pt>
                <c:pt idx="33">
                  <c:v>502</c:v>
                </c:pt>
                <c:pt idx="34">
                  <c:v>350</c:v>
                </c:pt>
                <c:pt idx="35">
                  <c:v>76</c:v>
                </c:pt>
                <c:pt idx="36">
                  <c:v>1157</c:v>
                </c:pt>
                <c:pt idx="37">
                  <c:v>1474</c:v>
                </c:pt>
                <c:pt idx="38">
                  <c:v>1010</c:v>
                </c:pt>
                <c:pt idx="39">
                  <c:v>501</c:v>
                </c:pt>
                <c:pt idx="40">
                  <c:v>291</c:v>
                </c:pt>
                <c:pt idx="41">
                  <c:v>46</c:v>
                </c:pt>
                <c:pt idx="42">
                  <c:v>722</c:v>
                </c:pt>
                <c:pt idx="43">
                  <c:v>1060</c:v>
                </c:pt>
                <c:pt idx="44">
                  <c:v>1018</c:v>
                </c:pt>
                <c:pt idx="45">
                  <c:v>802</c:v>
                </c:pt>
                <c:pt idx="46">
                  <c:v>1358</c:v>
                </c:pt>
                <c:pt idx="47">
                  <c:v>1373</c:v>
                </c:pt>
                <c:pt idx="48">
                  <c:v>1918</c:v>
                </c:pt>
                <c:pt idx="49">
                  <c:v>1832</c:v>
                </c:pt>
                <c:pt idx="50">
                  <c:v>1159</c:v>
                </c:pt>
                <c:pt idx="51">
                  <c:v>653</c:v>
                </c:pt>
                <c:pt idx="52">
                  <c:v>1187</c:v>
                </c:pt>
                <c:pt idx="53">
                  <c:v>1285</c:v>
                </c:pt>
                <c:pt idx="54">
                  <c:v>715</c:v>
                </c:pt>
                <c:pt idx="55">
                  <c:v>208</c:v>
                </c:pt>
                <c:pt idx="56">
                  <c:v>885</c:v>
                </c:pt>
                <c:pt idx="57">
                  <c:v>1161</c:v>
                </c:pt>
                <c:pt idx="58">
                  <c:v>649</c:v>
                </c:pt>
                <c:pt idx="59">
                  <c:v>94</c:v>
                </c:pt>
                <c:pt idx="60">
                  <c:v>943</c:v>
                </c:pt>
                <c:pt idx="61">
                  <c:v>1692</c:v>
                </c:pt>
                <c:pt idx="62">
                  <c:v>1518</c:v>
                </c:pt>
                <c:pt idx="63">
                  <c:v>759</c:v>
                </c:pt>
                <c:pt idx="64">
                  <c:v>380</c:v>
                </c:pt>
                <c:pt idx="65">
                  <c:v>499</c:v>
                </c:pt>
                <c:pt idx="66">
                  <c:v>152</c:v>
                </c:pt>
                <c:pt idx="67">
                  <c:v>736</c:v>
                </c:pt>
                <c:pt idx="68">
                  <c:v>1205</c:v>
                </c:pt>
                <c:pt idx="69">
                  <c:v>1468</c:v>
                </c:pt>
                <c:pt idx="70">
                  <c:v>1203</c:v>
                </c:pt>
                <c:pt idx="71">
                  <c:v>570</c:v>
                </c:pt>
                <c:pt idx="72">
                  <c:v>225</c:v>
                </c:pt>
                <c:pt idx="73">
                  <c:v>1740</c:v>
                </c:pt>
                <c:pt idx="74">
                  <c:v>1865</c:v>
                </c:pt>
                <c:pt idx="75">
                  <c:v>1445</c:v>
                </c:pt>
                <c:pt idx="76">
                  <c:v>873</c:v>
                </c:pt>
                <c:pt idx="77">
                  <c:v>1230</c:v>
                </c:pt>
                <c:pt idx="78">
                  <c:v>146</c:v>
                </c:pt>
                <c:pt idx="79">
                  <c:v>791</c:v>
                </c:pt>
                <c:pt idx="80">
                  <c:v>963</c:v>
                </c:pt>
                <c:pt idx="81">
                  <c:v>1044</c:v>
                </c:pt>
                <c:pt idx="82">
                  <c:v>872</c:v>
                </c:pt>
                <c:pt idx="83">
                  <c:v>1756</c:v>
                </c:pt>
                <c:pt idx="84">
                  <c:v>2000</c:v>
                </c:pt>
                <c:pt idx="85">
                  <c:v>1175</c:v>
                </c:pt>
                <c:pt idx="86">
                  <c:v>423</c:v>
                </c:pt>
                <c:pt idx="87">
                  <c:v>240</c:v>
                </c:pt>
                <c:pt idx="88">
                  <c:v>115</c:v>
                </c:pt>
                <c:pt idx="89">
                  <c:v>703</c:v>
                </c:pt>
                <c:pt idx="90">
                  <c:v>922</c:v>
                </c:pt>
                <c:pt idx="91">
                  <c:v>562</c:v>
                </c:pt>
                <c:pt idx="92">
                  <c:v>90</c:v>
                </c:pt>
                <c:pt idx="93">
                  <c:v>68</c:v>
                </c:pt>
                <c:pt idx="94">
                  <c:v>51</c:v>
                </c:pt>
                <c:pt idx="95">
                  <c:v>1690</c:v>
                </c:pt>
                <c:pt idx="96">
                  <c:v>2348</c:v>
                </c:pt>
                <c:pt idx="97">
                  <c:v>255</c:v>
                </c:pt>
                <c:pt idx="98">
                  <c:v>1024</c:v>
                </c:pt>
                <c:pt idx="99">
                  <c:v>466</c:v>
                </c:pt>
                <c:pt idx="100">
                  <c:v>43</c:v>
                </c:pt>
                <c:pt idx="101">
                  <c:v>831</c:v>
                </c:pt>
                <c:pt idx="102">
                  <c:v>1304</c:v>
                </c:pt>
                <c:pt idx="103">
                  <c:v>1284</c:v>
                </c:pt>
              </c:numCache>
            </c:numRef>
          </c:val>
          <c:extLst>
            <c:ext xmlns:c16="http://schemas.microsoft.com/office/drawing/2014/chart" uri="{C3380CC4-5D6E-409C-BE32-E72D297353CC}">
              <c16:uniqueId val="{00000001-DD3D-4642-97D9-E9DEC2D41E77}"/>
            </c:ext>
          </c:extLst>
        </c:ser>
        <c:dLbls>
          <c:showLegendKey val="0"/>
          <c:showVal val="0"/>
          <c:showCatName val="0"/>
          <c:showSerName val="0"/>
          <c:showPercent val="0"/>
          <c:showBubbleSize val="0"/>
        </c:dLbls>
        <c:gapWidth val="60"/>
        <c:overlap val="100"/>
        <c:axId val="1203215088"/>
        <c:axId val="1203216752"/>
      </c:barChart>
      <c:catAx>
        <c:axId val="1203215088"/>
        <c:scaling>
          <c:orientation val="minMax"/>
        </c:scaling>
        <c:delete val="0"/>
        <c:axPos val="b"/>
        <c:numFmt formatCode="mm/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2"/>
                </a:solidFill>
                <a:latin typeface="Nexa Book" panose="00000400000000000000" pitchFamily="2" charset="0"/>
                <a:ea typeface="+mn-ea"/>
                <a:cs typeface="+mn-cs"/>
              </a:defRPr>
            </a:pPr>
            <a:endParaRPr lang="en-US"/>
          </a:p>
        </c:txPr>
        <c:crossAx val="1203216752"/>
        <c:crosses val="autoZero"/>
        <c:auto val="0"/>
        <c:lblAlgn val="ctr"/>
        <c:lblOffset val="100"/>
        <c:noMultiLvlLbl val="0"/>
      </c:catAx>
      <c:valAx>
        <c:axId val="1203216752"/>
        <c:scaling>
          <c:orientation val="minMax"/>
        </c:scaling>
        <c:delete val="1"/>
        <c:axPos val="l"/>
        <c:numFmt formatCode="General" sourceLinked="1"/>
        <c:majorTickMark val="out"/>
        <c:minorTickMark val="none"/>
        <c:tickLblPos val="nextTo"/>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numRef>
              <c:f>Sheet1!$A$2:$A$49</c:f>
              <c:numCache>
                <c:formatCode>0%</c:formatCode>
                <c:ptCount val="48"/>
                <c:pt idx="0">
                  <c:v>0.47</c:v>
                </c:pt>
                <c:pt idx="1">
                  <c:v>0.22</c:v>
                </c:pt>
                <c:pt idx="2">
                  <c:v>0.5</c:v>
                </c:pt>
                <c:pt idx="3">
                  <c:v>0.39</c:v>
                </c:pt>
                <c:pt idx="4">
                  <c:v>0.19</c:v>
                </c:pt>
                <c:pt idx="5">
                  <c:v>0.25</c:v>
                </c:pt>
                <c:pt idx="6">
                  <c:v>0.11</c:v>
                </c:pt>
                <c:pt idx="7">
                  <c:v>0.2</c:v>
                </c:pt>
                <c:pt idx="8">
                  <c:v>0.22</c:v>
                </c:pt>
                <c:pt idx="9">
                  <c:v>0.27</c:v>
                </c:pt>
                <c:pt idx="10">
                  <c:v>0.3</c:v>
                </c:pt>
                <c:pt idx="11">
                  <c:v>0.23</c:v>
                </c:pt>
                <c:pt idx="12">
                  <c:v>0.36</c:v>
                </c:pt>
                <c:pt idx="13">
                  <c:v>0.34</c:v>
                </c:pt>
                <c:pt idx="14">
                  <c:v>0.22</c:v>
                </c:pt>
                <c:pt idx="15">
                  <c:v>0.26</c:v>
                </c:pt>
                <c:pt idx="16">
                  <c:v>0.22</c:v>
                </c:pt>
                <c:pt idx="17">
                  <c:v>0.31</c:v>
                </c:pt>
                <c:pt idx="18">
                  <c:v>0.24</c:v>
                </c:pt>
                <c:pt idx="19">
                  <c:v>0.06</c:v>
                </c:pt>
                <c:pt idx="20">
                  <c:v>0.23</c:v>
                </c:pt>
                <c:pt idx="21">
                  <c:v>0.28000000000000003</c:v>
                </c:pt>
                <c:pt idx="22">
                  <c:v>0.45</c:v>
                </c:pt>
                <c:pt idx="23">
                  <c:v>0.39</c:v>
                </c:pt>
                <c:pt idx="24">
                  <c:v>0.52</c:v>
                </c:pt>
                <c:pt idx="25">
                  <c:v>0.24</c:v>
                </c:pt>
                <c:pt idx="26">
                  <c:v>0.39</c:v>
                </c:pt>
                <c:pt idx="27">
                  <c:v>0.25</c:v>
                </c:pt>
                <c:pt idx="28">
                  <c:v>0.36</c:v>
                </c:pt>
                <c:pt idx="29">
                  <c:v>0.27</c:v>
                </c:pt>
                <c:pt idx="30">
                  <c:v>0.18</c:v>
                </c:pt>
                <c:pt idx="31">
                  <c:v>0.25</c:v>
                </c:pt>
                <c:pt idx="32">
                  <c:v>0.15</c:v>
                </c:pt>
                <c:pt idx="33">
                  <c:v>0.46</c:v>
                </c:pt>
                <c:pt idx="34">
                  <c:v>0.26</c:v>
                </c:pt>
                <c:pt idx="35">
                  <c:v>0.18</c:v>
                </c:pt>
                <c:pt idx="36">
                  <c:v>0.13</c:v>
                </c:pt>
                <c:pt idx="37">
                  <c:v>0.15</c:v>
                </c:pt>
                <c:pt idx="38">
                  <c:v>0.47</c:v>
                </c:pt>
                <c:pt idx="39">
                  <c:v>0.33</c:v>
                </c:pt>
                <c:pt idx="40">
                  <c:v>0.06</c:v>
                </c:pt>
                <c:pt idx="41">
                  <c:v>0.08</c:v>
                </c:pt>
                <c:pt idx="42">
                  <c:v>0.14000000000000001</c:v>
                </c:pt>
                <c:pt idx="43">
                  <c:v>0.13</c:v>
                </c:pt>
                <c:pt idx="44">
                  <c:v>0.14000000000000001</c:v>
                </c:pt>
                <c:pt idx="45">
                  <c:v>0.06</c:v>
                </c:pt>
                <c:pt idx="46">
                  <c:v>0.23</c:v>
                </c:pt>
                <c:pt idx="47">
                  <c:v>0.09</c:v>
                </c:pt>
              </c:numCache>
            </c:num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F897-4E5F-BC54-FC95744DE5CE}"/>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a:solidFill>
                      <a:schemeClr val="tx1"/>
                    </a:solidFill>
                    <a:latin typeface="Nexa Bold (Headings)"/>
                  </a:rPr>
                  <a:t>Discount Depth</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3.3279936941070665E-3"/>
              <c:y val="5.6543269514384584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98897150058192"/>
          <c:y val="3.9103343955602402E-2"/>
          <c:w val="0.71263272340205863"/>
          <c:h val="0.7850231571402016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elete val="1"/>
          </c:dLbls>
          <c:trendline>
            <c:spPr>
              <a:ln w="19050" cap="rnd">
                <a:solidFill>
                  <a:schemeClr val="accent1"/>
                </a:solidFill>
                <a:prstDash val="sysDot"/>
              </a:ln>
              <a:effectLst/>
            </c:spPr>
            <c:trendlineType val="linear"/>
            <c:dispRSqr val="1"/>
            <c:dispEq val="0"/>
            <c:trendlineLbl>
              <c:layout>
                <c:manualLayout>
                  <c:x val="-5.0692943316930084E-2"/>
                  <c:y val="-0.10006183028782528"/>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trendlineLbl>
          </c:trendline>
          <c:xVal>
            <c:strRef>
              <c:f>Sheet1!$A$2:$A$49</c:f>
              <c:strCache>
                <c:ptCount val="48"/>
                <c:pt idx="0">
                  <c:v>$1.99</c:v>
                </c:pt>
                <c:pt idx="1">
                  <c:v>$2.98</c:v>
                </c:pt>
                <c:pt idx="2">
                  <c:v>$1.99</c:v>
                </c:pt>
                <c:pt idx="3">
                  <c:v>$2.50</c:v>
                </c:pt>
                <c:pt idx="4">
                  <c:v>$3.01</c:v>
                </c:pt>
                <c:pt idx="5">
                  <c:v>$2.98</c:v>
                </c:pt>
                <c:pt idx="6">
                  <c:v>$3.01</c:v>
                </c:pt>
                <c:pt idx="7">
                  <c:v>$3.01</c:v>
                </c:pt>
                <c:pt idx="8">
                  <c:v>$2.98</c:v>
                </c:pt>
                <c:pt idx="9">
                  <c:v>$2.99</c:v>
                </c:pt>
                <c:pt idx="10">
                  <c:v>$2.98</c:v>
                </c:pt>
                <c:pt idx="11">
                  <c:v>$2.99</c:v>
                </c:pt>
                <c:pt idx="12">
                  <c:v>$3.02</c:v>
                </c:pt>
                <c:pt idx="13">
                  <c:v>$2.51</c:v>
                </c:pt>
                <c:pt idx="14">
                  <c:v>$3.01</c:v>
                </c:pt>
                <c:pt idx="15">
                  <c:v>$2.51</c:v>
                </c:pt>
                <c:pt idx="16">
                  <c:v>$2.94</c:v>
                </c:pt>
                <c:pt idx="17">
                  <c:v>$2.51</c:v>
                </c:pt>
                <c:pt idx="18">
                  <c:v>$2.53</c:v>
                </c:pt>
                <c:pt idx="19">
                  <c:v>$3.16</c:v>
                </c:pt>
                <c:pt idx="20">
                  <c:v>$2.50</c:v>
                </c:pt>
                <c:pt idx="21">
                  <c:v>$2.52</c:v>
                </c:pt>
                <c:pt idx="22">
                  <c:v>$2.51</c:v>
                </c:pt>
                <c:pt idx="23">
                  <c:v>$2.49</c:v>
                </c:pt>
                <c:pt idx="24">
                  <c:v>$2.00</c:v>
                </c:pt>
                <c:pt idx="25">
                  <c:v>$3.01</c:v>
                </c:pt>
                <c:pt idx="26">
                  <c:v>$2.50</c:v>
                </c:pt>
                <c:pt idx="27">
                  <c:v>$2.97</c:v>
                </c:pt>
                <c:pt idx="28">
                  <c:v>$3.01</c:v>
                </c:pt>
                <c:pt idx="29">
                  <c:v>$3.02</c:v>
                </c:pt>
                <c:pt idx="30">
                  <c:v>$3.02</c:v>
                </c:pt>
                <c:pt idx="31">
                  <c:v>$2.99</c:v>
                </c:pt>
                <c:pt idx="32">
                  <c:v>$3.01</c:v>
                </c:pt>
                <c:pt idx="33">
                  <c:v>$1.99</c:v>
                </c:pt>
                <c:pt idx="34">
                  <c:v>$3.01</c:v>
                </c:pt>
                <c:pt idx="35">
                  <c:v>$2.98</c:v>
                </c:pt>
                <c:pt idx="36">
                  <c:v>$2.97</c:v>
                </c:pt>
                <c:pt idx="37">
                  <c:v>$2.50</c:v>
                </c:pt>
                <c:pt idx="38">
                  <c:v>$2.47</c:v>
                </c:pt>
                <c:pt idx="39">
                  <c:v>$3.00</c:v>
                </c:pt>
                <c:pt idx="40">
                  <c:v>$2.96</c:v>
                </c:pt>
                <c:pt idx="41">
                  <c:v>$2.50</c:v>
                </c:pt>
                <c:pt idx="42">
                  <c:v>$2.96</c:v>
                </c:pt>
                <c:pt idx="43">
                  <c:v>$2.48</c:v>
                </c:pt>
                <c:pt idx="44">
                  <c:v>$2.52</c:v>
                </c:pt>
                <c:pt idx="45">
                  <c:v>$3.09</c:v>
                </c:pt>
                <c:pt idx="46">
                  <c:v>$2.51</c:v>
                </c:pt>
                <c:pt idx="47">
                  <c:v>$3.13</c:v>
                </c:pt>
              </c:strCache>
            </c:strRef>
          </c:xVal>
          <c:yVal>
            <c:numRef>
              <c:f>Sheet1!$B$2:$B$49</c:f>
              <c:numCache>
                <c:formatCode>0%</c:formatCode>
                <c:ptCount val="48"/>
                <c:pt idx="0">
                  <c:v>5.6</c:v>
                </c:pt>
                <c:pt idx="1">
                  <c:v>0.76</c:v>
                </c:pt>
                <c:pt idx="2">
                  <c:v>3.94</c:v>
                </c:pt>
                <c:pt idx="3">
                  <c:v>1.1399999999999999</c:v>
                </c:pt>
                <c:pt idx="4">
                  <c:v>0.72</c:v>
                </c:pt>
                <c:pt idx="5">
                  <c:v>1.47</c:v>
                </c:pt>
                <c:pt idx="6">
                  <c:v>1.27</c:v>
                </c:pt>
                <c:pt idx="7">
                  <c:v>1.06</c:v>
                </c:pt>
                <c:pt idx="8">
                  <c:v>1.56</c:v>
                </c:pt>
                <c:pt idx="9">
                  <c:v>1.95</c:v>
                </c:pt>
                <c:pt idx="10">
                  <c:v>2.35</c:v>
                </c:pt>
                <c:pt idx="11">
                  <c:v>1.63</c:v>
                </c:pt>
                <c:pt idx="12">
                  <c:v>1.1399999999999999</c:v>
                </c:pt>
                <c:pt idx="13">
                  <c:v>2.52</c:v>
                </c:pt>
                <c:pt idx="14">
                  <c:v>1.63</c:v>
                </c:pt>
                <c:pt idx="15">
                  <c:v>1.77</c:v>
                </c:pt>
                <c:pt idx="16">
                  <c:v>0.96</c:v>
                </c:pt>
                <c:pt idx="17">
                  <c:v>2.08</c:v>
                </c:pt>
                <c:pt idx="18">
                  <c:v>1.81</c:v>
                </c:pt>
                <c:pt idx="19">
                  <c:v>1</c:v>
                </c:pt>
                <c:pt idx="20">
                  <c:v>2.3199999999999998</c:v>
                </c:pt>
                <c:pt idx="21">
                  <c:v>2.23</c:v>
                </c:pt>
                <c:pt idx="22">
                  <c:v>1.38</c:v>
                </c:pt>
                <c:pt idx="23">
                  <c:v>2.48</c:v>
                </c:pt>
                <c:pt idx="24">
                  <c:v>5.18</c:v>
                </c:pt>
                <c:pt idx="25">
                  <c:v>1.3</c:v>
                </c:pt>
                <c:pt idx="26">
                  <c:v>1.78</c:v>
                </c:pt>
                <c:pt idx="27">
                  <c:v>1.79</c:v>
                </c:pt>
                <c:pt idx="28">
                  <c:v>1.59</c:v>
                </c:pt>
                <c:pt idx="29">
                  <c:v>1.04</c:v>
                </c:pt>
                <c:pt idx="30">
                  <c:v>1.37</c:v>
                </c:pt>
                <c:pt idx="31">
                  <c:v>1.1499999999999999</c:v>
                </c:pt>
                <c:pt idx="32">
                  <c:v>1.85</c:v>
                </c:pt>
                <c:pt idx="33">
                  <c:v>4.63</c:v>
                </c:pt>
                <c:pt idx="34">
                  <c:v>1.55</c:v>
                </c:pt>
                <c:pt idx="35">
                  <c:v>1.1399999999999999</c:v>
                </c:pt>
                <c:pt idx="36">
                  <c:v>1.57</c:v>
                </c:pt>
                <c:pt idx="37">
                  <c:v>3.15</c:v>
                </c:pt>
                <c:pt idx="38">
                  <c:v>2.0499999999999998</c:v>
                </c:pt>
                <c:pt idx="39">
                  <c:v>1.01</c:v>
                </c:pt>
                <c:pt idx="40">
                  <c:v>1.4</c:v>
                </c:pt>
                <c:pt idx="41">
                  <c:v>2.1</c:v>
                </c:pt>
                <c:pt idx="42">
                  <c:v>0.92</c:v>
                </c:pt>
                <c:pt idx="43">
                  <c:v>1.42</c:v>
                </c:pt>
                <c:pt idx="44">
                  <c:v>1.89</c:v>
                </c:pt>
                <c:pt idx="45">
                  <c:v>0.85</c:v>
                </c:pt>
                <c:pt idx="46">
                  <c:v>1.83</c:v>
                </c:pt>
                <c:pt idx="47">
                  <c:v>0.48</c:v>
                </c:pt>
              </c:numCache>
            </c:numRef>
          </c:yVal>
          <c:smooth val="0"/>
          <c:extLst>
            <c:ext xmlns:c16="http://schemas.microsoft.com/office/drawing/2014/chart" uri="{C3380CC4-5D6E-409C-BE32-E72D297353CC}">
              <c16:uniqueId val="{00000000-0229-4508-B6EF-6E66AB2EAAEA}"/>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Promo Price/Unit</a:t>
                </a:r>
              </a:p>
            </c:rich>
          </c:tx>
          <c:layout>
            <c:manualLayout>
              <c:xMode val="edge"/>
              <c:yMode val="edge"/>
              <c:x val="0.71314712116753354"/>
              <c:y val="0.9023215019139005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quot;CHF&quot;\ #,##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r>
                  <a:rPr lang="fr-CH" sz="800" dirty="0">
                    <a:solidFill>
                      <a:schemeClr val="tx1"/>
                    </a:solidFill>
                    <a:latin typeface="Nexa Bold (Headings)"/>
                  </a:rPr>
                  <a:t>Value </a:t>
                </a:r>
              </a:p>
              <a:p>
                <a:pPr>
                  <a:defRPr>
                    <a:latin typeface="Nexa Bold (Headings)"/>
                  </a:defRPr>
                </a:pPr>
                <a:r>
                  <a:rPr lang="fr-CH" sz="800" dirty="0" err="1">
                    <a:solidFill>
                      <a:schemeClr val="tx1"/>
                    </a:solidFill>
                    <a:latin typeface="Nexa Bold (Headings)"/>
                  </a:rPr>
                  <a:t>Uplift</a:t>
                </a:r>
                <a:endParaRPr lang="fr-CH" sz="800" dirty="0">
                  <a:solidFill>
                    <a:schemeClr val="tx1"/>
                  </a:solidFill>
                  <a:latin typeface="Nexa Bold (Headings)"/>
                </a:endParaRPr>
              </a:p>
            </c:rich>
          </c:tx>
          <c:layout>
            <c:manualLayout>
              <c:xMode val="edge"/>
              <c:yMode val="edge"/>
              <c:x val="0"/>
              <c:y val="4.9475360825086509E-2"/>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Headings)"/>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38187743997938E-2"/>
          <c:y val="0"/>
          <c:w val="0.96552354726914169"/>
          <c:h val="0.94320261756785895"/>
        </c:manualLayout>
      </c:layout>
      <c:barChart>
        <c:barDir val="col"/>
        <c:grouping val="clustered"/>
        <c:varyColors val="0"/>
        <c:ser>
          <c:idx val="3"/>
          <c:order val="0"/>
          <c:tx>
            <c:strRef>
              <c:f>Sheet1!$G$1</c:f>
              <c:strCache>
                <c:ptCount val="1"/>
                <c:pt idx="0">
                  <c:v>Small Pet</c:v>
                </c:pt>
              </c:strCache>
            </c:strRef>
          </c:tx>
          <c:spPr>
            <a:solidFill>
              <a:schemeClr val="bg2"/>
            </a:solidFill>
          </c:spPr>
          <c:invertIfNegative val="0"/>
          <c:cat>
            <c:strRef>
              <c:f>Sheet1!$A$2:$A$37</c:f>
              <c:strCache>
                <c:ptCount val="36"/>
                <c:pt idx="0">
                  <c:v>May-21</c:v>
                </c:pt>
                <c:pt idx="1">
                  <c:v>Jun-21</c:v>
                </c:pt>
                <c:pt idx="2">
                  <c:v>Jul-21</c:v>
                </c:pt>
                <c:pt idx="3">
                  <c:v>Aug-21</c:v>
                </c:pt>
                <c:pt idx="4">
                  <c:v>Sep-21</c:v>
                </c:pt>
                <c:pt idx="5">
                  <c:v>Oct-21</c:v>
                </c:pt>
                <c:pt idx="6">
                  <c:v>Nov-21</c:v>
                </c:pt>
                <c:pt idx="7">
                  <c:v>Dec-21</c:v>
                </c:pt>
                <c:pt idx="8">
                  <c:v>Jan-22</c:v>
                </c:pt>
                <c:pt idx="9">
                  <c:v>Feb-22</c:v>
                </c:pt>
                <c:pt idx="10">
                  <c:v>Mar-22</c:v>
                </c:pt>
                <c:pt idx="11">
                  <c:v>Apr-22</c:v>
                </c:pt>
                <c:pt idx="12">
                  <c:v>May-22</c:v>
                </c:pt>
                <c:pt idx="13">
                  <c:v>Jun-22</c:v>
                </c:pt>
                <c:pt idx="14">
                  <c:v>Jul-22</c:v>
                </c:pt>
                <c:pt idx="15">
                  <c:v>Aug-22</c:v>
                </c:pt>
                <c:pt idx="16">
                  <c:v>Sep-22</c:v>
                </c:pt>
                <c:pt idx="17">
                  <c:v>Oct-22</c:v>
                </c:pt>
                <c:pt idx="18">
                  <c:v>Nov-22</c:v>
                </c:pt>
                <c:pt idx="19">
                  <c:v>Dec-22</c:v>
                </c:pt>
                <c:pt idx="20">
                  <c:v>Jan-23</c:v>
                </c:pt>
                <c:pt idx="21">
                  <c:v>Feb-23</c:v>
                </c:pt>
                <c:pt idx="22">
                  <c:v>Mar-23</c:v>
                </c:pt>
                <c:pt idx="23">
                  <c:v>Apr-23</c:v>
                </c:pt>
                <c:pt idx="24">
                  <c:v>May-23</c:v>
                </c:pt>
                <c:pt idx="25">
                  <c:v>Jun-23</c:v>
                </c:pt>
                <c:pt idx="26">
                  <c:v>Jul-23</c:v>
                </c:pt>
                <c:pt idx="27">
                  <c:v>Aug-23</c:v>
                </c:pt>
                <c:pt idx="28">
                  <c:v>Sep-23</c:v>
                </c:pt>
                <c:pt idx="29">
                  <c:v>Oct-23</c:v>
                </c:pt>
                <c:pt idx="30">
                  <c:v>Nov-23</c:v>
                </c:pt>
                <c:pt idx="31">
                  <c:v>Dec-23</c:v>
                </c:pt>
                <c:pt idx="32">
                  <c:v>Jan-24</c:v>
                </c:pt>
                <c:pt idx="33">
                  <c:v>Feb-24</c:v>
                </c:pt>
                <c:pt idx="34">
                  <c:v>Mar-24</c:v>
                </c:pt>
                <c:pt idx="35">
                  <c:v>Apr-24</c:v>
                </c:pt>
              </c:strCache>
            </c:strRef>
          </c:cat>
          <c:val>
            <c:numRef>
              <c:f>Sheet1!$G$2:$G$37</c:f>
              <c:numCache>
                <c:formatCode>0%</c:formatCode>
                <c:ptCount val="36"/>
                <c:pt idx="0">
                  <c:v>0.9636844996456132</c:v>
                </c:pt>
                <c:pt idx="1">
                  <c:v>1.0460366940388319</c:v>
                </c:pt>
                <c:pt idx="2">
                  <c:v>1.206116351645163</c:v>
                </c:pt>
                <c:pt idx="3">
                  <c:v>1.2983131053207304</c:v>
                </c:pt>
                <c:pt idx="4">
                  <c:v>1.1358603251460164</c:v>
                </c:pt>
                <c:pt idx="5">
                  <c:v>0.9702994879909782</c:v>
                </c:pt>
                <c:pt idx="6">
                  <c:v>0.85871354305643566</c:v>
                </c:pt>
                <c:pt idx="7">
                  <c:v>0.8056932104732506</c:v>
                </c:pt>
                <c:pt idx="8">
                  <c:v>0.77400606192522703</c:v>
                </c:pt>
                <c:pt idx="9">
                  <c:v>0.74539979888853203</c:v>
                </c:pt>
                <c:pt idx="10">
                  <c:v>0.86961761722764874</c:v>
                </c:pt>
                <c:pt idx="11">
                  <c:v>0.91340763521759294</c:v>
                </c:pt>
                <c:pt idx="12">
                  <c:v>1.0968873056153734</c:v>
                </c:pt>
                <c:pt idx="13">
                  <c:v>1.121420955790694</c:v>
                </c:pt>
                <c:pt idx="14">
                  <c:v>1.2937617960728616</c:v>
                </c:pt>
                <c:pt idx="15">
                  <c:v>1.3365071579810675</c:v>
                </c:pt>
                <c:pt idx="16">
                  <c:v>1.0661333313576895</c:v>
                </c:pt>
                <c:pt idx="17">
                  <c:v>1.0286682748202165</c:v>
                </c:pt>
                <c:pt idx="18">
                  <c:v>0.917528066601354</c:v>
                </c:pt>
                <c:pt idx="19">
                  <c:v>0.83666199850174361</c:v>
                </c:pt>
                <c:pt idx="20">
                  <c:v>0.78742626362763024</c:v>
                </c:pt>
                <c:pt idx="21">
                  <c:v>0.72135732236310157</c:v>
                </c:pt>
                <c:pt idx="22">
                  <c:v>0.81876857082936849</c:v>
                </c:pt>
                <c:pt idx="23">
                  <c:v>0.90068396403738837</c:v>
                </c:pt>
                <c:pt idx="24">
                  <c:v>1.0445500290499452</c:v>
                </c:pt>
                <c:pt idx="25">
                  <c:v>1.1062416580562486</c:v>
                </c:pt>
                <c:pt idx="26">
                  <c:v>1.2463776939126952</c:v>
                </c:pt>
                <c:pt idx="27">
                  <c:v>1.2903894899928463</c:v>
                </c:pt>
                <c:pt idx="28">
                  <c:v>1.2257337319182346</c:v>
                </c:pt>
                <c:pt idx="29">
                  <c:v>1.0577699208953182</c:v>
                </c:pt>
                <c:pt idx="30">
                  <c:v>0.9524340069307804</c:v>
                </c:pt>
                <c:pt idx="31">
                  <c:v>0.84826734838644213</c:v>
                </c:pt>
                <c:pt idx="32">
                  <c:v>0.89679248713136817</c:v>
                </c:pt>
                <c:pt idx="33">
                  <c:v>1.025789386864326</c:v>
                </c:pt>
                <c:pt idx="34">
                  <c:v>0.94290053485836289</c:v>
                </c:pt>
                <c:pt idx="35">
                  <c:v>1.1345175911459429</c:v>
                </c:pt>
              </c:numCache>
            </c:numRef>
          </c:val>
          <c:extLst>
            <c:ext xmlns:c16="http://schemas.microsoft.com/office/drawing/2014/chart" uri="{C3380CC4-5D6E-409C-BE32-E72D297353CC}">
              <c16:uniqueId val="{00000003-6A07-40C1-B975-BA44DDF9A40C}"/>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yyyy" sourceLinked="0"/>
        <c:majorTickMark val="none"/>
        <c:minorTickMark val="none"/>
        <c:tickLblPos val="none"/>
        <c:spPr>
          <a:ln>
            <a:noFill/>
          </a:ln>
        </c:spPr>
        <c:txPr>
          <a:bodyPr/>
          <a:lstStyle/>
          <a:p>
            <a:pPr algn="ctr">
              <a:defRPr lang="en-US" sz="7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nextTo"/>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95610793002395E-2"/>
          <c:y val="8.2240519891922104E-2"/>
          <c:w val="0.96552354726914169"/>
          <c:h val="0.66017885023071499"/>
        </c:manualLayout>
      </c:layout>
      <c:barChart>
        <c:barDir val="col"/>
        <c:grouping val="clustered"/>
        <c:varyColors val="0"/>
        <c:ser>
          <c:idx val="3"/>
          <c:order val="0"/>
          <c:tx>
            <c:strRef>
              <c:f>Sheet1!$E$1</c:f>
              <c:strCache>
                <c:ptCount val="1"/>
                <c:pt idx="0">
                  <c:v>Rgb</c:v>
                </c:pt>
              </c:strCache>
            </c:strRef>
          </c:tx>
          <c:spPr>
            <a:solidFill>
              <a:schemeClr val="bg2"/>
            </a:solidFill>
          </c:spPr>
          <c:invertIfNegative val="0"/>
          <c:cat>
            <c:numRef>
              <c:f>Sheet1!$A$2:$A$37</c:f>
              <c:numCache>
                <c:formatCode>mmm\-yy</c:formatCode>
                <c:ptCount val="36"/>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pt idx="22">
                  <c:v>44986</c:v>
                </c:pt>
                <c:pt idx="23">
                  <c:v>45017</c:v>
                </c:pt>
                <c:pt idx="24">
                  <c:v>45047</c:v>
                </c:pt>
                <c:pt idx="25">
                  <c:v>45078</c:v>
                </c:pt>
                <c:pt idx="26">
                  <c:v>45108</c:v>
                </c:pt>
                <c:pt idx="27">
                  <c:v>45139</c:v>
                </c:pt>
                <c:pt idx="28">
                  <c:v>45170</c:v>
                </c:pt>
                <c:pt idx="29">
                  <c:v>45200</c:v>
                </c:pt>
                <c:pt idx="30">
                  <c:v>45231</c:v>
                </c:pt>
                <c:pt idx="31">
                  <c:v>45261</c:v>
                </c:pt>
                <c:pt idx="32">
                  <c:v>45292</c:v>
                </c:pt>
                <c:pt idx="33">
                  <c:v>45323</c:v>
                </c:pt>
                <c:pt idx="34">
                  <c:v>45352</c:v>
                </c:pt>
                <c:pt idx="35">
                  <c:v>45383</c:v>
                </c:pt>
              </c:numCache>
            </c:numRef>
          </c:cat>
          <c:val>
            <c:numRef>
              <c:f>Sheet1!$E$2:$E$37</c:f>
              <c:numCache>
                <c:formatCode>0%</c:formatCode>
                <c:ptCount val="36"/>
                <c:pt idx="0">
                  <c:v>0.87107203749471396</c:v>
                </c:pt>
                <c:pt idx="1">
                  <c:v>1.0344363806118404</c:v>
                </c:pt>
                <c:pt idx="2">
                  <c:v>1.2601633524016127</c:v>
                </c:pt>
                <c:pt idx="3">
                  <c:v>1.3627976986037396</c:v>
                </c:pt>
                <c:pt idx="4">
                  <c:v>1.2202875158715509</c:v>
                </c:pt>
                <c:pt idx="5">
                  <c:v>1.0713205348358339</c:v>
                </c:pt>
                <c:pt idx="6">
                  <c:v>0.88686239619905938</c:v>
                </c:pt>
                <c:pt idx="7">
                  <c:v>0.82221746425573949</c:v>
                </c:pt>
                <c:pt idx="8">
                  <c:v>0.80198503922554676</c:v>
                </c:pt>
                <c:pt idx="9">
                  <c:v>0.72425246070241345</c:v>
                </c:pt>
                <c:pt idx="10">
                  <c:v>0.83353852711319731</c:v>
                </c:pt>
                <c:pt idx="11">
                  <c:v>0.90504107573383308</c:v>
                </c:pt>
                <c:pt idx="12">
                  <c:v>1.0648596785756976</c:v>
                </c:pt>
                <c:pt idx="13">
                  <c:v>1.1429182674521738</c:v>
                </c:pt>
                <c:pt idx="14">
                  <c:v>1.3243488698973651</c:v>
                </c:pt>
                <c:pt idx="15">
                  <c:v>1.3750152791224761</c:v>
                </c:pt>
                <c:pt idx="16">
                  <c:v>1.156841109697724</c:v>
                </c:pt>
                <c:pt idx="17">
                  <c:v>1.0006453139281486</c:v>
                </c:pt>
                <c:pt idx="18">
                  <c:v>0.86514468978864889</c:v>
                </c:pt>
                <c:pt idx="19">
                  <c:v>0.80540968876277463</c:v>
                </c:pt>
                <c:pt idx="20">
                  <c:v>0.82336031811926291</c:v>
                </c:pt>
                <c:pt idx="21">
                  <c:v>0.72409875054013229</c:v>
                </c:pt>
                <c:pt idx="22">
                  <c:v>0.83523840577987774</c:v>
                </c:pt>
                <c:pt idx="23">
                  <c:v>0.89331924566836185</c:v>
                </c:pt>
                <c:pt idx="24">
                  <c:v>0.99990218460873759</c:v>
                </c:pt>
                <c:pt idx="25">
                  <c:v>1.0453101340803421</c:v>
                </c:pt>
                <c:pt idx="26">
                  <c:v>1.2514262680387314</c:v>
                </c:pt>
                <c:pt idx="27">
                  <c:v>1.3287208756121829</c:v>
                </c:pt>
                <c:pt idx="28">
                  <c:v>1.2365881053427494</c:v>
                </c:pt>
                <c:pt idx="29">
                  <c:v>1.0600662393602704</c:v>
                </c:pt>
                <c:pt idx="30">
                  <c:v>0.90491416409554304</c:v>
                </c:pt>
                <c:pt idx="31">
                  <c:v>0.89705530875380812</c:v>
                </c:pt>
                <c:pt idx="32">
                  <c:v>1.0222725248009743</c:v>
                </c:pt>
                <c:pt idx="33">
                  <c:v>0.95909209041551757</c:v>
                </c:pt>
                <c:pt idx="34">
                  <c:v>0.97869681632891614</c:v>
                </c:pt>
                <c:pt idx="35">
                  <c:v>1.0399385684545921</c:v>
                </c:pt>
              </c:numCache>
            </c:numRef>
          </c:val>
          <c:extLst>
            <c:ext xmlns:c16="http://schemas.microsoft.com/office/drawing/2014/chart" uri="{C3380CC4-5D6E-409C-BE32-E72D297353CC}">
              <c16:uniqueId val="{00000000-8273-4A1B-BA71-08718F5870C4}"/>
            </c:ext>
          </c:extLst>
        </c:ser>
        <c:dLbls>
          <c:showLegendKey val="0"/>
          <c:showVal val="0"/>
          <c:showCatName val="0"/>
          <c:showSerName val="0"/>
          <c:showPercent val="0"/>
          <c:showBubbleSize val="0"/>
        </c:dLbls>
        <c:gapWidth val="10"/>
        <c:axId val="1203215088"/>
        <c:axId val="1203216752"/>
        <c:extLst/>
      </c:barChart>
      <c:catAx>
        <c:axId val="1203215088"/>
        <c:scaling>
          <c:orientation val="minMax"/>
        </c:scaling>
        <c:delete val="0"/>
        <c:axPos val="b"/>
        <c:numFmt formatCode="mmm\ yy;@" sourceLinked="0"/>
        <c:majorTickMark val="out"/>
        <c:minorTickMark val="none"/>
        <c:tickLblPos val="low"/>
        <c:spPr>
          <a:ln>
            <a:noFill/>
          </a:ln>
        </c:spPr>
        <c:txPr>
          <a:bodyPr rot="-5400000" vert="horz"/>
          <a:lstStyle/>
          <a:p>
            <a:pPr algn="ctr">
              <a:defRPr lang="en-US" sz="400" b="0" i="0" u="none" strike="noStrike" kern="1200" baseline="0">
                <a:solidFill>
                  <a:schemeClr val="tx2"/>
                </a:solidFill>
                <a:latin typeface="Nexa Book" panose="00000400000000000000" pitchFamily="2" charset="0"/>
                <a:ea typeface="+mn-ea"/>
                <a:cs typeface="+mn-cs"/>
              </a:defRPr>
            </a:pPr>
            <a:endParaRPr lang="en-US"/>
          </a:p>
        </c:txPr>
        <c:crossAx val="1203216752"/>
        <c:crossesAt val="1"/>
        <c:auto val="0"/>
        <c:lblAlgn val="ctr"/>
        <c:lblOffset val="100"/>
        <c:noMultiLvlLbl val="0"/>
      </c:catAx>
      <c:valAx>
        <c:axId val="1203216752"/>
        <c:scaling>
          <c:orientation val="minMax"/>
        </c:scaling>
        <c:delete val="0"/>
        <c:axPos val="l"/>
        <c:numFmt formatCode="0%" sourceLinked="1"/>
        <c:majorTickMark val="none"/>
        <c:minorTickMark val="none"/>
        <c:tickLblPos val="low"/>
        <c:spPr>
          <a:ln>
            <a:noFill/>
          </a:ln>
        </c:spPr>
        <c:txPr>
          <a:bodyPr/>
          <a:lstStyle/>
          <a:p>
            <a:pPr>
              <a:defRPr sz="800">
                <a:solidFill>
                  <a:schemeClr val="tx1"/>
                </a:solidFill>
              </a:defRPr>
            </a:pPr>
            <a:endParaRPr lang="en-US"/>
          </a:p>
        </c:txPr>
        <c:crossAx val="120321508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53849719672747E-4"/>
          <c:y val="6.0063696518519595E-2"/>
          <c:w val="0.95453953634144284"/>
          <c:h val="0.88878250476834464"/>
        </c:manualLayout>
      </c:layout>
      <c:barChart>
        <c:barDir val="col"/>
        <c:grouping val="percentStacked"/>
        <c:varyColors val="0"/>
        <c:ser>
          <c:idx val="1"/>
          <c:order val="1"/>
          <c:tx>
            <c:strRef>
              <c:f>Sheet1!$C$1</c:f>
              <c:strCache>
                <c:ptCount val="1"/>
                <c:pt idx="0">
                  <c:v>bar</c:v>
                </c:pt>
              </c:strCache>
            </c:strRef>
          </c:tx>
          <c:spPr>
            <a:solidFill>
              <a:schemeClr val="bg2"/>
            </a:solidFill>
            <a:ln>
              <a:noFill/>
            </a:ln>
            <a:effectLst/>
          </c:spPr>
          <c:invertIfNegative val="0"/>
          <c:dLbls>
            <c:dLbl>
              <c:idx val="0"/>
              <c:tx>
                <c:rich>
                  <a:bodyPr/>
                  <a:lstStyle/>
                  <a:p>
                    <a:fld id="{5687A7B4-D7EE-4099-94B9-38FD47962AE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6F3F-4891-A588-66FCA4279EF0}"/>
                </c:ext>
              </c:extLst>
            </c:dLbl>
            <c:dLbl>
              <c:idx val="1"/>
              <c:tx>
                <c:rich>
                  <a:bodyPr/>
                  <a:lstStyle/>
                  <a:p>
                    <a:fld id="{A2D59A40-F473-4A77-970A-2089CCFBE68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6F3F-4891-A588-66FCA4279EF0}"/>
                </c:ext>
              </c:extLst>
            </c:dLbl>
            <c:dLbl>
              <c:idx val="2"/>
              <c:delete val="1"/>
              <c:extLst>
                <c:ext xmlns:c15="http://schemas.microsoft.com/office/drawing/2012/chart" uri="{CE6537A1-D6FC-4f65-9D91-7224C49458BB}"/>
                <c:ext xmlns:c16="http://schemas.microsoft.com/office/drawing/2014/chart" uri="{C3380CC4-5D6E-409C-BE32-E72D297353CC}">
                  <c16:uniqueId val="{00000002-6F3F-4891-A588-66FCA4279EF0}"/>
                </c:ext>
              </c:extLst>
            </c:dLbl>
            <c:dLbl>
              <c:idx val="3"/>
              <c:tx>
                <c:rich>
                  <a:bodyPr/>
                  <a:lstStyle/>
                  <a:p>
                    <a:fld id="{719FBD2B-728C-4441-8571-15220D409A5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6F3F-4891-A588-66FCA4279EF0}"/>
                </c:ext>
              </c:extLst>
            </c:dLbl>
            <c:dLbl>
              <c:idx val="4"/>
              <c:tx>
                <c:rich>
                  <a:bodyPr/>
                  <a:lstStyle/>
                  <a:p>
                    <a:fld id="{0C8D38AE-71B9-428A-A7CE-6660F93A4FD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6F3F-4891-A588-66FCA4279EF0}"/>
                </c:ext>
              </c:extLst>
            </c:dLbl>
            <c:dLbl>
              <c:idx val="5"/>
              <c:tx>
                <c:rich>
                  <a:bodyPr/>
                  <a:lstStyle/>
                  <a:p>
                    <a:fld id="{44B70F89-0EE7-4DC5-A7DB-5E73A7C3752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6F3F-4891-A588-66FCA4279EF0}"/>
                </c:ext>
              </c:extLst>
            </c:dLbl>
            <c:dLbl>
              <c:idx val="6"/>
              <c:tx>
                <c:rich>
                  <a:bodyPr/>
                  <a:lstStyle/>
                  <a:p>
                    <a:fld id="{25D5150F-8680-452E-8BE6-90A2734664C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6F3F-4891-A588-66FCA4279EF0}"/>
                </c:ext>
              </c:extLst>
            </c:dLbl>
            <c:dLbl>
              <c:idx val="7"/>
              <c:tx>
                <c:rich>
                  <a:bodyPr/>
                  <a:lstStyle/>
                  <a:p>
                    <a:fld id="{D1F7C3D8-CA88-4387-BF66-8D6BEFBCE06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6F3F-4891-A588-66FCA4279EF0}"/>
                </c:ext>
              </c:extLst>
            </c:dLbl>
            <c:dLbl>
              <c:idx val="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6F3F-4891-A588-66FCA4279EF0}"/>
                </c:ext>
              </c:extLst>
            </c:dLbl>
            <c:dLbl>
              <c:idx val="9"/>
              <c:tx>
                <c:rich>
                  <a:bodyPr/>
                  <a:lstStyle/>
                  <a:p>
                    <a:fld id="{1845B9FF-9A4D-402C-B332-B94C54F667B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6F3F-4891-A588-66FCA4279EF0}"/>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6F3F-4891-A588-66FCA4279EF0}"/>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6F3F-4891-A588-66FCA4279EF0}"/>
                </c:ext>
              </c:extLst>
            </c:dLbl>
            <c:dLbl>
              <c:idx val="12"/>
              <c:tx>
                <c:rich>
                  <a:bodyPr/>
                  <a:lstStyle/>
                  <a:p>
                    <a:fld id="{C8B5EEDC-8604-498A-AF87-6E124E99C3E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6F3F-4891-A588-66FCA4279EF0}"/>
                </c:ext>
              </c:extLst>
            </c:dLbl>
            <c:dLbl>
              <c:idx val="13"/>
              <c:tx>
                <c:rich>
                  <a:bodyPr/>
                  <a:lstStyle/>
                  <a:p>
                    <a:fld id="{D61AD10C-1DA0-475F-A3E1-A6ECB669514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6F3F-4891-A588-66FCA4279EF0}"/>
                </c:ext>
              </c:extLst>
            </c:dLbl>
            <c:dLbl>
              <c:idx val="1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6F3F-4891-A588-66FCA4279EF0}"/>
                </c:ext>
              </c:extLst>
            </c:dLbl>
            <c:dLbl>
              <c:idx val="15"/>
              <c:tx>
                <c:rich>
                  <a:bodyPr/>
                  <a:lstStyle/>
                  <a:p>
                    <a:fld id="{5FCB9C08-EDC3-467D-AEDE-43211037D43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6F3F-4891-A588-66FCA4279EF0}"/>
                </c:ext>
              </c:extLst>
            </c:dLbl>
            <c:dLbl>
              <c:idx val="16"/>
              <c:tx>
                <c:rich>
                  <a:bodyPr/>
                  <a:lstStyle/>
                  <a:p>
                    <a:fld id="{83093257-7DBE-4AAE-B035-A97EBDE4342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6F3F-4891-A588-66FCA4279EF0}"/>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6F3F-4891-A588-66FCA4279EF0}"/>
                </c:ext>
              </c:extLst>
            </c:dLbl>
            <c:dLbl>
              <c:idx val="18"/>
              <c:tx>
                <c:rich>
                  <a:bodyPr/>
                  <a:lstStyle/>
                  <a:p>
                    <a:fld id="{205D8B3F-C83B-485D-B328-33EA6CC2791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6F3F-4891-A588-66FCA4279EF0}"/>
                </c:ext>
              </c:extLst>
            </c:dLbl>
            <c:dLbl>
              <c:idx val="19"/>
              <c:tx>
                <c:rich>
                  <a:bodyPr/>
                  <a:lstStyle/>
                  <a:p>
                    <a:fld id="{9D3E86D2-8D87-4B20-9BBE-0B32D0EB64F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6F3F-4891-A588-66FCA4279EF0}"/>
                </c:ext>
              </c:extLst>
            </c:dLbl>
            <c:dLbl>
              <c:idx val="20"/>
              <c:tx>
                <c:rich>
                  <a:bodyPr/>
                  <a:lstStyle/>
                  <a:p>
                    <a:fld id="{5A7203F5-3153-4490-9572-8CEBF1AF6DB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6F3F-4891-A588-66FCA4279EF0}"/>
                </c:ext>
              </c:extLst>
            </c:dLbl>
            <c:dLbl>
              <c:idx val="21"/>
              <c:tx>
                <c:rich>
                  <a:bodyPr/>
                  <a:lstStyle/>
                  <a:p>
                    <a:fld id="{9E036D4E-AA32-4EB8-8015-2791D28EF0C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6F3F-4891-A588-66FCA4279EF0}"/>
                </c:ext>
              </c:extLst>
            </c:dLbl>
            <c:dLbl>
              <c:idx val="22"/>
              <c:tx>
                <c:rich>
                  <a:bodyPr/>
                  <a:lstStyle/>
                  <a:p>
                    <a:fld id="{59C295E6-CE98-4175-8CF8-D083D2D0DA7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6F3F-4891-A588-66FCA4279EF0}"/>
                </c:ext>
              </c:extLst>
            </c:dLbl>
            <c:dLbl>
              <c:idx val="23"/>
              <c:tx>
                <c:rich>
                  <a:bodyPr/>
                  <a:lstStyle/>
                  <a:p>
                    <a:fld id="{A01D1426-253C-49FA-A867-39428216210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6F3F-4891-A588-66FCA4279EF0}"/>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6F3F-4891-A588-66FCA4279EF0}"/>
                </c:ext>
              </c:extLst>
            </c:dLbl>
            <c:dLbl>
              <c:idx val="2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6F3F-4891-A588-66FCA4279EF0}"/>
                </c:ext>
              </c:extLst>
            </c:dLbl>
            <c:dLbl>
              <c:idx val="26"/>
              <c:tx>
                <c:rich>
                  <a:bodyPr/>
                  <a:lstStyle/>
                  <a:p>
                    <a:fld id="{EEA0C8D2-2524-4289-A829-D486A7A0B50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6F3F-4891-A588-66FCA4279EF0}"/>
                </c:ext>
              </c:extLst>
            </c:dLbl>
            <c:dLbl>
              <c:idx val="2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6F3F-4891-A588-66FCA4279EF0}"/>
                </c:ext>
              </c:extLst>
            </c:dLbl>
            <c:dLbl>
              <c:idx val="2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6F3F-4891-A588-66FCA4279EF0}"/>
                </c:ext>
              </c:extLst>
            </c:dLbl>
            <c:dLbl>
              <c:idx val="29"/>
              <c:tx>
                <c:rich>
                  <a:bodyPr/>
                  <a:lstStyle/>
                  <a:p>
                    <a:fld id="{C98D47AD-C4B1-4940-8592-2CECC48F0DD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6F3F-4891-A588-66FCA4279EF0}"/>
                </c:ext>
              </c:extLst>
            </c:dLbl>
            <c:dLbl>
              <c:idx val="30"/>
              <c:tx>
                <c:rich>
                  <a:bodyPr/>
                  <a:lstStyle/>
                  <a:p>
                    <a:fld id="{E3369B8A-D106-4AFC-B452-645B000C20D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6F3F-4891-A588-66FCA4279EF0}"/>
                </c:ext>
              </c:extLst>
            </c:dLbl>
            <c:dLbl>
              <c:idx val="3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6F3F-4891-A588-66FCA4279EF0}"/>
                </c:ext>
              </c:extLst>
            </c:dLbl>
            <c:dLbl>
              <c:idx val="3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6F3F-4891-A588-66FCA4279EF0}"/>
                </c:ext>
              </c:extLst>
            </c:dLbl>
            <c:dLbl>
              <c:idx val="33"/>
              <c:tx>
                <c:rich>
                  <a:bodyPr/>
                  <a:lstStyle/>
                  <a:p>
                    <a:fld id="{1E93429A-9424-4F8E-AE78-CB0FB978ADA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6F3F-4891-A588-66FCA4279EF0}"/>
                </c:ext>
              </c:extLst>
            </c:dLbl>
            <c:dLbl>
              <c:idx val="34"/>
              <c:tx>
                <c:rich>
                  <a:bodyPr/>
                  <a:lstStyle/>
                  <a:p>
                    <a:fld id="{635E9B43-D278-45C7-A70D-4960FC04277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6F3F-4891-A588-66FCA4279EF0}"/>
                </c:ext>
              </c:extLst>
            </c:dLbl>
            <c:dLbl>
              <c:idx val="35"/>
              <c:tx>
                <c:rich>
                  <a:bodyPr/>
                  <a:lstStyle/>
                  <a:p>
                    <a:fld id="{192E9D27-C8B5-44CD-8D65-95E54CDF7A1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6F3F-4891-A588-66FCA4279EF0}"/>
                </c:ext>
              </c:extLst>
            </c:dLbl>
            <c:dLbl>
              <c:idx val="36"/>
              <c:tx>
                <c:rich>
                  <a:bodyPr/>
                  <a:lstStyle/>
                  <a:p>
                    <a:fld id="{43151C58-EC12-474B-8A08-5C8310DEC83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6F3F-4891-A588-66FCA4279EF0}"/>
                </c:ext>
              </c:extLst>
            </c:dLbl>
            <c:dLbl>
              <c:idx val="3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6F3F-4891-A588-66FCA4279EF0}"/>
                </c:ext>
              </c:extLst>
            </c:dLbl>
            <c:dLbl>
              <c:idx val="38"/>
              <c:tx>
                <c:rich>
                  <a:bodyPr/>
                  <a:lstStyle/>
                  <a:p>
                    <a:fld id="{3F047A9C-D9D9-4A65-93C7-136ED084BB6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6F3F-4891-A588-66FCA4279EF0}"/>
                </c:ext>
              </c:extLst>
            </c:dLbl>
            <c:dLbl>
              <c:idx val="3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7-6F3F-4891-A588-66FCA4279EF0}"/>
                </c:ext>
              </c:extLst>
            </c:dLbl>
            <c:dLbl>
              <c:idx val="40"/>
              <c:tx>
                <c:rich>
                  <a:bodyPr/>
                  <a:lstStyle/>
                  <a:p>
                    <a:fld id="{435C5ED3-64CA-4559-9FA7-A3B0AF16E82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6F3F-4891-A588-66FCA4279EF0}"/>
                </c:ext>
              </c:extLst>
            </c:dLbl>
            <c:dLbl>
              <c:idx val="41"/>
              <c:tx>
                <c:rich>
                  <a:bodyPr/>
                  <a:lstStyle/>
                  <a:p>
                    <a:fld id="{CAF0FF1E-AA76-4BB1-A5A7-122FB695D1C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6F3F-4891-A588-66FCA4279EF0}"/>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6F3F-4891-A588-66FCA4279EF0}"/>
                </c:ext>
              </c:extLst>
            </c:dLbl>
            <c:dLbl>
              <c:idx val="4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B-6F3F-4891-A588-66FCA4279EF0}"/>
                </c:ext>
              </c:extLst>
            </c:dLbl>
            <c:dLbl>
              <c:idx val="44"/>
              <c:tx>
                <c:rich>
                  <a:bodyPr/>
                  <a:lstStyle/>
                  <a:p>
                    <a:fld id="{E6EB6094-68D4-4746-9FED-FF5315FF994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6F3F-4891-A588-66FCA4279EF0}"/>
                </c:ext>
              </c:extLst>
            </c:dLbl>
            <c:dLbl>
              <c:idx val="45"/>
              <c:tx>
                <c:rich>
                  <a:bodyPr/>
                  <a:lstStyle/>
                  <a:p>
                    <a:fld id="{3EF1AEA1-DBF8-47E5-BBA2-01D6FE6CAB0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6F3F-4891-A588-66FCA4279EF0}"/>
                </c:ext>
              </c:extLst>
            </c:dLbl>
            <c:dLbl>
              <c:idx val="46"/>
              <c:tx>
                <c:rich>
                  <a:bodyPr/>
                  <a:lstStyle/>
                  <a:p>
                    <a:fld id="{FE76F2AB-F886-4A19-9173-80758D8CE74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6F3F-4891-A588-66FCA4279EF0}"/>
                </c:ext>
              </c:extLst>
            </c:dLbl>
            <c:dLbl>
              <c:idx val="47"/>
              <c:tx>
                <c:rich>
                  <a:bodyPr/>
                  <a:lstStyle/>
                  <a:p>
                    <a:fld id="{2B014969-D124-4BFD-8829-164C427CCD5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6F3F-4891-A588-66FCA4279EF0}"/>
                </c:ext>
              </c:extLst>
            </c:dLbl>
            <c:dLbl>
              <c:idx val="48"/>
              <c:tx>
                <c:rich>
                  <a:bodyPr/>
                  <a:lstStyle/>
                  <a:p>
                    <a:fld id="{AD903AE0-FB0E-447D-ABA8-DBE0B9E628B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6F3F-4891-A588-66FCA4279EF0}"/>
                </c:ext>
              </c:extLst>
            </c:dLbl>
            <c:dLbl>
              <c:idx val="4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1-6F3F-4891-A588-66FCA4279EF0}"/>
                </c:ext>
              </c:extLst>
            </c:dLbl>
            <c:dLbl>
              <c:idx val="5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2-6F3F-4891-A588-66FCA4279EF0}"/>
                </c:ext>
              </c:extLst>
            </c:dLbl>
            <c:dLbl>
              <c:idx val="51"/>
              <c:tx>
                <c:rich>
                  <a:bodyPr/>
                  <a:lstStyle/>
                  <a:p>
                    <a:fld id="{5B6B8CF5-D1F9-425C-97A9-0779B3A39F6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6F3F-4891-A588-66FCA4279EF0}"/>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C$2:$C$53</c:f>
              <c:numCache>
                <c:formatCode>0%</c:formatCode>
                <c:ptCount val="52"/>
                <c:pt idx="0">
                  <c:v>1</c:v>
                </c:pt>
                <c:pt idx="1">
                  <c:v>1</c:v>
                </c:pt>
                <c:pt idx="2">
                  <c:v>1</c:v>
                </c:pt>
                <c:pt idx="3">
                  <c:v>1</c:v>
                </c:pt>
                <c:pt idx="4">
                  <c:v>1</c:v>
                </c:pt>
                <c:pt idx="5">
                  <c:v>1</c:v>
                </c:pt>
                <c:pt idx="6">
                  <c:v>1</c:v>
                </c:pt>
                <c:pt idx="7">
                  <c:v>1</c:v>
                </c:pt>
                <c:pt idx="8">
                  <c:v>#N/A</c:v>
                </c:pt>
                <c:pt idx="9">
                  <c:v>1</c:v>
                </c:pt>
                <c:pt idx="10">
                  <c:v>#N/A</c:v>
                </c:pt>
                <c:pt idx="11">
                  <c:v>#N/A</c:v>
                </c:pt>
                <c:pt idx="12">
                  <c:v>1</c:v>
                </c:pt>
                <c:pt idx="13">
                  <c:v>1</c:v>
                </c:pt>
                <c:pt idx="14">
                  <c:v>#N/A</c:v>
                </c:pt>
                <c:pt idx="15">
                  <c:v>1</c:v>
                </c:pt>
                <c:pt idx="16">
                  <c:v>1</c:v>
                </c:pt>
                <c:pt idx="17">
                  <c:v>#N/A</c:v>
                </c:pt>
                <c:pt idx="18">
                  <c:v>1</c:v>
                </c:pt>
                <c:pt idx="19">
                  <c:v>1</c:v>
                </c:pt>
                <c:pt idx="20">
                  <c:v>1</c:v>
                </c:pt>
                <c:pt idx="21">
                  <c:v>1</c:v>
                </c:pt>
                <c:pt idx="22">
                  <c:v>1</c:v>
                </c:pt>
                <c:pt idx="23">
                  <c:v>1</c:v>
                </c:pt>
                <c:pt idx="24">
                  <c:v>#N/A</c:v>
                </c:pt>
                <c:pt idx="25">
                  <c:v>#N/A</c:v>
                </c:pt>
                <c:pt idx="26">
                  <c:v>1</c:v>
                </c:pt>
                <c:pt idx="27">
                  <c:v>#N/A</c:v>
                </c:pt>
                <c:pt idx="28">
                  <c:v>#N/A</c:v>
                </c:pt>
                <c:pt idx="29">
                  <c:v>1</c:v>
                </c:pt>
                <c:pt idx="30">
                  <c:v>1</c:v>
                </c:pt>
                <c:pt idx="31">
                  <c:v>#N/A</c:v>
                </c:pt>
                <c:pt idx="32">
                  <c:v>#N/A</c:v>
                </c:pt>
                <c:pt idx="33">
                  <c:v>1</c:v>
                </c:pt>
                <c:pt idx="34">
                  <c:v>1</c:v>
                </c:pt>
                <c:pt idx="35">
                  <c:v>1</c:v>
                </c:pt>
                <c:pt idx="36">
                  <c:v>1</c:v>
                </c:pt>
                <c:pt idx="37">
                  <c:v>#N/A</c:v>
                </c:pt>
                <c:pt idx="38">
                  <c:v>1</c:v>
                </c:pt>
                <c:pt idx="39">
                  <c:v>#N/A</c:v>
                </c:pt>
                <c:pt idx="40">
                  <c:v>1</c:v>
                </c:pt>
                <c:pt idx="41">
                  <c:v>1</c:v>
                </c:pt>
                <c:pt idx="42">
                  <c:v>#N/A</c:v>
                </c:pt>
                <c:pt idx="43">
                  <c:v>#N/A</c:v>
                </c:pt>
                <c:pt idx="44">
                  <c:v>1</c:v>
                </c:pt>
                <c:pt idx="45">
                  <c:v>1</c:v>
                </c:pt>
                <c:pt idx="46">
                  <c:v>1</c:v>
                </c:pt>
                <c:pt idx="47">
                  <c:v>1</c:v>
                </c:pt>
                <c:pt idx="48">
                  <c:v>1</c:v>
                </c:pt>
                <c:pt idx="49">
                  <c:v>#N/A</c:v>
                </c:pt>
                <c:pt idx="50">
                  <c:v>#N/A</c:v>
                </c:pt>
                <c:pt idx="51">
                  <c:v>1</c:v>
                </c:pt>
              </c:numCache>
            </c:numRef>
          </c:val>
          <c:extLst>
            <c:ext xmlns:c15="http://schemas.microsoft.com/office/drawing/2012/chart" uri="{02D57815-91ED-43cb-92C2-25804820EDAC}">
              <c15:datalabelsRange>
                <c15:f>Sheet1!$G$2:$G$53</c15:f>
                <c15:dlblRangeCache>
                  <c:ptCount val="52"/>
                  <c:pt idx="2">
                    <c:v>244%</c:v>
                  </c:pt>
                  <c:pt idx="45">
                    <c:v>209%</c:v>
                  </c:pt>
                </c15:dlblRangeCache>
              </c15:datalabelsRange>
            </c:ext>
            <c:ext xmlns:c16="http://schemas.microsoft.com/office/drawing/2014/chart" uri="{C3380CC4-5D6E-409C-BE32-E72D297353CC}">
              <c16:uniqueId val="{00000034-6F3F-4891-A588-66FCA4279EF0}"/>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bubble</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B$2:$B$53</c:f>
              <c:numCache>
                <c:formatCode>0%</c:formatCode>
                <c:ptCount val="52"/>
                <c:pt idx="0">
                  <c:v>0.83149283462587276</c:v>
                </c:pt>
                <c:pt idx="1">
                  <c:v>1.6315180743925193</c:v>
                </c:pt>
                <c:pt idx="2">
                  <c:v>2.4439356076015577</c:v>
                </c:pt>
                <c:pt idx="3">
                  <c:v>0.77292587642644184</c:v>
                </c:pt>
                <c:pt idx="4">
                  <c:v>0.74765866355299326</c:v>
                </c:pt>
                <c:pt idx="5">
                  <c:v>0.98081754103558449</c:v>
                </c:pt>
                <c:pt idx="6">
                  <c:v>0.70833026532165033</c:v>
                </c:pt>
                <c:pt idx="7">
                  <c:v>0.84407908755481287</c:v>
                </c:pt>
                <c:pt idx="8">
                  <c:v>#N/A</c:v>
                </c:pt>
                <c:pt idx="9">
                  <c:v>#N/A</c:v>
                </c:pt>
                <c:pt idx="10">
                  <c:v>#N/A</c:v>
                </c:pt>
                <c:pt idx="11">
                  <c:v>#N/A</c:v>
                </c:pt>
                <c:pt idx="12">
                  <c:v>#N/A</c:v>
                </c:pt>
                <c:pt idx="13">
                  <c:v>#N/A</c:v>
                </c:pt>
                <c:pt idx="14">
                  <c:v>#N/A</c:v>
                </c:pt>
                <c:pt idx="15">
                  <c:v>0.8725708042279976</c:v>
                </c:pt>
                <c:pt idx="16">
                  <c:v>0.4577243728236281</c:v>
                </c:pt>
                <c:pt idx="17">
                  <c:v>#N/A</c:v>
                </c:pt>
                <c:pt idx="18">
                  <c:v>0.15218560397131825</c:v>
                </c:pt>
                <c:pt idx="19">
                  <c:v>0.3636835009851706</c:v>
                </c:pt>
                <c:pt idx="20">
                  <c:v>0.23195425066291811</c:v>
                </c:pt>
                <c:pt idx="21">
                  <c:v>0.85483845584879525</c:v>
                </c:pt>
                <c:pt idx="22">
                  <c:v>0.3003459533206646</c:v>
                </c:pt>
                <c:pt idx="23">
                  <c:v>0.33698879958684352</c:v>
                </c:pt>
                <c:pt idx="24">
                  <c:v>#N/A</c:v>
                </c:pt>
                <c:pt idx="25">
                  <c:v>#N/A</c:v>
                </c:pt>
                <c:pt idx="26">
                  <c:v>0.47679126329628302</c:v>
                </c:pt>
                <c:pt idx="27">
                  <c:v>#N/A</c:v>
                </c:pt>
                <c:pt idx="28">
                  <c:v>#N/A</c:v>
                </c:pt>
                <c:pt idx="29">
                  <c:v>0.86927040954705725</c:v>
                </c:pt>
                <c:pt idx="30">
                  <c:v>7.1587946883100939E-2</c:v>
                </c:pt>
                <c:pt idx="31">
                  <c:v>#N/A</c:v>
                </c:pt>
                <c:pt idx="32">
                  <c:v>#N/A</c:v>
                </c:pt>
                <c:pt idx="33">
                  <c:v>0.91374133318774908</c:v>
                </c:pt>
                <c:pt idx="34">
                  <c:v>#N/A</c:v>
                </c:pt>
                <c:pt idx="35">
                  <c:v>#N/A</c:v>
                </c:pt>
                <c:pt idx="36">
                  <c:v>#N/A</c:v>
                </c:pt>
                <c:pt idx="37">
                  <c:v>#N/A</c:v>
                </c:pt>
                <c:pt idx="38">
                  <c:v>0.2039582880232598</c:v>
                </c:pt>
                <c:pt idx="39">
                  <c:v>#N/A</c:v>
                </c:pt>
                <c:pt idx="40">
                  <c:v>0.81834423418520841</c:v>
                </c:pt>
                <c:pt idx="41">
                  <c:v>0.24170478834974729</c:v>
                </c:pt>
                <c:pt idx="42">
                  <c:v>#N/A</c:v>
                </c:pt>
                <c:pt idx="43">
                  <c:v>#N/A</c:v>
                </c:pt>
                <c:pt idx="44">
                  <c:v>0.54761466764778022</c:v>
                </c:pt>
                <c:pt idx="45">
                  <c:v>2.0907701528318849</c:v>
                </c:pt>
                <c:pt idx="46">
                  <c:v>0.32255425519827291</c:v>
                </c:pt>
                <c:pt idx="47">
                  <c:v>0.60169518129022137</c:v>
                </c:pt>
                <c:pt idx="48">
                  <c:v>#N/A</c:v>
                </c:pt>
                <c:pt idx="49">
                  <c:v>#N/A</c:v>
                </c:pt>
                <c:pt idx="50">
                  <c:v>#N/A</c:v>
                </c:pt>
                <c:pt idx="51">
                  <c:v>0.47447486087432045</c:v>
                </c:pt>
              </c:numCache>
            </c:numRef>
          </c:val>
          <c:smooth val="0"/>
          <c:extLst>
            <c:ext xmlns:c16="http://schemas.microsoft.com/office/drawing/2014/chart" uri="{C3380CC4-5D6E-409C-BE32-E72D297353CC}">
              <c16:uniqueId val="{00000035-6F3F-4891-A588-66FCA4279EF0}"/>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N/A</c:v>
                </c:pt>
                <c:pt idx="1">
                  <c:v>#N/A</c:v>
                </c:pt>
                <c:pt idx="2">
                  <c:v>1</c:v>
                </c:pt>
                <c:pt idx="3">
                  <c:v>1</c:v>
                </c:pt>
                <c:pt idx="4">
                  <c:v>1</c:v>
                </c:pt>
                <c:pt idx="5">
                  <c:v>1</c:v>
                </c:pt>
                <c:pt idx="6">
                  <c:v>1</c:v>
                </c:pt>
                <c:pt idx="7">
                  <c:v>1</c:v>
                </c:pt>
                <c:pt idx="8">
                  <c:v>1</c:v>
                </c:pt>
                <c:pt idx="9">
                  <c:v>1</c:v>
                </c:pt>
                <c:pt idx="10">
                  <c:v>1</c:v>
                </c:pt>
                <c:pt idx="11">
                  <c:v>1</c:v>
                </c:pt>
                <c:pt idx="12">
                  <c:v>1</c:v>
                </c:pt>
                <c:pt idx="13">
                  <c:v>1</c:v>
                </c:pt>
                <c:pt idx="14">
                  <c:v>1</c:v>
                </c:pt>
                <c:pt idx="15">
                  <c:v>#N/A</c:v>
                </c:pt>
                <c:pt idx="16">
                  <c:v>#N/A</c:v>
                </c:pt>
                <c:pt idx="17">
                  <c:v>#N/A</c:v>
                </c:pt>
                <c:pt idx="18">
                  <c:v>#N/A</c:v>
                </c:pt>
                <c:pt idx="19">
                  <c:v>#N/A</c:v>
                </c:pt>
                <c:pt idx="20">
                  <c:v>#N/A</c:v>
                </c:pt>
                <c:pt idx="21">
                  <c:v>#N/A</c:v>
                </c:pt>
                <c:pt idx="22">
                  <c:v>1</c:v>
                </c:pt>
                <c:pt idx="23">
                  <c:v>1</c:v>
                </c:pt>
                <c:pt idx="24">
                  <c:v>1</c:v>
                </c:pt>
                <c:pt idx="25">
                  <c:v>#N/A</c:v>
                </c:pt>
                <c:pt idx="26">
                  <c:v>#N/A</c:v>
                </c:pt>
                <c:pt idx="27">
                  <c:v>#N/A</c:v>
                </c:pt>
                <c:pt idx="28">
                  <c:v>#N/A</c:v>
                </c:pt>
                <c:pt idx="29">
                  <c:v>#N/A</c:v>
                </c:pt>
                <c:pt idx="30">
                  <c:v>#N/A</c:v>
                </c:pt>
                <c:pt idx="31">
                  <c:v>#N/A</c:v>
                </c:pt>
                <c:pt idx="32">
                  <c:v>#N/A</c:v>
                </c:pt>
                <c:pt idx="33">
                  <c:v>#N/A</c:v>
                </c:pt>
                <c:pt idx="34">
                  <c:v>1</c:v>
                </c:pt>
                <c:pt idx="35">
                  <c:v>#N/A</c:v>
                </c:pt>
                <c:pt idx="36">
                  <c:v>#N/A</c:v>
                </c:pt>
                <c:pt idx="37">
                  <c:v>#N/A</c:v>
                </c:pt>
                <c:pt idx="38">
                  <c:v>#N/A</c:v>
                </c:pt>
                <c:pt idx="39">
                  <c:v>1</c:v>
                </c:pt>
                <c:pt idx="40">
                  <c:v>1</c:v>
                </c:pt>
                <c:pt idx="41">
                  <c:v>1</c:v>
                </c:pt>
                <c:pt idx="42">
                  <c:v>1</c:v>
                </c:pt>
                <c:pt idx="43">
                  <c:v>1</c:v>
                </c:pt>
                <c:pt idx="44">
                  <c:v>#N/A</c:v>
                </c:pt>
                <c:pt idx="45">
                  <c:v>#N/A</c:v>
                </c:pt>
                <c:pt idx="46">
                  <c:v>#N/A</c:v>
                </c:pt>
                <c:pt idx="47">
                  <c:v>#N/A</c:v>
                </c:pt>
                <c:pt idx="48">
                  <c:v>#N/A</c:v>
                </c:pt>
                <c:pt idx="49">
                  <c:v>#N/A</c:v>
                </c:pt>
                <c:pt idx="50">
                  <c:v>#N/A</c:v>
                </c:pt>
                <c:pt idx="51">
                  <c:v>#N/A</c:v>
                </c:pt>
              </c:numCache>
            </c:numRef>
          </c:val>
          <c:extLst>
            <c:ext xmlns:c16="http://schemas.microsoft.com/office/drawing/2014/chart" uri="{C3380CC4-5D6E-409C-BE32-E72D297353CC}">
              <c16:uniqueId val="{00000000-3553-47F7-9D8D-B7ECA91FF30F}"/>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N/A</c:v>
                </c:pt>
                <c:pt idx="1">
                  <c:v>#N/A</c:v>
                </c:pt>
                <c:pt idx="2">
                  <c:v>0.11367872175570121</c:v>
                </c:pt>
                <c:pt idx="3">
                  <c:v>0.12132533378739771</c:v>
                </c:pt>
                <c:pt idx="4">
                  <c:v>0.2148614964962611</c:v>
                </c:pt>
                <c:pt idx="5">
                  <c:v>0.17336822212530892</c:v>
                </c:pt>
                <c:pt idx="6">
                  <c:v>0.16371495760272436</c:v>
                </c:pt>
                <c:pt idx="7">
                  <c:v>0.359005905511811</c:v>
                </c:pt>
                <c:pt idx="8">
                  <c:v>0.35807339627396623</c:v>
                </c:pt>
                <c:pt idx="9">
                  <c:v>0.3262485253637436</c:v>
                </c:pt>
                <c:pt idx="10">
                  <c:v>0.18571348293560108</c:v>
                </c:pt>
                <c:pt idx="11">
                  <c:v>0.14821256608297467</c:v>
                </c:pt>
                <c:pt idx="12">
                  <c:v>0.11874984490930296</c:v>
                </c:pt>
                <c:pt idx="13">
                  <c:v>0.26535114062005177</c:v>
                </c:pt>
                <c:pt idx="14">
                  <c:v>#N/A</c:v>
                </c:pt>
                <c:pt idx="15">
                  <c:v>#N/A</c:v>
                </c:pt>
                <c:pt idx="16">
                  <c:v>#N/A</c:v>
                </c:pt>
                <c:pt idx="17">
                  <c:v>#N/A</c:v>
                </c:pt>
                <c:pt idx="18">
                  <c:v>#N/A</c:v>
                </c:pt>
                <c:pt idx="19">
                  <c:v>#N/A</c:v>
                </c:pt>
                <c:pt idx="20">
                  <c:v>#N/A</c:v>
                </c:pt>
                <c:pt idx="21">
                  <c:v>#N/A</c:v>
                </c:pt>
                <c:pt idx="22">
                  <c:v>0.40337942434339991</c:v>
                </c:pt>
                <c:pt idx="23">
                  <c:v>0.48057218130862606</c:v>
                </c:pt>
                <c:pt idx="24">
                  <c:v>8.1719681066375477E-2</c:v>
                </c:pt>
                <c:pt idx="25">
                  <c:v>#N/A</c:v>
                </c:pt>
                <c:pt idx="26">
                  <c:v>#N/A</c:v>
                </c:pt>
                <c:pt idx="27">
                  <c:v>#N/A</c:v>
                </c:pt>
                <c:pt idx="28">
                  <c:v>#N/A</c:v>
                </c:pt>
                <c:pt idx="29">
                  <c:v>#N/A</c:v>
                </c:pt>
                <c:pt idx="30">
                  <c:v>#N/A</c:v>
                </c:pt>
                <c:pt idx="31">
                  <c:v>#N/A</c:v>
                </c:pt>
                <c:pt idx="32">
                  <c:v>#N/A</c:v>
                </c:pt>
                <c:pt idx="33">
                  <c:v>#N/A</c:v>
                </c:pt>
                <c:pt idx="34">
                  <c:v>0.14244945048272512</c:v>
                </c:pt>
                <c:pt idx="35">
                  <c:v>#N/A</c:v>
                </c:pt>
                <c:pt idx="36">
                  <c:v>#N/A</c:v>
                </c:pt>
                <c:pt idx="37">
                  <c:v>#N/A</c:v>
                </c:pt>
                <c:pt idx="38">
                  <c:v>#N/A</c:v>
                </c:pt>
                <c:pt idx="39">
                  <c:v>#N/A</c:v>
                </c:pt>
                <c:pt idx="40">
                  <c:v>#N/A</c:v>
                </c:pt>
                <c:pt idx="41">
                  <c:v>0.47272657381187294</c:v>
                </c:pt>
                <c:pt idx="42">
                  <c:v>0.62001930605459321</c:v>
                </c:pt>
                <c:pt idx="43">
                  <c:v>0.40657862283907709</c:v>
                </c:pt>
                <c:pt idx="44">
                  <c:v>#N/A</c:v>
                </c:pt>
                <c:pt idx="45">
                  <c:v>#N/A</c:v>
                </c:pt>
                <c:pt idx="46">
                  <c:v>#N/A</c:v>
                </c:pt>
                <c:pt idx="47">
                  <c:v>#N/A</c:v>
                </c:pt>
                <c:pt idx="48">
                  <c:v>#N/A</c:v>
                </c:pt>
                <c:pt idx="49">
                  <c:v>#N/A</c:v>
                </c:pt>
                <c:pt idx="50">
                  <c:v>#N/A</c:v>
                </c:pt>
                <c:pt idx="51">
                  <c:v>#N/A</c:v>
                </c:pt>
              </c:numCache>
            </c:numRef>
          </c:val>
          <c:smooth val="0"/>
          <c:extLst>
            <c:ext xmlns:c16="http://schemas.microsoft.com/office/drawing/2014/chart" uri="{C3380CC4-5D6E-409C-BE32-E72D297353CC}">
              <c16:uniqueId val="{00000001-3553-47F7-9D8D-B7ECA91FF30F}"/>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chemeClr val="bg2"/>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chemeClr val="bg2"/>
              </a:solidFill>
              <a:ln>
                <a:noFill/>
              </a:ln>
              <a:effectLst/>
            </c:spPr>
            <c:extLst>
              <c:ext xmlns:c16="http://schemas.microsoft.com/office/drawing/2014/chart" uri="{C3380CC4-5D6E-409C-BE32-E72D297353CC}">
                <c16:uniqueId val="{00000005-26FB-4B52-8D72-D56D618E8EAF}"/>
              </c:ext>
            </c:extLst>
          </c:dPt>
          <c:dPt>
            <c:idx val="3"/>
            <c:invertIfNegative val="0"/>
            <c:bubble3D val="0"/>
            <c:extLst>
              <c:ext xmlns:c16="http://schemas.microsoft.com/office/drawing/2014/chart" uri="{C3380CC4-5D6E-409C-BE32-E72D297353CC}">
                <c16:uniqueId val="{00000007-26FB-4B52-8D72-D56D618E8EAF}"/>
              </c:ext>
            </c:extLst>
          </c:dPt>
          <c:dPt>
            <c:idx val="4"/>
            <c:invertIfNegative val="0"/>
            <c:bubble3D val="0"/>
            <c:extLst>
              <c:ext xmlns:c16="http://schemas.microsoft.com/office/drawing/2014/chart" uri="{C3380CC4-5D6E-409C-BE32-E72D297353CC}">
                <c16:uniqueId val="{00000009-26FB-4B52-8D72-D56D618E8EAF}"/>
              </c:ext>
            </c:extLst>
          </c:dPt>
          <c:dPt>
            <c:idx val="5"/>
            <c:invertIfNegative val="0"/>
            <c:bubble3D val="0"/>
            <c:extLst>
              <c:ext xmlns:c16="http://schemas.microsoft.com/office/drawing/2014/chart" uri="{C3380CC4-5D6E-409C-BE32-E72D297353CC}">
                <c16:uniqueId val="{0000000B-26FB-4B52-8D72-D56D618E8EAF}"/>
              </c:ext>
            </c:extLst>
          </c:dPt>
          <c:dPt>
            <c:idx val="6"/>
            <c:invertIfNegative val="0"/>
            <c:bubble3D val="0"/>
            <c:spPr>
              <a:solidFill>
                <a:schemeClr val="bg2"/>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64A9EA84-873D-4726-8636-980CC57605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BEF41AF9-ADEA-4CF5-BBF9-55C2214518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46532F32-E807-403A-9DAF-AA935066C4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4C672AD9-B248-45C9-8C07-1E87F58F36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78F66922-EC97-4F67-B2D9-E1F65E9597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C7B5C044-4CC0-4A53-89CA-F4A9482ED7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F2E36C50-2975-40C8-9DA2-C8A0146C5F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44924DD6-9E3C-4BEE-9437-50290CD6BA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F49F8199-B161-4E04-895D-25D3D28E4E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41A20B8C-E1C1-42DA-9385-89D43F3FC4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0ACC7141-12C1-4F6E-AF6F-44A955C708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22009617-68C1-45E2-8028-EBA306C690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26FB-4B52-8D72-D56D618E8EAF}"/>
                </c:ext>
              </c:extLst>
            </c:dLbl>
            <c:dLbl>
              <c:idx val="12"/>
              <c:tx>
                <c:rich>
                  <a:bodyPr/>
                  <a:lstStyle/>
                  <a:p>
                    <a:fld id="{6B13A546-D4BA-4308-9796-D25A5751A2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B2D-4A32-96D2-9C641BCDE5CC}"/>
                </c:ext>
              </c:extLst>
            </c:dLbl>
            <c:dLbl>
              <c:idx val="13"/>
              <c:tx>
                <c:rich>
                  <a:bodyPr/>
                  <a:lstStyle/>
                  <a:p>
                    <a:fld id="{85A4DAAB-E333-49B0-9797-50140CE9E0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26FB-4B52-8D72-D56D618E8EAF}"/>
                </c:ext>
              </c:extLst>
            </c:dLbl>
            <c:dLbl>
              <c:idx val="14"/>
              <c:tx>
                <c:rich>
                  <a:bodyPr/>
                  <a:lstStyle/>
                  <a:p>
                    <a:fld id="{B8388A5E-6031-4AA6-9E07-1D7EC43231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26FB-4B52-8D72-D56D618E8EAF}"/>
                </c:ext>
              </c:extLst>
            </c:dLbl>
            <c:dLbl>
              <c:idx val="15"/>
              <c:tx>
                <c:rich>
                  <a:bodyPr/>
                  <a:lstStyle/>
                  <a:p>
                    <a:fld id="{9DEBB64E-F28F-4C96-AACC-EC40BFAB1A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26FB-4B52-8D72-D56D618E8EAF}"/>
                </c:ext>
              </c:extLst>
            </c:dLbl>
            <c:dLbl>
              <c:idx val="16"/>
              <c:tx>
                <c:rich>
                  <a:bodyPr/>
                  <a:lstStyle/>
                  <a:p>
                    <a:fld id="{6D91CDBF-6499-40A5-A2DF-02E9112A3B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A6E-4C83-9A06-9C3309B2855E}"/>
                </c:ext>
              </c:extLst>
            </c:dLbl>
            <c:dLbl>
              <c:idx val="17"/>
              <c:tx>
                <c:rich>
                  <a:bodyPr/>
                  <a:lstStyle/>
                  <a:p>
                    <a:fld id="{93F2DE7A-D1F4-46B7-B04E-9BB12FB364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0A6E-4C83-9A06-9C3309B2855E}"/>
                </c:ext>
              </c:extLst>
            </c:dLbl>
            <c:dLbl>
              <c:idx val="18"/>
              <c:tx>
                <c:rich>
                  <a:bodyPr/>
                  <a:lstStyle/>
                  <a:p>
                    <a:fld id="{6687AFBE-C80C-4864-B8D0-44808B21F1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A6E-4C83-9A06-9C3309B2855E}"/>
                </c:ext>
              </c:extLst>
            </c:dLbl>
            <c:dLbl>
              <c:idx val="19"/>
              <c:tx>
                <c:rich>
                  <a:bodyPr/>
                  <a:lstStyle/>
                  <a:p>
                    <a:fld id="{8265EDC6-B5F1-4BC3-BBF5-752417CB96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A6E-4C83-9A06-9C3309B2855E}"/>
                </c:ext>
              </c:extLst>
            </c:dLbl>
            <c:dLbl>
              <c:idx val="20"/>
              <c:tx>
                <c:rich>
                  <a:bodyPr/>
                  <a:lstStyle/>
                  <a:p>
                    <a:fld id="{C09DF0E2-3E87-4405-8ED9-BD259C8B6C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C5AD-4BCF-9CB2-60EDA2D7DB42}"/>
                </c:ext>
              </c:extLst>
            </c:dLbl>
            <c:dLbl>
              <c:idx val="21"/>
              <c:tx>
                <c:rich>
                  <a:bodyPr/>
                  <a:lstStyle/>
                  <a:p>
                    <a:fld id="{FFF057DE-AB14-485E-BA62-59A01AC778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5AD-4BCF-9CB2-60EDA2D7DB42}"/>
                </c:ext>
              </c:extLst>
            </c:dLbl>
            <c:dLbl>
              <c:idx val="22"/>
              <c:tx>
                <c:rich>
                  <a:bodyPr/>
                  <a:lstStyle/>
                  <a:p>
                    <a:fld id="{1371A227-DEDA-4A33-A8B8-1CF4862A5D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5AD-4BCF-9CB2-60EDA2D7DB42}"/>
                </c:ext>
              </c:extLst>
            </c:dLbl>
            <c:dLbl>
              <c:idx val="23"/>
              <c:tx>
                <c:rich>
                  <a:bodyPr/>
                  <a:lstStyle/>
                  <a:p>
                    <a:fld id="{5FD37245-0829-4D11-B442-D7D3C3B004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5AD-4BCF-9CB2-60EDA2D7DB42}"/>
                </c:ext>
              </c:extLst>
            </c:dLbl>
            <c:dLbl>
              <c:idx val="24"/>
              <c:tx>
                <c:rich>
                  <a:bodyPr/>
                  <a:lstStyle/>
                  <a:p>
                    <a:fld id="{D62C0CF4-3CD5-4974-BB99-6F0C3F6DCC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A6E-4C83-9A06-9C3309B2855E}"/>
                </c:ext>
              </c:extLst>
            </c:dLbl>
            <c:dLbl>
              <c:idx val="25"/>
              <c:tx>
                <c:rich>
                  <a:bodyPr/>
                  <a:lstStyle/>
                  <a:p>
                    <a:fld id="{A495CCC3-E383-443A-AE3D-30863A8264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D12-44DE-B956-CABCB15EBC04}"/>
                </c:ext>
              </c:extLst>
            </c:dLbl>
            <c:dLbl>
              <c:idx val="26"/>
              <c:tx>
                <c:rich>
                  <a:bodyPr/>
                  <a:lstStyle/>
                  <a:p>
                    <a:fld id="{F50650CF-EAE8-467C-83EC-6DA30EA461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D12-44DE-B956-CABCB15EBC04}"/>
                </c:ext>
              </c:extLst>
            </c:dLbl>
            <c:dLbl>
              <c:idx val="27"/>
              <c:tx>
                <c:rich>
                  <a:bodyPr/>
                  <a:lstStyle/>
                  <a:p>
                    <a:fld id="{8B9EC757-F7B1-4A4B-A991-3419FA6F40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D12-44DE-B956-CABCB15EBC04}"/>
                </c:ext>
              </c:extLst>
            </c:dLbl>
            <c:dLbl>
              <c:idx val="28"/>
              <c:tx>
                <c:rich>
                  <a:bodyPr/>
                  <a:lstStyle/>
                  <a:p>
                    <a:fld id="{F1115A67-7C98-4102-867F-A68036FAF1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D12-44DE-B956-CABCB15EBC04}"/>
                </c:ext>
              </c:extLst>
            </c:dLbl>
            <c:dLbl>
              <c:idx val="29"/>
              <c:tx>
                <c:rich>
                  <a:bodyPr/>
                  <a:lstStyle/>
                  <a:p>
                    <a:fld id="{660DF20C-8829-42BC-AE3D-D94E36BE3F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47-486F-B734-6012CEA493B3}"/>
                </c:ext>
              </c:extLst>
            </c:dLbl>
            <c:dLbl>
              <c:idx val="30"/>
              <c:tx>
                <c:rich>
                  <a:bodyPr/>
                  <a:lstStyle/>
                  <a:p>
                    <a:fld id="{295B6970-5892-46B9-9EDE-522AED89C6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D12-44DE-B956-CABCB15EBC04}"/>
                </c:ext>
              </c:extLst>
            </c:dLbl>
            <c:dLbl>
              <c:idx val="31"/>
              <c:tx>
                <c:rich>
                  <a:bodyPr/>
                  <a:lstStyle/>
                  <a:p>
                    <a:fld id="{A49FC9CF-5AEA-46A3-8E62-3E50F7D276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D12-44DE-B956-CABCB15EBC04}"/>
                </c:ext>
              </c:extLst>
            </c:dLbl>
            <c:dLbl>
              <c:idx val="32"/>
              <c:tx>
                <c:rich>
                  <a:bodyPr/>
                  <a:lstStyle/>
                  <a:p>
                    <a:fld id="{5FFF60D8-58DB-4D14-94FD-832F0E98C1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D12-44DE-B956-CABCB15EBC04}"/>
                </c:ext>
              </c:extLst>
            </c:dLbl>
            <c:dLbl>
              <c:idx val="33"/>
              <c:tx>
                <c:rich>
                  <a:bodyPr/>
                  <a:lstStyle/>
                  <a:p>
                    <a:fld id="{0B359840-E39D-4DD7-B987-FBB636E6DE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D12-44DE-B956-CABCB15EBC04}"/>
                </c:ext>
              </c:extLst>
            </c:dLbl>
            <c:dLbl>
              <c:idx val="34"/>
              <c:tx>
                <c:rich>
                  <a:bodyPr/>
                  <a:lstStyle/>
                  <a:p>
                    <a:fld id="{41D244C4-628A-4883-8965-CD98B4D374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D12-44DE-B956-CABCB15EBC04}"/>
                </c:ext>
              </c:extLst>
            </c:dLbl>
            <c:dLbl>
              <c:idx val="35"/>
              <c:tx>
                <c:rich>
                  <a:bodyPr/>
                  <a:lstStyle/>
                  <a:p>
                    <a:fld id="{19BBF98B-2F32-454D-976A-B1BF539F90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D12-44DE-B956-CABCB15EBC04}"/>
                </c:ext>
              </c:extLst>
            </c:dLbl>
            <c:dLbl>
              <c:idx val="36"/>
              <c:tx>
                <c:rich>
                  <a:bodyPr/>
                  <a:lstStyle/>
                  <a:p>
                    <a:fld id="{DE36DA1B-32FB-4481-B5A2-8FA00B8B57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D12-44DE-B956-CABCB15EBC04}"/>
                </c:ext>
              </c:extLst>
            </c:dLbl>
            <c:dLbl>
              <c:idx val="37"/>
              <c:tx>
                <c:rich>
                  <a:bodyPr/>
                  <a:lstStyle/>
                  <a:p>
                    <a:fld id="{A5BC9DB6-6B2A-4A22-A693-DCBD1DDD95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D12-44DE-B956-CABCB15EBC04}"/>
                </c:ext>
              </c:extLst>
            </c:dLbl>
            <c:dLbl>
              <c:idx val="38"/>
              <c:tx>
                <c:rich>
                  <a:bodyPr/>
                  <a:lstStyle/>
                  <a:p>
                    <a:fld id="{D2F76956-FB03-494E-8B2B-D2D5D5938F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D12-44DE-B956-CABCB15EBC04}"/>
                </c:ext>
              </c:extLst>
            </c:dLbl>
            <c:dLbl>
              <c:idx val="39"/>
              <c:tx>
                <c:rich>
                  <a:bodyPr/>
                  <a:lstStyle/>
                  <a:p>
                    <a:fld id="{A1988836-F47F-4374-BAED-690F3F5A59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D12-44DE-B956-CABCB15EBC04}"/>
                </c:ext>
              </c:extLst>
            </c:dLbl>
            <c:dLbl>
              <c:idx val="40"/>
              <c:tx>
                <c:rich>
                  <a:bodyPr/>
                  <a:lstStyle/>
                  <a:p>
                    <a:fld id="{B352281E-C38B-4781-9D27-805C799DC9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D12-44DE-B956-CABCB15EBC04}"/>
                </c:ext>
              </c:extLst>
            </c:dLbl>
            <c:dLbl>
              <c:idx val="41"/>
              <c:tx>
                <c:rich>
                  <a:bodyPr/>
                  <a:lstStyle/>
                  <a:p>
                    <a:fld id="{4CE54B6F-2AEB-4EF9-9A27-1535FB43CB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D12-44DE-B956-CABCB15EBC04}"/>
                </c:ext>
              </c:extLst>
            </c:dLbl>
            <c:dLbl>
              <c:idx val="42"/>
              <c:tx>
                <c:rich>
                  <a:bodyPr/>
                  <a:lstStyle/>
                  <a:p>
                    <a:fld id="{3563E006-17B4-49E9-B1FE-2E039EA647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D12-44DE-B956-CABCB15EBC04}"/>
                </c:ext>
              </c:extLst>
            </c:dLbl>
            <c:dLbl>
              <c:idx val="43"/>
              <c:tx>
                <c:rich>
                  <a:bodyPr/>
                  <a:lstStyle/>
                  <a:p>
                    <a:fld id="{36192E44-4B5B-402D-9FC8-7660A5D83E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D12-44DE-B956-CABCB15EBC04}"/>
                </c:ext>
              </c:extLst>
            </c:dLbl>
            <c:dLbl>
              <c:idx val="44"/>
              <c:tx>
                <c:rich>
                  <a:bodyPr/>
                  <a:lstStyle/>
                  <a:p>
                    <a:fld id="{C64D1FB7-2F1C-4F6B-9B26-C1C3EF3771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D12-44DE-B956-CABCB15EBC04}"/>
                </c:ext>
              </c:extLst>
            </c:dLbl>
            <c:dLbl>
              <c:idx val="45"/>
              <c:tx>
                <c:rich>
                  <a:bodyPr/>
                  <a:lstStyle/>
                  <a:p>
                    <a:fld id="{5F18FD70-386B-45FE-8A39-05181A2465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D12-44DE-B956-CABCB15EBC04}"/>
                </c:ext>
              </c:extLst>
            </c:dLbl>
            <c:dLbl>
              <c:idx val="46"/>
              <c:tx>
                <c:rich>
                  <a:bodyPr/>
                  <a:lstStyle/>
                  <a:p>
                    <a:fld id="{0A9C2603-6601-4B29-A36F-C1EE851682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D12-44DE-B956-CABCB15EBC04}"/>
                </c:ext>
              </c:extLst>
            </c:dLbl>
            <c:dLbl>
              <c:idx val="47"/>
              <c:tx>
                <c:rich>
                  <a:bodyPr/>
                  <a:lstStyle/>
                  <a:p>
                    <a:fld id="{614DA8F6-097F-46FE-AE61-0BAB30B8E7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D12-44DE-B956-CABCB15EBC04}"/>
                </c:ext>
              </c:extLst>
            </c:dLbl>
            <c:dLbl>
              <c:idx val="48"/>
              <c:tx>
                <c:rich>
                  <a:bodyPr/>
                  <a:lstStyle/>
                  <a:p>
                    <a:fld id="{19AE9995-57A6-4F8C-9CD8-1DD41E9402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D12-44DE-B956-CABCB15EBC04}"/>
                </c:ext>
              </c:extLst>
            </c:dLbl>
            <c:dLbl>
              <c:idx val="49"/>
              <c:tx>
                <c:rich>
                  <a:bodyPr/>
                  <a:lstStyle/>
                  <a:p>
                    <a:fld id="{388E29AE-AF5F-44FF-B049-1ABE67A4FD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D12-44DE-B956-CABCB15EBC04}"/>
                </c:ext>
              </c:extLst>
            </c:dLbl>
            <c:dLbl>
              <c:idx val="50"/>
              <c:tx>
                <c:rich>
                  <a:bodyPr/>
                  <a:lstStyle/>
                  <a:p>
                    <a:fld id="{35A8C84E-75D2-4AF7-8AAC-BD832C615A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D12-44DE-B956-CABCB15EBC04}"/>
                </c:ext>
              </c:extLst>
            </c:dLbl>
            <c:dLbl>
              <c:idx val="51"/>
              <c:tx>
                <c:rich>
                  <a:bodyPr/>
                  <a:lstStyle/>
                  <a:p>
                    <a:fld id="{E27FD18D-69F9-4622-986C-F5ADE281A0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D12-44DE-B956-CABCB15EBC04}"/>
                </c:ext>
              </c:extLst>
            </c:dLbl>
            <c:dLbl>
              <c:idx val="52"/>
              <c:tx>
                <c:rich>
                  <a:bodyPr/>
                  <a:lstStyle/>
                  <a:p>
                    <a:fld id="{6775B248-0DB7-476F-80D0-445637CDD0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D12-44DE-B956-CABCB15EBC04}"/>
                </c:ext>
              </c:extLst>
            </c:dLbl>
            <c:dLbl>
              <c:idx val="53"/>
              <c:tx>
                <c:rich>
                  <a:bodyPr/>
                  <a:lstStyle/>
                  <a:p>
                    <a:fld id="{8D9EB110-301A-4FCE-95A7-8ECB802D0C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D12-44DE-B956-CABCB15EBC04}"/>
                </c:ext>
              </c:extLst>
            </c:dLbl>
            <c:dLbl>
              <c:idx val="54"/>
              <c:tx>
                <c:rich>
                  <a:bodyPr/>
                  <a:lstStyle/>
                  <a:p>
                    <a:fld id="{0903567A-1D96-4332-99AE-B8F26C6CE1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D12-44DE-B956-CABCB15EBC04}"/>
                </c:ext>
              </c:extLst>
            </c:dLbl>
            <c:dLbl>
              <c:idx val="55"/>
              <c:tx>
                <c:rich>
                  <a:bodyPr/>
                  <a:lstStyle/>
                  <a:p>
                    <a:fld id="{3E7106F5-7EA7-4FB0-B2EB-371564F6C1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D12-44DE-B956-CABCB15EBC04}"/>
                </c:ext>
              </c:extLst>
            </c:dLbl>
            <c:dLbl>
              <c:idx val="56"/>
              <c:tx>
                <c:rich>
                  <a:bodyPr/>
                  <a:lstStyle/>
                  <a:p>
                    <a:fld id="{3DAE3C48-222D-4357-A7A0-99FD1C99B7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8E3F-4D1B-A313-C02BEC0FDBD1}"/>
                </c:ext>
              </c:extLst>
            </c:dLbl>
            <c:dLbl>
              <c:idx val="57"/>
              <c:tx>
                <c:rich>
                  <a:bodyPr/>
                  <a:lstStyle/>
                  <a:p>
                    <a:fld id="{55DB879C-36B9-49FE-8EF9-F33D4C0F15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8E3F-4D1B-A313-C02BEC0FDBD1}"/>
                </c:ext>
              </c:extLst>
            </c:dLbl>
            <c:dLbl>
              <c:idx val="58"/>
              <c:tx>
                <c:rich>
                  <a:bodyPr/>
                  <a:lstStyle/>
                  <a:p>
                    <a:fld id="{092265AA-B651-441C-8DA0-16903BD33A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8E3F-4D1B-A313-C02BEC0FDBD1}"/>
                </c:ext>
              </c:extLst>
            </c:dLbl>
            <c:dLbl>
              <c:idx val="59"/>
              <c:tx>
                <c:rich>
                  <a:bodyPr/>
                  <a:lstStyle/>
                  <a:p>
                    <a:fld id="{A1875B47-47AB-4BDA-8AD6-719850785F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8E3F-4D1B-A313-C02BEC0FDBD1}"/>
                </c:ext>
              </c:extLst>
            </c:dLbl>
            <c:dLbl>
              <c:idx val="60"/>
              <c:tx>
                <c:rich>
                  <a:bodyPr/>
                  <a:lstStyle/>
                  <a:p>
                    <a:fld id="{3D6CC7E1-AA4F-48F7-93A8-FAF0957B8D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8E3F-4D1B-A313-C02BEC0FDBD1}"/>
                </c:ext>
              </c:extLst>
            </c:dLbl>
            <c:dLbl>
              <c:idx val="61"/>
              <c:tx>
                <c:rich>
                  <a:bodyPr/>
                  <a:lstStyle/>
                  <a:p>
                    <a:fld id="{A3C60FE6-9CC1-4A1A-A6E0-D0A3AFA694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8E3F-4D1B-A313-C02BEC0FDBD1}"/>
                </c:ext>
              </c:extLst>
            </c:dLbl>
            <c:dLbl>
              <c:idx val="62"/>
              <c:tx>
                <c:rich>
                  <a:bodyPr/>
                  <a:lstStyle/>
                  <a:p>
                    <a:fld id="{FFE667D3-E84E-4C97-9842-8BB4DF20E5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8E3F-4D1B-A313-C02BEC0FDBD1}"/>
                </c:ext>
              </c:extLst>
            </c:dLbl>
            <c:dLbl>
              <c:idx val="63"/>
              <c:tx>
                <c:rich>
                  <a:bodyPr/>
                  <a:lstStyle/>
                  <a:p>
                    <a:fld id="{C152DB3A-BD4B-4D2F-827A-1955BF0DD8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8E3F-4D1B-A313-C02BEC0FDBD1}"/>
                </c:ext>
              </c:extLst>
            </c:dLbl>
            <c:dLbl>
              <c:idx val="64"/>
              <c:tx>
                <c:rich>
                  <a:bodyPr/>
                  <a:lstStyle/>
                  <a:p>
                    <a:fld id="{BEF2FB9A-A607-43A3-BAD7-2C5D666B9F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8E3F-4D1B-A313-C02BEC0FDBD1}"/>
                </c:ext>
              </c:extLst>
            </c:dLbl>
            <c:dLbl>
              <c:idx val="65"/>
              <c:tx>
                <c:rich>
                  <a:bodyPr/>
                  <a:lstStyle/>
                  <a:p>
                    <a:fld id="{9413CE2A-CFF3-443D-B777-C411982F2E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8E3F-4D1B-A313-C02BEC0FDBD1}"/>
                </c:ext>
              </c:extLst>
            </c:dLbl>
            <c:dLbl>
              <c:idx val="66"/>
              <c:tx>
                <c:rich>
                  <a:bodyPr/>
                  <a:lstStyle/>
                  <a:p>
                    <a:fld id="{68213641-0445-4D49-8C59-16734F979D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8E3F-4D1B-A313-C02BEC0FDBD1}"/>
                </c:ext>
              </c:extLst>
            </c:dLbl>
            <c:dLbl>
              <c:idx val="67"/>
              <c:tx>
                <c:rich>
                  <a:bodyPr/>
                  <a:lstStyle/>
                  <a:p>
                    <a:fld id="{76200182-7C2A-47CB-B607-620F2E86F5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8E3F-4D1B-A313-C02BEC0FDBD1}"/>
                </c:ext>
              </c:extLst>
            </c:dLbl>
            <c:dLbl>
              <c:idx val="68"/>
              <c:tx>
                <c:rich>
                  <a:bodyPr/>
                  <a:lstStyle/>
                  <a:p>
                    <a:fld id="{6D92271F-C803-4DA6-B757-6F4D152110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8E3F-4D1B-A313-C02BEC0FDBD1}"/>
                </c:ext>
              </c:extLst>
            </c:dLbl>
            <c:dLbl>
              <c:idx val="69"/>
              <c:tx>
                <c:rich>
                  <a:bodyPr/>
                  <a:lstStyle/>
                  <a:p>
                    <a:fld id="{90B43D77-5365-4759-8CB9-A5C1F1E601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8E3F-4D1B-A313-C02BEC0FDBD1}"/>
                </c:ext>
              </c:extLst>
            </c:dLbl>
            <c:dLbl>
              <c:idx val="70"/>
              <c:tx>
                <c:rich>
                  <a:bodyPr/>
                  <a:lstStyle/>
                  <a:p>
                    <a:fld id="{815C9764-843B-419A-B704-7AD0AF6633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8E3F-4D1B-A313-C02BEC0FDBD1}"/>
                </c:ext>
              </c:extLst>
            </c:dLbl>
            <c:dLbl>
              <c:idx val="71"/>
              <c:tx>
                <c:rich>
                  <a:bodyPr/>
                  <a:lstStyle/>
                  <a:p>
                    <a:fld id="{C1B79F6A-6A67-4126-92B3-8E4DDA586B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8E3F-4D1B-A313-C02BEC0FDBD1}"/>
                </c:ext>
              </c:extLst>
            </c:dLbl>
            <c:dLbl>
              <c:idx val="72"/>
              <c:tx>
                <c:rich>
                  <a:bodyPr/>
                  <a:lstStyle/>
                  <a:p>
                    <a:fld id="{33448E9F-7458-488E-B40B-53B078F1FC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8E3F-4D1B-A313-C02BEC0FDBD1}"/>
                </c:ext>
              </c:extLst>
            </c:dLbl>
            <c:dLbl>
              <c:idx val="73"/>
              <c:tx>
                <c:rich>
                  <a:bodyPr/>
                  <a:lstStyle/>
                  <a:p>
                    <a:fld id="{DC6ACD17-6DA7-462B-85E0-B960F2F108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8E3F-4D1B-A313-C02BEC0FDBD1}"/>
                </c:ext>
              </c:extLst>
            </c:dLbl>
            <c:dLbl>
              <c:idx val="74"/>
              <c:tx>
                <c:rich>
                  <a:bodyPr/>
                  <a:lstStyle/>
                  <a:p>
                    <a:fld id="{A220F504-0080-4354-AFB7-A662E4D9B3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8E3F-4D1B-A313-C02BEC0FDBD1}"/>
                </c:ext>
              </c:extLst>
            </c:dLbl>
            <c:dLbl>
              <c:idx val="75"/>
              <c:tx>
                <c:rich>
                  <a:bodyPr/>
                  <a:lstStyle/>
                  <a:p>
                    <a:fld id="{B05F5A9C-9E3C-4912-B379-498BF27F5C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8E3F-4D1B-A313-C02BEC0FDBD1}"/>
                </c:ext>
              </c:extLst>
            </c:dLbl>
            <c:dLbl>
              <c:idx val="76"/>
              <c:tx>
                <c:rich>
                  <a:bodyPr/>
                  <a:lstStyle/>
                  <a:p>
                    <a:fld id="{C6F05B3D-8CB5-418D-AA9E-8350719108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8E3F-4D1B-A313-C02BEC0FDBD1}"/>
                </c:ext>
              </c:extLst>
            </c:dLbl>
            <c:dLbl>
              <c:idx val="77"/>
              <c:tx>
                <c:rich>
                  <a:bodyPr/>
                  <a:lstStyle/>
                  <a:p>
                    <a:fld id="{0C504E32-D94F-472C-A03F-AB0142AFE3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8E3F-4D1B-A313-C02BEC0FDBD1}"/>
                </c:ext>
              </c:extLst>
            </c:dLbl>
            <c:dLbl>
              <c:idx val="78"/>
              <c:tx>
                <c:rich>
                  <a:bodyPr/>
                  <a:lstStyle/>
                  <a:p>
                    <a:fld id="{92B60A22-F751-48A1-B645-D7A43EC3EC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8E3F-4D1B-A313-C02BEC0FDBD1}"/>
                </c:ext>
              </c:extLst>
            </c:dLbl>
            <c:dLbl>
              <c:idx val="79"/>
              <c:tx>
                <c:rich>
                  <a:bodyPr/>
                  <a:lstStyle/>
                  <a:p>
                    <a:fld id="{675DCD6F-6BDA-44D9-B457-213B26F7E7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8E3F-4D1B-A313-C02BEC0FDBD1}"/>
                </c:ext>
              </c:extLst>
            </c:dLbl>
            <c:dLbl>
              <c:idx val="80"/>
              <c:tx>
                <c:rich>
                  <a:bodyPr/>
                  <a:lstStyle/>
                  <a:p>
                    <a:fld id="{091536CD-826D-4A45-816F-94EF1B30B8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8E3F-4D1B-A313-C02BEC0FDBD1}"/>
                </c:ext>
              </c:extLst>
            </c:dLbl>
            <c:dLbl>
              <c:idx val="81"/>
              <c:tx>
                <c:rich>
                  <a:bodyPr/>
                  <a:lstStyle/>
                  <a:p>
                    <a:fld id="{8C669F26-46A1-4825-B8BD-50DC37B324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9-8E3F-4D1B-A313-C02BEC0FDBD1}"/>
                </c:ext>
              </c:extLst>
            </c:dLbl>
            <c:dLbl>
              <c:idx val="82"/>
              <c:tx>
                <c:rich>
                  <a:bodyPr/>
                  <a:lstStyle/>
                  <a:p>
                    <a:fld id="{BC85BC8B-84F3-484E-820A-7CB13D5831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A-8E3F-4D1B-A313-C02BEC0FDBD1}"/>
                </c:ext>
              </c:extLst>
            </c:dLbl>
            <c:dLbl>
              <c:idx val="83"/>
              <c:tx>
                <c:rich>
                  <a:bodyPr/>
                  <a:lstStyle/>
                  <a:p>
                    <a:fld id="{70C3A27B-3D11-4B27-8DD0-B08D9B80D6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B-8E3F-4D1B-A313-C02BEC0FDBD1}"/>
                </c:ext>
              </c:extLst>
            </c:dLbl>
            <c:dLbl>
              <c:idx val="84"/>
              <c:tx>
                <c:rich>
                  <a:bodyPr/>
                  <a:lstStyle/>
                  <a:p>
                    <a:fld id="{7DBC10AD-5601-4AD1-A2B6-AD81305AFE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C-8E3F-4D1B-A313-C02BEC0FDBD1}"/>
                </c:ext>
              </c:extLst>
            </c:dLbl>
            <c:dLbl>
              <c:idx val="85"/>
              <c:tx>
                <c:rich>
                  <a:bodyPr/>
                  <a:lstStyle/>
                  <a:p>
                    <a:fld id="{D157569D-4215-4847-A8F2-6E6DAC4E8C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D-8E3F-4D1B-A313-C02BEC0FDBD1}"/>
                </c:ext>
              </c:extLst>
            </c:dLbl>
            <c:dLbl>
              <c:idx val="86"/>
              <c:tx>
                <c:rich>
                  <a:bodyPr/>
                  <a:lstStyle/>
                  <a:p>
                    <a:fld id="{CB1D6D3A-9545-4D7A-9406-FDCD1A4C5B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E-8E3F-4D1B-A313-C02BEC0FDBD1}"/>
                </c:ext>
              </c:extLst>
            </c:dLbl>
            <c:dLbl>
              <c:idx val="87"/>
              <c:tx>
                <c:rich>
                  <a:bodyPr/>
                  <a:lstStyle/>
                  <a:p>
                    <a:fld id="{E0A00B58-A3A2-4482-B3F2-88D3F96E8F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F-8E3F-4D1B-A313-C02BEC0FDBD1}"/>
                </c:ext>
              </c:extLst>
            </c:dLbl>
            <c:dLbl>
              <c:idx val="88"/>
              <c:tx>
                <c:rich>
                  <a:bodyPr/>
                  <a:lstStyle/>
                  <a:p>
                    <a:fld id="{BB32268A-A5F8-4AF1-8874-835622D8D2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0-8E3F-4D1B-A313-C02BEC0FDBD1}"/>
                </c:ext>
              </c:extLst>
            </c:dLbl>
            <c:dLbl>
              <c:idx val="89"/>
              <c:tx>
                <c:rich>
                  <a:bodyPr/>
                  <a:lstStyle/>
                  <a:p>
                    <a:fld id="{8FBC4EB4-4D89-4431-8F6D-6D29A5D0E7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1-8E3F-4D1B-A313-C02BEC0FDBD1}"/>
                </c:ext>
              </c:extLst>
            </c:dLbl>
            <c:dLbl>
              <c:idx val="90"/>
              <c:tx>
                <c:rich>
                  <a:bodyPr/>
                  <a:lstStyle/>
                  <a:p>
                    <a:fld id="{3AC5400A-DC7C-4A6B-935C-C73E5F7CEE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2-8E3F-4D1B-A313-C02BEC0FDBD1}"/>
                </c:ext>
              </c:extLst>
            </c:dLbl>
            <c:dLbl>
              <c:idx val="91"/>
              <c:tx>
                <c:rich>
                  <a:bodyPr/>
                  <a:lstStyle/>
                  <a:p>
                    <a:fld id="{F227B42B-79B5-4F3A-B263-D6B3189E27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3-8E3F-4D1B-A313-C02BEC0FDBD1}"/>
                </c:ext>
              </c:extLst>
            </c:dLbl>
            <c:dLbl>
              <c:idx val="92"/>
              <c:tx>
                <c:rich>
                  <a:bodyPr/>
                  <a:lstStyle/>
                  <a:p>
                    <a:fld id="{38C86141-15E8-4F95-BA30-DF12666791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4-8E3F-4D1B-A313-C02BEC0FDBD1}"/>
                </c:ext>
              </c:extLst>
            </c:dLbl>
            <c:dLbl>
              <c:idx val="93"/>
              <c:tx>
                <c:rich>
                  <a:bodyPr/>
                  <a:lstStyle/>
                  <a:p>
                    <a:fld id="{FFE08253-4E25-4DD8-92CB-FBC931807D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5-8E3F-4D1B-A313-C02BEC0FDBD1}"/>
                </c:ext>
              </c:extLst>
            </c:dLbl>
            <c:dLbl>
              <c:idx val="94"/>
              <c:tx>
                <c:rich>
                  <a:bodyPr/>
                  <a:lstStyle/>
                  <a:p>
                    <a:fld id="{34C4B9DC-DCF4-41A3-B799-88BF4E21D8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6-8E3F-4D1B-A313-C02BEC0FDBD1}"/>
                </c:ext>
              </c:extLst>
            </c:dLbl>
            <c:dLbl>
              <c:idx val="95"/>
              <c:tx>
                <c:rich>
                  <a:bodyPr/>
                  <a:lstStyle/>
                  <a:p>
                    <a:fld id="{52173102-3589-45AB-A4DB-94844DCF37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7-8E3F-4D1B-A313-C02BEC0FDBD1}"/>
                </c:ext>
              </c:extLst>
            </c:dLbl>
            <c:dLbl>
              <c:idx val="96"/>
              <c:tx>
                <c:rich>
                  <a:bodyPr/>
                  <a:lstStyle/>
                  <a:p>
                    <a:fld id="{B7B57F79-F5D9-42E1-9578-2A83E0145D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8-8E3F-4D1B-A313-C02BEC0FDBD1}"/>
                </c:ext>
              </c:extLst>
            </c:dLbl>
            <c:dLbl>
              <c:idx val="97"/>
              <c:tx>
                <c:rich>
                  <a:bodyPr/>
                  <a:lstStyle/>
                  <a:p>
                    <a:fld id="{9004D8E3-8DF8-4410-8F4C-580CF9E196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9-8E3F-4D1B-A313-C02BEC0FDBD1}"/>
                </c:ext>
              </c:extLst>
            </c:dLbl>
            <c:dLbl>
              <c:idx val="98"/>
              <c:tx>
                <c:rich>
                  <a:bodyPr/>
                  <a:lstStyle/>
                  <a:p>
                    <a:fld id="{CC818560-96F2-41B0-A055-A422865D52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A-8E3F-4D1B-A313-C02BEC0FDBD1}"/>
                </c:ext>
              </c:extLst>
            </c:dLbl>
            <c:dLbl>
              <c:idx val="99"/>
              <c:tx>
                <c:rich>
                  <a:bodyPr/>
                  <a:lstStyle/>
                  <a:p>
                    <a:fld id="{C4032B39-8172-42D9-A0ED-C59B565CC9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B-8E3F-4D1B-A313-C02BEC0FDBD1}"/>
                </c:ext>
              </c:extLst>
            </c:dLbl>
            <c:dLbl>
              <c:idx val="100"/>
              <c:tx>
                <c:rich>
                  <a:bodyPr/>
                  <a:lstStyle/>
                  <a:p>
                    <a:fld id="{D934F4EF-D594-4E33-A7DD-12283C5ED8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C-8E3F-4D1B-A313-C02BEC0FDBD1}"/>
                </c:ext>
              </c:extLst>
            </c:dLbl>
            <c:dLbl>
              <c:idx val="101"/>
              <c:tx>
                <c:rich>
                  <a:bodyPr/>
                  <a:lstStyle/>
                  <a:p>
                    <a:fld id="{F649B5B0-D931-4131-82C3-413AEC44DE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D-8E3F-4D1B-A313-C02BEC0FDBD1}"/>
                </c:ext>
              </c:extLst>
            </c:dLbl>
            <c:dLbl>
              <c:idx val="102"/>
              <c:tx>
                <c:rich>
                  <a:bodyPr/>
                  <a:lstStyle/>
                  <a:p>
                    <a:fld id="{29795513-3090-4E2E-B895-E5E7FF16B2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E-8E3F-4D1B-A313-C02BEC0FDBD1}"/>
                </c:ext>
              </c:extLst>
            </c:dLbl>
            <c:dLbl>
              <c:idx val="103"/>
              <c:tx>
                <c:rich>
                  <a:bodyPr/>
                  <a:lstStyle/>
                  <a:p>
                    <a:fld id="{FB67EA80-2F34-483C-8F14-A5EAB9D6D8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F-8E3F-4D1B-A313-C02BEC0FDBD1}"/>
                </c:ext>
              </c:extLst>
            </c:dLbl>
            <c:dLbl>
              <c:idx val="104"/>
              <c:tx>
                <c:rich>
                  <a:bodyPr/>
                  <a:lstStyle/>
                  <a:p>
                    <a:fld id="{063A8032-718D-4CE3-8593-93470BFF83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0-8E3F-4D1B-A313-C02BEC0FDBD1}"/>
                </c:ext>
              </c:extLst>
            </c:dLbl>
            <c:dLbl>
              <c:idx val="105"/>
              <c:tx>
                <c:rich>
                  <a:bodyPr/>
                  <a:lstStyle/>
                  <a:p>
                    <a:fld id="{4626343E-7E91-474B-A681-56F9CD349B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1-8E3F-4D1B-A313-C02BEC0FDBD1}"/>
                </c:ext>
              </c:extLst>
            </c:dLbl>
            <c:dLbl>
              <c:idx val="106"/>
              <c:tx>
                <c:rich>
                  <a:bodyPr/>
                  <a:lstStyle/>
                  <a:p>
                    <a:fld id="{6046EF8F-8589-4D7E-8A20-C27A0FE74E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2-8E3F-4D1B-A313-C02BEC0FDBD1}"/>
                </c:ext>
              </c:extLst>
            </c:dLbl>
            <c:dLbl>
              <c:idx val="107"/>
              <c:tx>
                <c:rich>
                  <a:bodyPr/>
                  <a:lstStyle/>
                  <a:p>
                    <a:fld id="{97811064-6DEF-4307-8BDA-3EECF963C2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3-8E3F-4D1B-A313-C02BEC0FDBD1}"/>
                </c:ext>
              </c:extLst>
            </c:dLbl>
            <c:dLbl>
              <c:idx val="108"/>
              <c:tx>
                <c:rich>
                  <a:bodyPr/>
                  <a:lstStyle/>
                  <a:p>
                    <a:fld id="{20081966-425A-4DF3-9D3A-3C24C0B485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4-8E3F-4D1B-A313-C02BEC0FDBD1}"/>
                </c:ext>
              </c:extLst>
            </c:dLbl>
            <c:dLbl>
              <c:idx val="109"/>
              <c:tx>
                <c:rich>
                  <a:bodyPr/>
                  <a:lstStyle/>
                  <a:p>
                    <a:fld id="{CA36A051-749B-485F-BC8F-4053B71B45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5-8E3F-4D1B-A313-C02BEC0FDBD1}"/>
                </c:ext>
              </c:extLst>
            </c:dLbl>
            <c:dLbl>
              <c:idx val="110"/>
              <c:tx>
                <c:rich>
                  <a:bodyPr/>
                  <a:lstStyle/>
                  <a:p>
                    <a:fld id="{0959A530-BA1A-4707-9A70-61B7C25E06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6-8E3F-4D1B-A313-C02BEC0FDBD1}"/>
                </c:ext>
              </c:extLst>
            </c:dLbl>
            <c:dLbl>
              <c:idx val="111"/>
              <c:tx>
                <c:rich>
                  <a:bodyPr/>
                  <a:lstStyle/>
                  <a:p>
                    <a:fld id="{CECB469D-7D8F-43F9-8137-9E9A82C27C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7-8E3F-4D1B-A313-C02BEC0FDBD1}"/>
                </c:ext>
              </c:extLst>
            </c:dLbl>
            <c:dLbl>
              <c:idx val="112"/>
              <c:tx>
                <c:rich>
                  <a:bodyPr/>
                  <a:lstStyle/>
                  <a:p>
                    <a:fld id="{16075A95-9CD0-4EF5-9C19-58DD545329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8-8E3F-4D1B-A313-C02BEC0FDBD1}"/>
                </c:ext>
              </c:extLst>
            </c:dLbl>
            <c:dLbl>
              <c:idx val="113"/>
              <c:tx>
                <c:rich>
                  <a:bodyPr/>
                  <a:lstStyle/>
                  <a:p>
                    <a:fld id="{697306C1-CC0D-401B-A3F3-CAC47282FD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9-8E3F-4D1B-A313-C02BEC0FDBD1}"/>
                </c:ext>
              </c:extLst>
            </c:dLbl>
            <c:dLbl>
              <c:idx val="114"/>
              <c:tx>
                <c:rich>
                  <a:bodyPr/>
                  <a:lstStyle/>
                  <a:p>
                    <a:fld id="{67EA1773-B29D-44E0-9821-6EB2F682EE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A-8E3F-4D1B-A313-C02BEC0FDBD1}"/>
                </c:ext>
              </c:extLst>
            </c:dLbl>
            <c:dLbl>
              <c:idx val="115"/>
              <c:tx>
                <c:rich>
                  <a:bodyPr/>
                  <a:lstStyle/>
                  <a:p>
                    <a:fld id="{21F06591-FACB-4625-BC51-297D046AA3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D$2:$D$117</c:f>
              <c:numCache>
                <c:formatCode>General</c:formatCode>
                <c:ptCount val="116"/>
                <c:pt idx="0">
                  <c:v>1</c:v>
                </c:pt>
                <c:pt idx="1">
                  <c:v>1</c:v>
                </c:pt>
                <c:pt idx="2">
                  <c:v>1</c:v>
                </c:pt>
                <c:pt idx="3">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15" formatCode="0">
                  <c:v>1</c:v>
                </c:pt>
                <c:pt idx="16" formatCode="0">
                  <c:v>1</c:v>
                </c:pt>
                <c:pt idx="17" formatCode="0">
                  <c:v>2</c:v>
                </c:pt>
                <c:pt idx="18" formatCode="0">
                  <c:v>1</c:v>
                </c:pt>
                <c:pt idx="19" formatCode="0">
                  <c:v>2</c:v>
                </c:pt>
                <c:pt idx="20" formatCode="0">
                  <c:v>2</c:v>
                </c:pt>
                <c:pt idx="21" formatCode="0">
                  <c:v>2</c:v>
                </c:pt>
                <c:pt idx="22" formatCode="0">
                  <c:v>2</c:v>
                </c:pt>
                <c:pt idx="23" formatCode="0">
                  <c:v>2</c:v>
                </c:pt>
                <c:pt idx="24" formatCode="0">
                  <c:v>2</c:v>
                </c:pt>
                <c:pt idx="25" formatCode="0">
                  <c:v>2</c:v>
                </c:pt>
                <c:pt idx="26" formatCode="0">
                  <c:v>2</c:v>
                </c:pt>
                <c:pt idx="27">
                  <c:v>2</c:v>
                </c:pt>
                <c:pt idx="28">
                  <c:v>2</c:v>
                </c:pt>
                <c:pt idx="29">
                  <c:v>2</c:v>
                </c:pt>
                <c:pt idx="30">
                  <c:v>2</c:v>
                </c:pt>
                <c:pt idx="31">
                  <c:v>3</c:v>
                </c:pt>
                <c:pt idx="32">
                  <c:v>3</c:v>
                </c:pt>
                <c:pt idx="33">
                  <c:v>3</c:v>
                </c:pt>
                <c:pt idx="34">
                  <c:v>3</c:v>
                </c:pt>
                <c:pt idx="35">
                  <c:v>3</c:v>
                </c:pt>
                <c:pt idx="36">
                  <c:v>3</c:v>
                </c:pt>
                <c:pt idx="37">
                  <c:v>3</c:v>
                </c:pt>
                <c:pt idx="38">
                  <c:v>3</c:v>
                </c:pt>
                <c:pt idx="39">
                  <c:v>3</c:v>
                </c:pt>
                <c:pt idx="40">
                  <c:v>3</c:v>
                </c:pt>
                <c:pt idx="41">
                  <c:v>3</c:v>
                </c:pt>
                <c:pt idx="42">
                  <c:v>3</c:v>
                </c:pt>
                <c:pt idx="43">
                  <c:v>3</c:v>
                </c:pt>
                <c:pt idx="44">
                  <c:v>4</c:v>
                </c:pt>
                <c:pt idx="45">
                  <c:v>4</c:v>
                </c:pt>
                <c:pt idx="46">
                  <c:v>4</c:v>
                </c:pt>
                <c:pt idx="47">
                  <c:v>4</c:v>
                </c:pt>
                <c:pt idx="48">
                  <c:v>4</c:v>
                </c:pt>
                <c:pt idx="49">
                  <c:v>4</c:v>
                </c:pt>
                <c:pt idx="50">
                  <c:v>4</c:v>
                </c:pt>
                <c:pt idx="51">
                  <c:v>4</c:v>
                </c:pt>
                <c:pt idx="52">
                  <c:v>4</c:v>
                </c:pt>
                <c:pt idx="53">
                  <c:v>4</c:v>
                </c:pt>
                <c:pt idx="54">
                  <c:v>4</c:v>
                </c:pt>
                <c:pt idx="55">
                  <c:v>4</c:v>
                </c:pt>
                <c:pt idx="56">
                  <c:v>4</c:v>
                </c:pt>
                <c:pt idx="57">
                  <c:v>4</c:v>
                </c:pt>
                <c:pt idx="58">
                  <c:v>4</c:v>
                </c:pt>
                <c:pt idx="59">
                  <c:v>4</c:v>
                </c:pt>
                <c:pt idx="60">
                  <c:v>4</c:v>
                </c:pt>
                <c:pt idx="61">
                  <c:v>4</c:v>
                </c:pt>
                <c:pt idx="62">
                  <c:v>4</c:v>
                </c:pt>
                <c:pt idx="63">
                  <c:v>4</c:v>
                </c:pt>
                <c:pt idx="64">
                  <c:v>4</c:v>
                </c:pt>
                <c:pt idx="65">
                  <c:v>4</c:v>
                </c:pt>
                <c:pt idx="66">
                  <c:v>4</c:v>
                </c:pt>
                <c:pt idx="67">
                  <c:v>4</c:v>
                </c:pt>
                <c:pt idx="68">
                  <c:v>5</c:v>
                </c:pt>
                <c:pt idx="69">
                  <c:v>5</c:v>
                </c:pt>
                <c:pt idx="70">
                  <c:v>5</c:v>
                </c:pt>
                <c:pt idx="71">
                  <c:v>5</c:v>
                </c:pt>
                <c:pt idx="72">
                  <c:v>5</c:v>
                </c:pt>
                <c:pt idx="73">
                  <c:v>5</c:v>
                </c:pt>
                <c:pt idx="74">
                  <c:v>5</c:v>
                </c:pt>
                <c:pt idx="75">
                  <c:v>5</c:v>
                </c:pt>
                <c:pt idx="76">
                  <c:v>5</c:v>
                </c:pt>
                <c:pt idx="77">
                  <c:v>5</c:v>
                </c:pt>
                <c:pt idx="78">
                  <c:v>5</c:v>
                </c:pt>
                <c:pt idx="79">
                  <c:v>5</c:v>
                </c:pt>
                <c:pt idx="80">
                  <c:v>6</c:v>
                </c:pt>
                <c:pt idx="81">
                  <c:v>6</c:v>
                </c:pt>
                <c:pt idx="82">
                  <c:v>6</c:v>
                </c:pt>
                <c:pt idx="83">
                  <c:v>6</c:v>
                </c:pt>
                <c:pt idx="84">
                  <c:v>6</c:v>
                </c:pt>
                <c:pt idx="85">
                  <c:v>6</c:v>
                </c:pt>
                <c:pt idx="86">
                  <c:v>6</c:v>
                </c:pt>
                <c:pt idx="87">
                  <c:v>6</c:v>
                </c:pt>
                <c:pt idx="88">
                  <c:v>6</c:v>
                </c:pt>
                <c:pt idx="89">
                  <c:v>6</c:v>
                </c:pt>
                <c:pt idx="90">
                  <c:v>6</c:v>
                </c:pt>
                <c:pt idx="91">
                  <c:v>6</c:v>
                </c:pt>
                <c:pt idx="92">
                  <c:v>6</c:v>
                </c:pt>
                <c:pt idx="93">
                  <c:v>7</c:v>
                </c:pt>
                <c:pt idx="94">
                  <c:v>7</c:v>
                </c:pt>
                <c:pt idx="95">
                  <c:v>7</c:v>
                </c:pt>
                <c:pt idx="96">
                  <c:v>7</c:v>
                </c:pt>
                <c:pt idx="97">
                  <c:v>7</c:v>
                </c:pt>
                <c:pt idx="98">
                  <c:v>7</c:v>
                </c:pt>
                <c:pt idx="99">
                  <c:v>7</c:v>
                </c:pt>
                <c:pt idx="100">
                  <c:v>7</c:v>
                </c:pt>
                <c:pt idx="101">
                  <c:v>7</c:v>
                </c:pt>
                <c:pt idx="102">
                  <c:v>7</c:v>
                </c:pt>
                <c:pt idx="103">
                  <c:v>7</c:v>
                </c:pt>
                <c:pt idx="104">
                  <c:v>7</c:v>
                </c:pt>
                <c:pt idx="105">
                  <c:v>8</c:v>
                </c:pt>
                <c:pt idx="106">
                  <c:v>8</c:v>
                </c:pt>
                <c:pt idx="107">
                  <c:v>8</c:v>
                </c:pt>
                <c:pt idx="108">
                  <c:v>8</c:v>
                </c:pt>
                <c:pt idx="109">
                  <c:v>8</c:v>
                </c:pt>
                <c:pt idx="110">
                  <c:v>8</c:v>
                </c:pt>
                <c:pt idx="111">
                  <c:v>8</c:v>
                </c:pt>
                <c:pt idx="112">
                  <c:v>8</c:v>
                </c:pt>
                <c:pt idx="113">
                  <c:v>8</c:v>
                </c:pt>
                <c:pt idx="114">
                  <c:v>8</c:v>
                </c:pt>
                <c:pt idx="115">
                  <c:v>8</c:v>
                </c:pt>
              </c:numCache>
            </c:numRef>
          </c:xVal>
          <c:yVal>
            <c:numRef>
              <c:f>Sheet1!$B$2:$B$117</c:f>
              <c:numCache>
                <c:formatCode>0%;\-0%;0%</c:formatCode>
                <c:ptCount val="116"/>
                <c:pt idx="0">
                  <c:v>0.33537119853666614</c:v>
                </c:pt>
                <c:pt idx="1">
                  <c:v>1.3110575620733895</c:v>
                </c:pt>
                <c:pt idx="2">
                  <c:v>0.12281129115912857</c:v>
                </c:pt>
                <c:pt idx="3">
                  <c:v>0.52740423038450002</c:v>
                </c:pt>
                <c:pt idx="4">
                  <c:v>0.23394614817291179</c:v>
                </c:pt>
                <c:pt idx="5">
                  <c:v>0.40424723346828612</c:v>
                </c:pt>
                <c:pt idx="6">
                  <c:v>1.0381094546405629</c:v>
                </c:pt>
                <c:pt idx="7">
                  <c:v>0.39464140468177511</c:v>
                </c:pt>
                <c:pt idx="8">
                  <c:v>1.0804710500490677</c:v>
                </c:pt>
                <c:pt idx="9">
                  <c:v>0.29756844074137051</c:v>
                </c:pt>
                <c:pt idx="10">
                  <c:v>0.34245897269923464</c:v>
                </c:pt>
                <c:pt idx="11">
                  <c:v>0.64309733708988459</c:v>
                </c:pt>
                <c:pt idx="12">
                  <c:v>7.6182838813151563E-3</c:v>
                </c:pt>
                <c:pt idx="13">
                  <c:v>7.2727272727272724E-2</c:v>
                </c:pt>
                <c:pt idx="14">
                  <c:v>9.4564818215203822E-2</c:v>
                </c:pt>
                <c:pt idx="15">
                  <c:v>0.97732228521587439</c:v>
                </c:pt>
                <c:pt idx="16">
                  <c:v>0.12916246215943492</c:v>
                </c:pt>
                <c:pt idx="17">
                  <c:v>0</c:v>
                </c:pt>
                <c:pt idx="18">
                  <c:v>0</c:v>
                </c:pt>
                <c:pt idx="19">
                  <c:v>0.67651164854893464</c:v>
                </c:pt>
                <c:pt idx="20">
                  <c:v>1.189595592135231</c:v>
                </c:pt>
                <c:pt idx="21">
                  <c:v>0.17901899226560691</c:v>
                </c:pt>
                <c:pt idx="22">
                  <c:v>1.1122736936699982</c:v>
                </c:pt>
                <c:pt idx="23">
                  <c:v>0.85910295216250121</c:v>
                </c:pt>
                <c:pt idx="24">
                  <c:v>0.98060814099444116</c:v>
                </c:pt>
                <c:pt idx="25">
                  <c:v>0.54450632951838152</c:v>
                </c:pt>
                <c:pt idx="26">
                  <c:v>0.56422668334309645</c:v>
                </c:pt>
                <c:pt idx="27">
                  <c:v>0.30859076520030565</c:v>
                </c:pt>
                <c:pt idx="28">
                  <c:v>-5.088408644400786E-2</c:v>
                </c:pt>
                <c:pt idx="29">
                  <c:v>0.48655046266408436</c:v>
                </c:pt>
                <c:pt idx="30">
                  <c:v>5.8252427184466021E-2</c:v>
                </c:pt>
                <c:pt idx="31">
                  <c:v>0.57528207397007924</c:v>
                </c:pt>
                <c:pt idx="32">
                  <c:v>0</c:v>
                </c:pt>
                <c:pt idx="33">
                  <c:v>0.34969330141134647</c:v>
                </c:pt>
                <c:pt idx="34">
                  <c:v>9.3618913842698215E-2</c:v>
                </c:pt>
                <c:pt idx="35">
                  <c:v>0.39086369781125707</c:v>
                </c:pt>
                <c:pt idx="36">
                  <c:v>0.53102946813067886</c:v>
                </c:pt>
                <c:pt idx="37">
                  <c:v>0.30671829359418518</c:v>
                </c:pt>
                <c:pt idx="38">
                  <c:v>4.7373658397896083E-2</c:v>
                </c:pt>
                <c:pt idx="39">
                  <c:v>9.8011706773204491E-2</c:v>
                </c:pt>
                <c:pt idx="40">
                  <c:v>5.9622372365136428E-2</c:v>
                </c:pt>
                <c:pt idx="41">
                  <c:v>0.3325076129317282</c:v>
                </c:pt>
                <c:pt idx="42">
                  <c:v>1.6811941832822908E-2</c:v>
                </c:pt>
                <c:pt idx="43">
                  <c:v>0.13383247543284979</c:v>
                </c:pt>
                <c:pt idx="44">
                  <c:v>0.18520227334689512</c:v>
                </c:pt>
                <c:pt idx="45">
                  <c:v>0.15534287581423784</c:v>
                </c:pt>
                <c:pt idx="46">
                  <c:v>0.27216813979063992</c:v>
                </c:pt>
                <c:pt idx="47">
                  <c:v>0.14428544647878522</c:v>
                </c:pt>
                <c:pt idx="48">
                  <c:v>8.9574245868403263E-2</c:v>
                </c:pt>
                <c:pt idx="49">
                  <c:v>0.29961779961779961</c:v>
                </c:pt>
                <c:pt idx="50">
                  <c:v>0.32942695401728078</c:v>
                </c:pt>
                <c:pt idx="51">
                  <c:v>0.79519295870006768</c:v>
                </c:pt>
                <c:pt idx="52">
                  <c:v>5.1974626560261916E-2</c:v>
                </c:pt>
                <c:pt idx="53">
                  <c:v>-2.5057825751734774E-2</c:v>
                </c:pt>
                <c:pt idx="54">
                  <c:v>-0.28899835796387519</c:v>
                </c:pt>
                <c:pt idx="55">
                  <c:v>0</c:v>
                </c:pt>
                <c:pt idx="56" formatCode="0.00%">
                  <c:v>0.18520227334689512</c:v>
                </c:pt>
                <c:pt idx="57" formatCode="0.00%">
                  <c:v>0.15534287581423784</c:v>
                </c:pt>
                <c:pt idx="58" formatCode="0.00%">
                  <c:v>0.27216813979063992</c:v>
                </c:pt>
                <c:pt idx="59" formatCode="0.00%">
                  <c:v>0.14428544647878522</c:v>
                </c:pt>
                <c:pt idx="60" formatCode="0.00%">
                  <c:v>8.9574245868403263E-2</c:v>
                </c:pt>
                <c:pt idx="61" formatCode="0.00%">
                  <c:v>0.29961779961779961</c:v>
                </c:pt>
                <c:pt idx="62" formatCode="0.00%">
                  <c:v>0.32942695401728078</c:v>
                </c:pt>
                <c:pt idx="63" formatCode="0.00%">
                  <c:v>0.79519295870006768</c:v>
                </c:pt>
                <c:pt idx="64" formatCode="0.00%">
                  <c:v>5.1974626560261916E-2</c:v>
                </c:pt>
                <c:pt idx="65" formatCode="0.00%">
                  <c:v>-2.5057825751734774E-2</c:v>
                </c:pt>
                <c:pt idx="66" formatCode="0.00%">
                  <c:v>-0.28899835796387519</c:v>
                </c:pt>
                <c:pt idx="67" formatCode="0.00%">
                  <c:v>0</c:v>
                </c:pt>
                <c:pt idx="68" formatCode="General">
                  <c:v>0.18520227334689512</c:v>
                </c:pt>
                <c:pt idx="69" formatCode="General">
                  <c:v>0.15534287581423784</c:v>
                </c:pt>
                <c:pt idx="70" formatCode="General">
                  <c:v>0.27216813979063992</c:v>
                </c:pt>
                <c:pt idx="71" formatCode="General">
                  <c:v>0.14428544647878522</c:v>
                </c:pt>
                <c:pt idx="72" formatCode="General">
                  <c:v>8.9574245868403263E-2</c:v>
                </c:pt>
                <c:pt idx="73" formatCode="General">
                  <c:v>0.29961779961779961</c:v>
                </c:pt>
                <c:pt idx="74" formatCode="General">
                  <c:v>0.32942695401728078</c:v>
                </c:pt>
                <c:pt idx="75" formatCode="General">
                  <c:v>0.79519295870006768</c:v>
                </c:pt>
                <c:pt idx="76" formatCode="General">
                  <c:v>5.1974626560261916E-2</c:v>
                </c:pt>
                <c:pt idx="77" formatCode="General">
                  <c:v>-2.5057825751734774E-2</c:v>
                </c:pt>
                <c:pt idx="78" formatCode="General">
                  <c:v>-0.28899835796387519</c:v>
                </c:pt>
                <c:pt idx="79" formatCode="General">
                  <c:v>0</c:v>
                </c:pt>
                <c:pt idx="80" formatCode="General">
                  <c:v>0</c:v>
                </c:pt>
                <c:pt idx="81" formatCode="General">
                  <c:v>0.18520227334689512</c:v>
                </c:pt>
                <c:pt idx="82" formatCode="General">
                  <c:v>0.15534287581423784</c:v>
                </c:pt>
                <c:pt idx="83" formatCode="General">
                  <c:v>0.27216813979063992</c:v>
                </c:pt>
                <c:pt idx="84" formatCode="General">
                  <c:v>0.14428544647878522</c:v>
                </c:pt>
                <c:pt idx="85" formatCode="General">
                  <c:v>8.9574245868403263E-2</c:v>
                </c:pt>
                <c:pt idx="86" formatCode="General">
                  <c:v>0.29961779961779961</c:v>
                </c:pt>
                <c:pt idx="87" formatCode="General">
                  <c:v>0.32942695401728078</c:v>
                </c:pt>
                <c:pt idx="88" formatCode="General">
                  <c:v>0.79519295870006768</c:v>
                </c:pt>
                <c:pt idx="89" formatCode="General">
                  <c:v>5.1974626560261916E-2</c:v>
                </c:pt>
                <c:pt idx="90" formatCode="General">
                  <c:v>-2.5057825751734774E-2</c:v>
                </c:pt>
                <c:pt idx="91" formatCode="General">
                  <c:v>-0.28899835796387519</c:v>
                </c:pt>
                <c:pt idx="92" formatCode="General">
                  <c:v>0</c:v>
                </c:pt>
                <c:pt idx="93" formatCode="General">
                  <c:v>0.18520227334689512</c:v>
                </c:pt>
                <c:pt idx="94" formatCode="General">
                  <c:v>0.15534287581423784</c:v>
                </c:pt>
                <c:pt idx="95" formatCode="General">
                  <c:v>0.27216813979063992</c:v>
                </c:pt>
                <c:pt idx="96" formatCode="General">
                  <c:v>0.14428544647878522</c:v>
                </c:pt>
                <c:pt idx="97" formatCode="General">
                  <c:v>8.9574245868403263E-2</c:v>
                </c:pt>
                <c:pt idx="98" formatCode="General">
                  <c:v>0.29961779961779961</c:v>
                </c:pt>
                <c:pt idx="99" formatCode="General">
                  <c:v>0.32942695401728078</c:v>
                </c:pt>
                <c:pt idx="100" formatCode="General">
                  <c:v>0.79519295870006768</c:v>
                </c:pt>
                <c:pt idx="101" formatCode="General">
                  <c:v>5.1974626560261916E-2</c:v>
                </c:pt>
                <c:pt idx="102" formatCode="General">
                  <c:v>-2.5057825751734774E-2</c:v>
                </c:pt>
                <c:pt idx="103" formatCode="General">
                  <c:v>-0.28899835796387519</c:v>
                </c:pt>
                <c:pt idx="104" formatCode="General">
                  <c:v>0</c:v>
                </c:pt>
                <c:pt idx="105" formatCode="General">
                  <c:v>0.15534287581423784</c:v>
                </c:pt>
                <c:pt idx="106" formatCode="General">
                  <c:v>0.27216813979063992</c:v>
                </c:pt>
                <c:pt idx="107" formatCode="General">
                  <c:v>0.14428544647878522</c:v>
                </c:pt>
                <c:pt idx="108" formatCode="General">
                  <c:v>8.9574245868403263E-2</c:v>
                </c:pt>
                <c:pt idx="109" formatCode="General">
                  <c:v>0.29961779961779961</c:v>
                </c:pt>
                <c:pt idx="110" formatCode="General">
                  <c:v>0.32942695401728078</c:v>
                </c:pt>
                <c:pt idx="111" formatCode="General">
                  <c:v>0.79519295870006768</c:v>
                </c:pt>
                <c:pt idx="112" formatCode="General">
                  <c:v>5.1974626560261916E-2</c:v>
                </c:pt>
                <c:pt idx="113" formatCode="General">
                  <c:v>-2.5057825751734774E-2</c:v>
                </c:pt>
                <c:pt idx="114" formatCode="General">
                  <c:v>-0.28899835796387519</c:v>
                </c:pt>
                <c:pt idx="115" formatCode="General">
                  <c:v>0</c:v>
                </c:pt>
              </c:numCache>
            </c:numRef>
          </c:yVal>
          <c:bubbleSize>
            <c:numRef>
              <c:f>Sheet1!$C$2:$C$117</c:f>
              <c:numCache>
                <c:formatCode>0%;\-0%;0%</c:formatCode>
                <c:ptCount val="116"/>
                <c:pt idx="0">
                  <c:v>4111084</c:v>
                </c:pt>
                <c:pt idx="1">
                  <c:v>1160533</c:v>
                </c:pt>
                <c:pt idx="2">
                  <c:v>1117212</c:v>
                </c:pt>
                <c:pt idx="3">
                  <c:v>504428</c:v>
                </c:pt>
                <c:pt idx="4">
                  <c:v>459435</c:v>
                </c:pt>
                <c:pt idx="5">
                  <c:v>386077</c:v>
                </c:pt>
                <c:pt idx="6">
                  <c:v>277647</c:v>
                </c:pt>
                <c:pt idx="7">
                  <c:v>222216</c:v>
                </c:pt>
                <c:pt idx="8">
                  <c:v>108739</c:v>
                </c:pt>
                <c:pt idx="9">
                  <c:v>100141</c:v>
                </c:pt>
                <c:pt idx="10">
                  <c:v>18851</c:v>
                </c:pt>
                <c:pt idx="11">
                  <c:v>13981</c:v>
                </c:pt>
                <c:pt idx="12">
                  <c:v>10864</c:v>
                </c:pt>
                <c:pt idx="13">
                  <c:v>7717</c:v>
                </c:pt>
                <c:pt idx="14">
                  <c:v>7439</c:v>
                </c:pt>
                <c:pt idx="15">
                  <c:v>4428</c:v>
                </c:pt>
                <c:pt idx="16">
                  <c:v>1120</c:v>
                </c:pt>
                <c:pt idx="17">
                  <c:v>21</c:v>
                </c:pt>
                <c:pt idx="18">
                  <c:v>0</c:v>
                </c:pt>
                <c:pt idx="19">
                  <c:v>12037304</c:v>
                </c:pt>
                <c:pt idx="20">
                  <c:v>5124041</c:v>
                </c:pt>
                <c:pt idx="21">
                  <c:v>4271666</c:v>
                </c:pt>
                <c:pt idx="22">
                  <c:v>1061364</c:v>
                </c:pt>
                <c:pt idx="23">
                  <c:v>786468</c:v>
                </c:pt>
                <c:pt idx="24">
                  <c:v>606283</c:v>
                </c:pt>
                <c:pt idx="25">
                  <c:v>479058</c:v>
                </c:pt>
                <c:pt idx="26">
                  <c:v>306437</c:v>
                </c:pt>
                <c:pt idx="27">
                  <c:v>83930</c:v>
                </c:pt>
                <c:pt idx="28">
                  <c:v>32553</c:v>
                </c:pt>
                <c:pt idx="29">
                  <c:v>24613</c:v>
                </c:pt>
                <c:pt idx="30">
                  <c:v>42</c:v>
                </c:pt>
                <c:pt idx="31">
                  <c:v>16067456</c:v>
                </c:pt>
                <c:pt idx="32">
                  <c:v>0</c:v>
                </c:pt>
                <c:pt idx="33">
                  <c:v>2257543</c:v>
                </c:pt>
                <c:pt idx="34">
                  <c:v>350113</c:v>
                </c:pt>
                <c:pt idx="35">
                  <c:v>238922</c:v>
                </c:pt>
                <c:pt idx="36">
                  <c:v>178620</c:v>
                </c:pt>
                <c:pt idx="37">
                  <c:v>98148</c:v>
                </c:pt>
                <c:pt idx="38">
                  <c:v>76752</c:v>
                </c:pt>
                <c:pt idx="39">
                  <c:v>59927</c:v>
                </c:pt>
                <c:pt idx="40">
                  <c:v>59154</c:v>
                </c:pt>
                <c:pt idx="41">
                  <c:v>58860</c:v>
                </c:pt>
                <c:pt idx="42">
                  <c:v>53214</c:v>
                </c:pt>
                <c:pt idx="43">
                  <c:v>45806</c:v>
                </c:pt>
                <c:pt idx="44">
                  <c:v>33868</c:v>
                </c:pt>
                <c:pt idx="45">
                  <c:v>28590</c:v>
                </c:pt>
                <c:pt idx="46">
                  <c:v>26827</c:v>
                </c:pt>
                <c:pt idx="47">
                  <c:v>15746</c:v>
                </c:pt>
                <c:pt idx="48">
                  <c:v>10871</c:v>
                </c:pt>
                <c:pt idx="49">
                  <c:v>10018</c:v>
                </c:pt>
                <c:pt idx="50">
                  <c:v>4962</c:v>
                </c:pt>
                <c:pt idx="51">
                  <c:v>4865</c:v>
                </c:pt>
                <c:pt idx="52">
                  <c:v>3900</c:v>
                </c:pt>
                <c:pt idx="53">
                  <c:v>1677</c:v>
                </c:pt>
                <c:pt idx="54">
                  <c:v>297</c:v>
                </c:pt>
                <c:pt idx="55">
                  <c:v>0</c:v>
                </c:pt>
                <c:pt idx="56" formatCode="General">
                  <c:v>33868</c:v>
                </c:pt>
                <c:pt idx="57" formatCode="General">
                  <c:v>28590</c:v>
                </c:pt>
                <c:pt idx="58" formatCode="General">
                  <c:v>26827</c:v>
                </c:pt>
                <c:pt idx="59" formatCode="General">
                  <c:v>15746</c:v>
                </c:pt>
                <c:pt idx="60" formatCode="General">
                  <c:v>10871</c:v>
                </c:pt>
                <c:pt idx="61" formatCode="General">
                  <c:v>10018</c:v>
                </c:pt>
                <c:pt idx="62" formatCode="General">
                  <c:v>4962</c:v>
                </c:pt>
                <c:pt idx="63" formatCode="General">
                  <c:v>4865</c:v>
                </c:pt>
                <c:pt idx="64" formatCode="General">
                  <c:v>3900</c:v>
                </c:pt>
                <c:pt idx="65" formatCode="General">
                  <c:v>1677</c:v>
                </c:pt>
                <c:pt idx="66" formatCode="General">
                  <c:v>297</c:v>
                </c:pt>
                <c:pt idx="67" formatCode="General">
                  <c:v>0</c:v>
                </c:pt>
                <c:pt idx="68" formatCode="General">
                  <c:v>33868</c:v>
                </c:pt>
                <c:pt idx="69" formatCode="General">
                  <c:v>28590</c:v>
                </c:pt>
                <c:pt idx="70" formatCode="General">
                  <c:v>26827</c:v>
                </c:pt>
                <c:pt idx="71" formatCode="General">
                  <c:v>15746</c:v>
                </c:pt>
                <c:pt idx="72" formatCode="General">
                  <c:v>10871</c:v>
                </c:pt>
                <c:pt idx="73" formatCode="General">
                  <c:v>10018</c:v>
                </c:pt>
                <c:pt idx="74" formatCode="General">
                  <c:v>4962</c:v>
                </c:pt>
                <c:pt idx="75" formatCode="General">
                  <c:v>4865</c:v>
                </c:pt>
                <c:pt idx="76" formatCode="General">
                  <c:v>3900</c:v>
                </c:pt>
                <c:pt idx="77" formatCode="General">
                  <c:v>1677</c:v>
                </c:pt>
                <c:pt idx="78" formatCode="General">
                  <c:v>297</c:v>
                </c:pt>
                <c:pt idx="79" formatCode="General">
                  <c:v>0</c:v>
                </c:pt>
                <c:pt idx="80" formatCode="General">
                  <c:v>0</c:v>
                </c:pt>
                <c:pt idx="81" formatCode="General">
                  <c:v>33868</c:v>
                </c:pt>
                <c:pt idx="82" formatCode="General">
                  <c:v>28590</c:v>
                </c:pt>
                <c:pt idx="83" formatCode="General">
                  <c:v>26827</c:v>
                </c:pt>
                <c:pt idx="84" formatCode="General">
                  <c:v>15746</c:v>
                </c:pt>
                <c:pt idx="85" formatCode="General">
                  <c:v>10871</c:v>
                </c:pt>
                <c:pt idx="86" formatCode="General">
                  <c:v>10018</c:v>
                </c:pt>
                <c:pt idx="87" formatCode="General">
                  <c:v>4962</c:v>
                </c:pt>
                <c:pt idx="88" formatCode="General">
                  <c:v>4865</c:v>
                </c:pt>
                <c:pt idx="89" formatCode="General">
                  <c:v>3900</c:v>
                </c:pt>
                <c:pt idx="90" formatCode="General">
                  <c:v>1677</c:v>
                </c:pt>
                <c:pt idx="91" formatCode="General">
                  <c:v>297</c:v>
                </c:pt>
                <c:pt idx="92" formatCode="General">
                  <c:v>0</c:v>
                </c:pt>
                <c:pt idx="93" formatCode="General">
                  <c:v>33868</c:v>
                </c:pt>
                <c:pt idx="94" formatCode="General">
                  <c:v>28590</c:v>
                </c:pt>
                <c:pt idx="95" formatCode="General">
                  <c:v>26827</c:v>
                </c:pt>
                <c:pt idx="96" formatCode="General">
                  <c:v>15746</c:v>
                </c:pt>
                <c:pt idx="97" formatCode="General">
                  <c:v>10871</c:v>
                </c:pt>
                <c:pt idx="98" formatCode="General">
                  <c:v>10018</c:v>
                </c:pt>
                <c:pt idx="99" formatCode="General">
                  <c:v>4962</c:v>
                </c:pt>
                <c:pt idx="100" formatCode="General">
                  <c:v>4865</c:v>
                </c:pt>
                <c:pt idx="101" formatCode="General">
                  <c:v>3900</c:v>
                </c:pt>
                <c:pt idx="102" formatCode="General">
                  <c:v>1677</c:v>
                </c:pt>
                <c:pt idx="103" formatCode="General">
                  <c:v>297</c:v>
                </c:pt>
                <c:pt idx="104" formatCode="General">
                  <c:v>0</c:v>
                </c:pt>
                <c:pt idx="105" formatCode="General">
                  <c:v>28590</c:v>
                </c:pt>
                <c:pt idx="106" formatCode="General">
                  <c:v>26827</c:v>
                </c:pt>
                <c:pt idx="107" formatCode="General">
                  <c:v>15746</c:v>
                </c:pt>
                <c:pt idx="108" formatCode="General">
                  <c:v>10871</c:v>
                </c:pt>
                <c:pt idx="109" formatCode="General">
                  <c:v>10018</c:v>
                </c:pt>
                <c:pt idx="110" formatCode="General">
                  <c:v>4962</c:v>
                </c:pt>
                <c:pt idx="111" formatCode="General">
                  <c:v>4865</c:v>
                </c:pt>
                <c:pt idx="112" formatCode="General">
                  <c:v>3900</c:v>
                </c:pt>
                <c:pt idx="113" formatCode="General">
                  <c:v>1677</c:v>
                </c:pt>
                <c:pt idx="114" formatCode="General">
                  <c:v>297</c:v>
                </c:pt>
                <c:pt idx="115" formatCode="General">
                  <c:v>0</c:v>
                </c:pt>
              </c:numCache>
            </c:numRef>
          </c:bubbleSize>
          <c:bubble3D val="0"/>
          <c:extLst>
            <c:ext xmlns:c15="http://schemas.microsoft.com/office/drawing/2012/chart" uri="{02D57815-91ED-43cb-92C2-25804820EDAC}">
              <c15:datalabelsRange>
                <c15:f>Sheet1!$E$2:$E$150</c15:f>
                <c15:dlblRangeCache>
                  <c:ptCount val="149"/>
                  <c:pt idx="0">
                    <c:v>Findus</c:v>
                  </c:pt>
                  <c:pt idx="1">
                    <c:v>Pescanova S.A.</c:v>
                  </c:pt>
                  <c:pt idx="2">
                    <c:v>Private Label</c:v>
                  </c:pt>
                  <c:pt idx="3">
                    <c:v>Frosta</c:v>
                  </c:pt>
                  <c:pt idx="4">
                    <c:v>Panapesca</c:v>
                  </c:pt>
                  <c:pt idx="5">
                    <c:v>Other</c:v>
                  </c:pt>
                  <c:pt idx="6">
                    <c:v>Esca Srl</c:v>
                  </c:pt>
                  <c:pt idx="7">
                    <c:v>Arbi Dario Spa</c:v>
                  </c:pt>
                  <c:pt idx="8">
                    <c:v>Krusta Group</c:v>
                  </c:pt>
                  <c:pt idx="9">
                    <c:v>Fandicosta</c:v>
                  </c:pt>
                  <c:pt idx="10">
                    <c:v>Green Ice</c:v>
                  </c:pt>
                  <c:pt idx="11">
                    <c:v>Alpe Srl - Roma</c:v>
                  </c:pt>
                  <c:pt idx="12">
                    <c:v>Conserviera Adriatica Spa</c:v>
                  </c:pt>
                  <c:pt idx="13">
                    <c:v>New Food</c:v>
                  </c:pt>
                  <c:pt idx="14">
                    <c:v>Agras 1947</c:v>
                  </c:pt>
                  <c:pt idx="15">
                    <c:v>Garbo Snc Di Comanducci Andrea</c:v>
                  </c:pt>
                  <c:pt idx="16">
                    <c:v>Vis Industrie Alimentari</c:v>
                  </c:pt>
                  <c:pt idx="17">
                    <c:v>Buitoni</c:v>
                  </c:pt>
                  <c:pt idx="18">
                    <c:v>Mittico</c:v>
                  </c:pt>
                  <c:pt idx="19">
                    <c:v>Findus</c:v>
                  </c:pt>
                  <c:pt idx="20">
                    <c:v>Frosta</c:v>
                  </c:pt>
                  <c:pt idx="21">
                    <c:v>Private Label</c:v>
                  </c:pt>
                  <c:pt idx="22">
                    <c:v>Krusta Group</c:v>
                  </c:pt>
                  <c:pt idx="23">
                    <c:v>Pescanova S.A.</c:v>
                  </c:pt>
                  <c:pt idx="24">
                    <c:v>Esca Srl</c:v>
                  </c:pt>
                  <c:pt idx="25">
                    <c:v>Arbi Dario Spa</c:v>
                  </c:pt>
                  <c:pt idx="26">
                    <c:v>Emme Gel</c:v>
                  </c:pt>
                  <c:pt idx="27">
                    <c:v>Green Ice</c:v>
                  </c:pt>
                  <c:pt idx="28">
                    <c:v>Other</c:v>
                  </c:pt>
                  <c:pt idx="29">
                    <c:v>Soavegel</c:v>
                  </c:pt>
                  <c:pt idx="30">
                    <c:v>Buitoni</c:v>
                  </c:pt>
                  <c:pt idx="31">
                    <c:v>Findus</c:v>
                  </c:pt>
                  <c:pt idx="32">
                    <c:v>Other</c:v>
                  </c:pt>
                  <c:pt idx="33">
                    <c:v>Findus</c:v>
                  </c:pt>
                  <c:pt idx="34">
                    <c:v>Private Label</c:v>
                  </c:pt>
                  <c:pt idx="35">
                    <c:v>Esca Srl</c:v>
                  </c:pt>
                  <c:pt idx="36">
                    <c:v>Agras 1947</c:v>
                  </c:pt>
                  <c:pt idx="37">
                    <c:v>Frosta</c:v>
                  </c:pt>
                  <c:pt idx="38">
                    <c:v>Other</c:v>
                  </c:pt>
                  <c:pt idx="39">
                    <c:v>New Food</c:v>
                  </c:pt>
                  <c:pt idx="40">
                    <c:v>Noriberica</c:v>
                  </c:pt>
                  <c:pt idx="41">
                    <c:v>Krusta Group</c:v>
                  </c:pt>
                  <c:pt idx="42">
                    <c:v>Nai Prodotti Ittici</c:v>
                  </c:pt>
                  <c:pt idx="43">
                    <c:v>Green Ice</c:v>
                  </c:pt>
                  <c:pt idx="44">
                    <c:v>Pescanova S.A.</c:v>
                  </c:pt>
                  <c:pt idx="45">
                    <c:v>Alpe Srl - Roma</c:v>
                  </c:pt>
                  <c:pt idx="46">
                    <c:v>Appetais Italia Spa</c:v>
                  </c:pt>
                  <c:pt idx="47">
                    <c:v>Royal Greenland</c:v>
                  </c:pt>
                  <c:pt idx="48">
                    <c:v>Panapesca</c:v>
                  </c:pt>
                  <c:pt idx="49">
                    <c:v>Conserviera Adriatica Spa</c:v>
                  </c:pt>
                  <c:pt idx="50">
                    <c:v>Gerfrio</c:v>
                  </c:pt>
                  <c:pt idx="51">
                    <c:v>Garbo Snc Di Comanducci Andrea</c:v>
                  </c:pt>
                  <c:pt idx="52">
                    <c:v>Vis Industrie Alimentari</c:v>
                  </c:pt>
                  <c:pt idx="53">
                    <c:v>Soavegel</c:v>
                  </c:pt>
                  <c:pt idx="54">
                    <c:v>Nettuno Alimentari Srl</c:v>
                  </c:pt>
                  <c:pt idx="55">
                    <c:v>Buitoni</c:v>
                  </c:pt>
                  <c:pt idx="56">
                    <c:v>Pescanova S.A.</c:v>
                  </c:pt>
                  <c:pt idx="57">
                    <c:v>Alpe Srl - Roma</c:v>
                  </c:pt>
                  <c:pt idx="58">
                    <c:v>Appetais Italia Spa</c:v>
                  </c:pt>
                  <c:pt idx="59">
                    <c:v>Royal Greenland</c:v>
                  </c:pt>
                  <c:pt idx="60">
                    <c:v>Panapesca</c:v>
                  </c:pt>
                  <c:pt idx="61">
                    <c:v>Conserviera Adriatica Spa</c:v>
                  </c:pt>
                  <c:pt idx="62">
                    <c:v>Gerfrio</c:v>
                  </c:pt>
                  <c:pt idx="63">
                    <c:v>Garbo Snc Di Comanducci Andrea</c:v>
                  </c:pt>
                  <c:pt idx="64">
                    <c:v>Vis Industrie Alimentari</c:v>
                  </c:pt>
                  <c:pt idx="65">
                    <c:v>Soavegel</c:v>
                  </c:pt>
                  <c:pt idx="66">
                    <c:v>Nettuno Alimentari Srl</c:v>
                  </c:pt>
                  <c:pt idx="67">
                    <c:v>Buitoni</c:v>
                  </c:pt>
                  <c:pt idx="68">
                    <c:v>Pescanova S.A.</c:v>
                  </c:pt>
                  <c:pt idx="69">
                    <c:v>Alpe Srl - Roma</c:v>
                  </c:pt>
                  <c:pt idx="70">
                    <c:v>Appetais Italia Spa</c:v>
                  </c:pt>
                  <c:pt idx="71">
                    <c:v>Royal Greenland</c:v>
                  </c:pt>
                  <c:pt idx="72">
                    <c:v>Panapesca</c:v>
                  </c:pt>
                  <c:pt idx="73">
                    <c:v>Conserviera Adriatica Spa</c:v>
                  </c:pt>
                  <c:pt idx="74">
                    <c:v>Gerfrio</c:v>
                  </c:pt>
                  <c:pt idx="75">
                    <c:v>Garbo Snc Di Comanducci Andrea</c:v>
                  </c:pt>
                  <c:pt idx="76">
                    <c:v>Vis Industrie Alimentari</c:v>
                  </c:pt>
                  <c:pt idx="77">
                    <c:v>Soavegel</c:v>
                  </c:pt>
                  <c:pt idx="78">
                    <c:v>Nettuno Alimentari Srl</c:v>
                  </c:pt>
                  <c:pt idx="79">
                    <c:v>Buitoni</c:v>
                  </c:pt>
                  <c:pt idx="80">
                    <c:v>Buitoni</c:v>
                  </c:pt>
                  <c:pt idx="81">
                    <c:v>Pescanova S.A.</c:v>
                  </c:pt>
                  <c:pt idx="82">
                    <c:v>Alpe Srl - Roma</c:v>
                  </c:pt>
                  <c:pt idx="83">
                    <c:v>Appetais Italia Spa</c:v>
                  </c:pt>
                  <c:pt idx="84">
                    <c:v>Royal Greenland</c:v>
                  </c:pt>
                  <c:pt idx="85">
                    <c:v>Panapesca</c:v>
                  </c:pt>
                  <c:pt idx="86">
                    <c:v>Conserviera Adriatica Spa</c:v>
                  </c:pt>
                  <c:pt idx="87">
                    <c:v>Gerfrio</c:v>
                  </c:pt>
                  <c:pt idx="88">
                    <c:v>Garbo Snc Di Comanducci Andrea</c:v>
                  </c:pt>
                  <c:pt idx="89">
                    <c:v>Vis Industrie Alimentari</c:v>
                  </c:pt>
                  <c:pt idx="90">
                    <c:v>Soavegel</c:v>
                  </c:pt>
                  <c:pt idx="91">
                    <c:v>Nettuno Alimentari Srl</c:v>
                  </c:pt>
                  <c:pt idx="92">
                    <c:v>Buitoni</c:v>
                  </c:pt>
                  <c:pt idx="93">
                    <c:v>Pescanova S.A.</c:v>
                  </c:pt>
                  <c:pt idx="94">
                    <c:v>Alpe Srl - Roma</c:v>
                  </c:pt>
                  <c:pt idx="95">
                    <c:v>Appetais Italia Spa</c:v>
                  </c:pt>
                  <c:pt idx="96">
                    <c:v>Royal Greenland</c:v>
                  </c:pt>
                  <c:pt idx="97">
                    <c:v>Panapesca</c:v>
                  </c:pt>
                  <c:pt idx="98">
                    <c:v>Conserviera Adriatica Spa</c:v>
                  </c:pt>
                  <c:pt idx="99">
                    <c:v>Gerfrio</c:v>
                  </c:pt>
                  <c:pt idx="100">
                    <c:v>Garbo Snc Di Comanducci Andrea</c:v>
                  </c:pt>
                  <c:pt idx="101">
                    <c:v>Vis Industrie Alimentari</c:v>
                  </c:pt>
                  <c:pt idx="102">
                    <c:v>Soavegel</c:v>
                  </c:pt>
                  <c:pt idx="103">
                    <c:v>Nettuno Alimentari Srl</c:v>
                  </c:pt>
                  <c:pt idx="104">
                    <c:v>Buitoni</c:v>
                  </c:pt>
                  <c:pt idx="105">
                    <c:v>Alpe Srl - Roma</c:v>
                  </c:pt>
                  <c:pt idx="106">
                    <c:v>Appetais Italia Spa</c:v>
                  </c:pt>
                  <c:pt idx="107">
                    <c:v>Royal Greenland</c:v>
                  </c:pt>
                  <c:pt idx="108">
                    <c:v>Panapesca</c:v>
                  </c:pt>
                  <c:pt idx="109">
                    <c:v>Conserviera Adriatica Spa</c:v>
                  </c:pt>
                  <c:pt idx="110">
                    <c:v>Gerfrio</c:v>
                  </c:pt>
                  <c:pt idx="111">
                    <c:v>Garbo Snc Di Comanducci Andrea</c:v>
                  </c:pt>
                  <c:pt idx="112">
                    <c:v>Vis Industrie Alimentari</c:v>
                  </c:pt>
                  <c:pt idx="113">
                    <c:v>Soavegel</c:v>
                  </c:pt>
                  <c:pt idx="114">
                    <c:v>Nettuno Alimentari Srl</c:v>
                  </c:pt>
                  <c:pt idx="115">
                    <c:v>Buitoni</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5"/>
          <c:min val="0.5"/>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DF80D00E-2AE2-4CDE-84AE-6646B54D494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AFCA-4943-AA4B-9818CF1C0054}"/>
                </c:ext>
              </c:extLst>
            </c:dLbl>
            <c:dLbl>
              <c:idx val="1"/>
              <c:tx>
                <c:rich>
                  <a:bodyPr/>
                  <a:lstStyle/>
                  <a:p>
                    <a:fld id="{5131E3C4-EA8F-426B-8CEA-BA9523BD0AB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AFCA-4943-AA4B-9818CF1C0054}"/>
                </c:ext>
              </c:extLst>
            </c:dLbl>
            <c:dLbl>
              <c:idx val="2"/>
              <c:tx>
                <c:rich>
                  <a:bodyPr/>
                  <a:lstStyle/>
                  <a:p>
                    <a:fld id="{A6DA9FCE-4AA3-49C0-B05C-6CBA0D2CE0C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AFCA-4943-AA4B-9818CF1C0054}"/>
                </c:ext>
              </c:extLst>
            </c:dLbl>
            <c:dLbl>
              <c:idx val="3"/>
              <c:tx>
                <c:rich>
                  <a:bodyPr/>
                  <a:lstStyle/>
                  <a:p>
                    <a:fld id="{71EBF1B9-5389-41AF-BB72-E0C82EEB6A5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AFCA-4943-AA4B-9818CF1C0054}"/>
                </c:ext>
              </c:extLst>
            </c:dLbl>
            <c:dLbl>
              <c:idx val="4"/>
              <c:tx>
                <c:rich>
                  <a:bodyPr/>
                  <a:lstStyle/>
                  <a:p>
                    <a:fld id="{AD34D4BC-7CA1-4E25-AB5D-B4DED1C1B97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AFCA-4943-AA4B-9818CF1C0054}"/>
                </c:ext>
              </c:extLst>
            </c:dLbl>
            <c:dLbl>
              <c:idx val="5"/>
              <c:tx>
                <c:rich>
                  <a:bodyPr/>
                  <a:lstStyle/>
                  <a:p>
                    <a:fld id="{227DC4BE-34A9-4F07-8597-A85263DBCAB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AFCA-4943-AA4B-9818CF1C0054}"/>
                </c:ext>
              </c:extLst>
            </c:dLbl>
            <c:dLbl>
              <c:idx val="6"/>
              <c:tx>
                <c:rich>
                  <a:bodyPr/>
                  <a:lstStyle/>
                  <a:p>
                    <a:fld id="{DC4E7DBA-3E18-49FE-B0E5-726BA580540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AFCA-4943-AA4B-9818CF1C0054}"/>
                </c:ext>
              </c:extLst>
            </c:dLbl>
            <c:dLbl>
              <c:idx val="7"/>
              <c:tx>
                <c:rich>
                  <a:bodyPr/>
                  <a:lstStyle/>
                  <a:p>
                    <a:fld id="{31569E4B-890B-4F02-8409-1C120A7F012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AFCA-4943-AA4B-9818CF1C0054}"/>
                </c:ext>
              </c:extLst>
            </c:dLbl>
            <c:dLbl>
              <c:idx val="8"/>
              <c:tx>
                <c:rich>
                  <a:bodyPr/>
                  <a:lstStyle/>
                  <a:p>
                    <a:fld id="{1425330E-EB61-428D-A486-9BFC796A12E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AFCA-4943-AA4B-9818CF1C0054}"/>
                </c:ext>
              </c:extLst>
            </c:dLbl>
            <c:dLbl>
              <c:idx val="9"/>
              <c:tx>
                <c:rich>
                  <a:bodyPr/>
                  <a:lstStyle/>
                  <a:p>
                    <a:fld id="{9184EB08-9C6C-4DC6-8D51-1B77104405B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AFCA-4943-AA4B-9818CF1C0054}"/>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AFCA-4943-AA4B-9818CF1C0054}"/>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AFCA-4943-AA4B-9818CF1C0054}"/>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AFCA-4943-AA4B-9818CF1C0054}"/>
                </c:ext>
              </c:extLst>
            </c:dLbl>
            <c:dLbl>
              <c:idx val="13"/>
              <c:tx>
                <c:rich>
                  <a:bodyPr/>
                  <a:lstStyle/>
                  <a:p>
                    <a:fld id="{0717640A-9340-48F7-8094-66D865C27BE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AFCA-4943-AA4B-9818CF1C0054}"/>
                </c:ext>
              </c:extLst>
            </c:dLbl>
            <c:dLbl>
              <c:idx val="14"/>
              <c:tx>
                <c:rich>
                  <a:bodyPr/>
                  <a:lstStyle/>
                  <a:p>
                    <a:fld id="{125EDC37-76B0-46AD-BCBF-E4082C6B9A3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AFCA-4943-AA4B-9818CF1C0054}"/>
                </c:ext>
              </c:extLst>
            </c:dLbl>
            <c:dLbl>
              <c:idx val="15"/>
              <c:tx>
                <c:rich>
                  <a:bodyPr/>
                  <a:lstStyle/>
                  <a:p>
                    <a:fld id="{7732B7ED-428E-4BAE-A093-11B80AC59B8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AFCA-4943-AA4B-9818CF1C0054}"/>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AFCA-4943-AA4B-9818CF1C0054}"/>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AFCA-4943-AA4B-9818CF1C0054}"/>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AFCA-4943-AA4B-9818CF1C0054}"/>
                </c:ext>
              </c:extLst>
            </c:dLbl>
            <c:dLbl>
              <c:idx val="19"/>
              <c:tx>
                <c:rich>
                  <a:bodyPr/>
                  <a:lstStyle/>
                  <a:p>
                    <a:fld id="{4D91DEED-17F8-4CBD-8E40-FD4A39BD508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AFCA-4943-AA4B-9818CF1C0054}"/>
                </c:ext>
              </c:extLst>
            </c:dLbl>
            <c:dLbl>
              <c:idx val="20"/>
              <c:tx>
                <c:rich>
                  <a:bodyPr/>
                  <a:lstStyle/>
                  <a:p>
                    <a:fld id="{97668230-54CA-49A9-893E-46CE96C4B7D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AFCA-4943-AA4B-9818CF1C0054}"/>
                </c:ext>
              </c:extLst>
            </c:dLbl>
            <c:dLbl>
              <c:idx val="21"/>
              <c:tx>
                <c:rich>
                  <a:bodyPr/>
                  <a:lstStyle/>
                  <a:p>
                    <a:fld id="{60EECC9F-F150-4339-9B4F-2176CFE3457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AFCA-4943-AA4B-9818CF1C0054}"/>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AFCA-4943-AA4B-9818CF1C0054}"/>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AFCA-4943-AA4B-9818CF1C0054}"/>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AFCA-4943-AA4B-9818CF1C0054}"/>
                </c:ext>
              </c:extLst>
            </c:dLbl>
            <c:dLbl>
              <c:idx val="25"/>
              <c:tx>
                <c:rich>
                  <a:bodyPr/>
                  <a:lstStyle/>
                  <a:p>
                    <a:fld id="{126DFA80-3645-42B4-9437-131310E55DD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AFCA-4943-AA4B-9818CF1C0054}"/>
                </c:ext>
              </c:extLst>
            </c:dLbl>
            <c:dLbl>
              <c:idx val="26"/>
              <c:tx>
                <c:rich>
                  <a:bodyPr/>
                  <a:lstStyle/>
                  <a:p>
                    <a:fld id="{44D89338-AC90-430C-B54E-B2E24A6BAE9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AFCA-4943-AA4B-9818CF1C0054}"/>
                </c:ext>
              </c:extLst>
            </c:dLbl>
            <c:dLbl>
              <c:idx val="27"/>
              <c:tx>
                <c:rich>
                  <a:bodyPr/>
                  <a:lstStyle/>
                  <a:p>
                    <a:fld id="{DF93DEF3-2946-46EF-ADE0-5498C4D6F5C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AFCA-4943-AA4B-9818CF1C0054}"/>
                </c:ext>
              </c:extLst>
            </c:dLbl>
            <c:dLbl>
              <c:idx val="28"/>
              <c:tx>
                <c:rich>
                  <a:bodyPr/>
                  <a:lstStyle/>
                  <a:p>
                    <a:fld id="{E0ABB6BA-FDAB-4BC6-BB7F-1FFD7AE836B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AFCA-4943-AA4B-9818CF1C0054}"/>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AFCA-4943-AA4B-9818CF1C0054}"/>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AFCA-4943-AA4B-9818CF1C0054}"/>
                </c:ext>
              </c:extLst>
            </c:dLbl>
            <c:dLbl>
              <c:idx val="31"/>
              <c:tx>
                <c:rich>
                  <a:bodyPr/>
                  <a:lstStyle/>
                  <a:p>
                    <a:fld id="{209567B5-C6CA-4DF4-8C01-BA0B004EF23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AFCA-4943-AA4B-9818CF1C0054}"/>
                </c:ext>
              </c:extLst>
            </c:dLbl>
            <c:dLbl>
              <c:idx val="32"/>
              <c:tx>
                <c:rich>
                  <a:bodyPr/>
                  <a:lstStyle/>
                  <a:p>
                    <a:fld id="{0B58487D-9B74-4760-80A5-CDC5C520A82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AFCA-4943-AA4B-9818CF1C0054}"/>
                </c:ext>
              </c:extLst>
            </c:dLbl>
            <c:dLbl>
              <c:idx val="33"/>
              <c:tx>
                <c:rich>
                  <a:bodyPr/>
                  <a:lstStyle/>
                  <a:p>
                    <a:fld id="{2BAE012A-9F9B-4883-8F82-F99730EFE77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AFCA-4943-AA4B-9818CF1C0054}"/>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AFCA-4943-AA4B-9818CF1C0054}"/>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AFCA-4943-AA4B-9818CF1C0054}"/>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AFCA-4943-AA4B-9818CF1C0054}"/>
                </c:ext>
              </c:extLst>
            </c:dLbl>
            <c:dLbl>
              <c:idx val="37"/>
              <c:tx>
                <c:rich>
                  <a:bodyPr/>
                  <a:lstStyle/>
                  <a:p>
                    <a:fld id="{0E77B37F-3BF6-47BE-983D-C106016A100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AFCA-4943-AA4B-9818CF1C0054}"/>
                </c:ext>
              </c:extLst>
            </c:dLbl>
            <c:dLbl>
              <c:idx val="38"/>
              <c:tx>
                <c:rich>
                  <a:bodyPr/>
                  <a:lstStyle/>
                  <a:p>
                    <a:fld id="{A7C1FEB2-0D6D-4FED-9878-71F2F8081CF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AFCA-4943-AA4B-9818CF1C0054}"/>
                </c:ext>
              </c:extLst>
            </c:dLbl>
            <c:dLbl>
              <c:idx val="39"/>
              <c:tx>
                <c:rich>
                  <a:bodyPr/>
                  <a:lstStyle/>
                  <a:p>
                    <a:fld id="{3DE2FD97-4D07-4AD1-AD1C-B610C82DAD9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AFCA-4943-AA4B-9818CF1C0054}"/>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AFCA-4943-AA4B-9818CF1C0054}"/>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AFCA-4943-AA4B-9818CF1C0054}"/>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AFCA-4943-AA4B-9818CF1C0054}"/>
                </c:ext>
              </c:extLst>
            </c:dLbl>
            <c:dLbl>
              <c:idx val="43"/>
              <c:tx>
                <c:rich>
                  <a:bodyPr/>
                  <a:lstStyle/>
                  <a:p>
                    <a:fld id="{988F9B62-8C21-415F-88D2-619DC6C84D4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AFCA-4943-AA4B-9818CF1C0054}"/>
                </c:ext>
              </c:extLst>
            </c:dLbl>
            <c:dLbl>
              <c:idx val="44"/>
              <c:tx>
                <c:rich>
                  <a:bodyPr/>
                  <a:lstStyle/>
                  <a:p>
                    <a:fld id="{61EFE56E-E4FD-453D-94F1-B9B77FCCB66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AFCA-4943-AA4B-9818CF1C0054}"/>
                </c:ext>
              </c:extLst>
            </c:dLbl>
            <c:dLbl>
              <c:idx val="45"/>
              <c:tx>
                <c:rich>
                  <a:bodyPr/>
                  <a:lstStyle/>
                  <a:p>
                    <a:fld id="{9415BBC1-6CDD-4C54-AE2C-4150B99BE40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AFCA-4943-AA4B-9818CF1C0054}"/>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AFCA-4943-AA4B-9818CF1C0054}"/>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AFCA-4943-AA4B-9818CF1C0054}"/>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AFCA-4943-AA4B-9818CF1C0054}"/>
                </c:ext>
              </c:extLst>
            </c:dLbl>
            <c:dLbl>
              <c:idx val="49"/>
              <c:tx>
                <c:rich>
                  <a:bodyPr/>
                  <a:lstStyle/>
                  <a:p>
                    <a:fld id="{FCC373BC-E4B8-40B4-B4AB-8157FF116C3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AFCA-4943-AA4B-9818CF1C0054}"/>
                </c:ext>
              </c:extLst>
            </c:dLbl>
            <c:dLbl>
              <c:idx val="50"/>
              <c:tx>
                <c:rich>
                  <a:bodyPr/>
                  <a:lstStyle/>
                  <a:p>
                    <a:fld id="{C59D5B7A-0E85-43AA-9580-485DFEE2D03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AFCA-4943-AA4B-9818CF1C0054}"/>
                </c:ext>
              </c:extLst>
            </c:dLbl>
            <c:dLbl>
              <c:idx val="51"/>
              <c:tx>
                <c:rich>
                  <a:bodyPr/>
                  <a:lstStyle/>
                  <a:p>
                    <a:fld id="{DE140148-E73D-4FDD-99D5-4ED495A0342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AFCA-4943-AA4B-9818CF1C0054}"/>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AFCA-4943-AA4B-9818CF1C0054}"/>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AFCA-4943-AA4B-9818CF1C0054}"/>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53849719672747E-4"/>
          <c:y val="6.0063696518519595E-2"/>
          <c:w val="0.95453953634144284"/>
          <c:h val="0.88878250476834464"/>
        </c:manualLayout>
      </c:layout>
      <c:barChart>
        <c:barDir val="col"/>
        <c:grouping val="percentStacked"/>
        <c:varyColors val="0"/>
        <c:ser>
          <c:idx val="1"/>
          <c:order val="1"/>
          <c:tx>
            <c:strRef>
              <c:f>Sheet1!$C$1</c:f>
              <c:strCache>
                <c:ptCount val="1"/>
                <c:pt idx="0">
                  <c:v>bar</c:v>
                </c:pt>
              </c:strCache>
            </c:strRef>
          </c:tx>
          <c:spPr>
            <a:solidFill>
              <a:schemeClr val="bg2"/>
            </a:solidFill>
            <a:ln>
              <a:noFill/>
            </a:ln>
            <a:effectLst/>
          </c:spPr>
          <c:invertIfNegative val="0"/>
          <c:dLbls>
            <c:dLbl>
              <c:idx val="0"/>
              <c:tx>
                <c:rich>
                  <a:bodyPr/>
                  <a:lstStyle/>
                  <a:p>
                    <a:fld id="{429FB532-EDCF-426D-AEC7-55331E15546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6F3F-4891-A588-66FCA4279EF0}"/>
                </c:ext>
              </c:extLst>
            </c:dLbl>
            <c:dLbl>
              <c:idx val="1"/>
              <c:tx>
                <c:rich>
                  <a:bodyPr/>
                  <a:lstStyle/>
                  <a:p>
                    <a:fld id="{6AFF06C7-517F-422B-887D-2BDB66A01D1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6F3F-4891-A588-66FCA4279EF0}"/>
                </c:ext>
              </c:extLst>
            </c:dLbl>
            <c:dLbl>
              <c:idx val="2"/>
              <c:delete val="1"/>
              <c:extLst>
                <c:ext xmlns:c15="http://schemas.microsoft.com/office/drawing/2012/chart" uri="{CE6537A1-D6FC-4f65-9D91-7224C49458BB}"/>
                <c:ext xmlns:c16="http://schemas.microsoft.com/office/drawing/2014/chart" uri="{C3380CC4-5D6E-409C-BE32-E72D297353CC}">
                  <c16:uniqueId val="{00000002-6F3F-4891-A588-66FCA4279EF0}"/>
                </c:ext>
              </c:extLst>
            </c:dLbl>
            <c:dLbl>
              <c:idx val="3"/>
              <c:tx>
                <c:rich>
                  <a:bodyPr/>
                  <a:lstStyle/>
                  <a:p>
                    <a:fld id="{6002E846-6FE7-435D-8EE7-2B9145E1F51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6F3F-4891-A588-66FCA4279EF0}"/>
                </c:ext>
              </c:extLst>
            </c:dLbl>
            <c:dLbl>
              <c:idx val="4"/>
              <c:tx>
                <c:rich>
                  <a:bodyPr/>
                  <a:lstStyle/>
                  <a:p>
                    <a:fld id="{322A69E6-F625-45CF-AC7E-CFF6A75798E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6F3F-4891-A588-66FCA4279EF0}"/>
                </c:ext>
              </c:extLst>
            </c:dLbl>
            <c:dLbl>
              <c:idx val="5"/>
              <c:tx>
                <c:rich>
                  <a:bodyPr/>
                  <a:lstStyle/>
                  <a:p>
                    <a:fld id="{6B90DFCA-4D0E-4D3B-A6E1-F1F46A27F33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6F3F-4891-A588-66FCA4279EF0}"/>
                </c:ext>
              </c:extLst>
            </c:dLbl>
            <c:dLbl>
              <c:idx val="6"/>
              <c:tx>
                <c:rich>
                  <a:bodyPr/>
                  <a:lstStyle/>
                  <a:p>
                    <a:fld id="{2317B86A-63D6-43D8-8CD5-798689526A1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6F3F-4891-A588-66FCA4279EF0}"/>
                </c:ext>
              </c:extLst>
            </c:dLbl>
            <c:dLbl>
              <c:idx val="7"/>
              <c:tx>
                <c:rich>
                  <a:bodyPr/>
                  <a:lstStyle/>
                  <a:p>
                    <a:fld id="{C63CC8EA-BDEA-4D9A-8EA0-1F34AB1C4EA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6F3F-4891-A588-66FCA4279EF0}"/>
                </c:ext>
              </c:extLst>
            </c:dLbl>
            <c:dLbl>
              <c:idx val="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6F3F-4891-A588-66FCA4279EF0}"/>
                </c:ext>
              </c:extLst>
            </c:dLbl>
            <c:dLbl>
              <c:idx val="9"/>
              <c:tx>
                <c:rich>
                  <a:bodyPr/>
                  <a:lstStyle/>
                  <a:p>
                    <a:fld id="{D08ECF06-13FB-4A7C-965E-6C8D0C97742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6F3F-4891-A588-66FCA4279EF0}"/>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6F3F-4891-A588-66FCA4279EF0}"/>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6F3F-4891-A588-66FCA4279EF0}"/>
                </c:ext>
              </c:extLst>
            </c:dLbl>
            <c:dLbl>
              <c:idx val="12"/>
              <c:tx>
                <c:rich>
                  <a:bodyPr/>
                  <a:lstStyle/>
                  <a:p>
                    <a:fld id="{FD0CBFB7-BC67-4A82-BAF0-F8D32DAFDF9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6F3F-4891-A588-66FCA4279EF0}"/>
                </c:ext>
              </c:extLst>
            </c:dLbl>
            <c:dLbl>
              <c:idx val="13"/>
              <c:tx>
                <c:rich>
                  <a:bodyPr/>
                  <a:lstStyle/>
                  <a:p>
                    <a:fld id="{E3F7F68A-27C0-45B3-B45C-7887E861BD3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6F3F-4891-A588-66FCA4279EF0}"/>
                </c:ext>
              </c:extLst>
            </c:dLbl>
            <c:dLbl>
              <c:idx val="1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6F3F-4891-A588-66FCA4279EF0}"/>
                </c:ext>
              </c:extLst>
            </c:dLbl>
            <c:dLbl>
              <c:idx val="15"/>
              <c:tx>
                <c:rich>
                  <a:bodyPr/>
                  <a:lstStyle/>
                  <a:p>
                    <a:fld id="{EF800AEF-E54B-4159-A2F9-A01399EE252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6F3F-4891-A588-66FCA4279EF0}"/>
                </c:ext>
              </c:extLst>
            </c:dLbl>
            <c:dLbl>
              <c:idx val="16"/>
              <c:tx>
                <c:rich>
                  <a:bodyPr/>
                  <a:lstStyle/>
                  <a:p>
                    <a:fld id="{EA8CC000-4AD7-4ED6-B9FD-1ED98B82DCB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6F3F-4891-A588-66FCA4279EF0}"/>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6F3F-4891-A588-66FCA4279EF0}"/>
                </c:ext>
              </c:extLst>
            </c:dLbl>
            <c:dLbl>
              <c:idx val="18"/>
              <c:tx>
                <c:rich>
                  <a:bodyPr/>
                  <a:lstStyle/>
                  <a:p>
                    <a:fld id="{D5012894-4DD2-4A21-8C58-135F5E81373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6F3F-4891-A588-66FCA4279EF0}"/>
                </c:ext>
              </c:extLst>
            </c:dLbl>
            <c:dLbl>
              <c:idx val="19"/>
              <c:tx>
                <c:rich>
                  <a:bodyPr/>
                  <a:lstStyle/>
                  <a:p>
                    <a:fld id="{AB4303AD-2C8B-406E-8C11-85154FC6CFE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6F3F-4891-A588-66FCA4279EF0}"/>
                </c:ext>
              </c:extLst>
            </c:dLbl>
            <c:dLbl>
              <c:idx val="20"/>
              <c:tx>
                <c:rich>
                  <a:bodyPr/>
                  <a:lstStyle/>
                  <a:p>
                    <a:fld id="{4ED3A88A-D208-49A5-8B51-89BC5DB3287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6F3F-4891-A588-66FCA4279EF0}"/>
                </c:ext>
              </c:extLst>
            </c:dLbl>
            <c:dLbl>
              <c:idx val="21"/>
              <c:tx>
                <c:rich>
                  <a:bodyPr/>
                  <a:lstStyle/>
                  <a:p>
                    <a:fld id="{B1A2EB13-B70C-4E36-ADC6-208C24DA7F4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6F3F-4891-A588-66FCA4279EF0}"/>
                </c:ext>
              </c:extLst>
            </c:dLbl>
            <c:dLbl>
              <c:idx val="22"/>
              <c:tx>
                <c:rich>
                  <a:bodyPr/>
                  <a:lstStyle/>
                  <a:p>
                    <a:fld id="{71172553-1DC7-463E-AC52-637CB5B9334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6F3F-4891-A588-66FCA4279EF0}"/>
                </c:ext>
              </c:extLst>
            </c:dLbl>
            <c:dLbl>
              <c:idx val="23"/>
              <c:tx>
                <c:rich>
                  <a:bodyPr/>
                  <a:lstStyle/>
                  <a:p>
                    <a:fld id="{39570667-D38A-40F2-A0E8-0FC212E93F0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6F3F-4891-A588-66FCA4279EF0}"/>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6F3F-4891-A588-66FCA4279EF0}"/>
                </c:ext>
              </c:extLst>
            </c:dLbl>
            <c:dLbl>
              <c:idx val="2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6F3F-4891-A588-66FCA4279EF0}"/>
                </c:ext>
              </c:extLst>
            </c:dLbl>
            <c:dLbl>
              <c:idx val="26"/>
              <c:tx>
                <c:rich>
                  <a:bodyPr/>
                  <a:lstStyle/>
                  <a:p>
                    <a:fld id="{139255E7-4C30-4790-9CCB-CC1201C3CC1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6F3F-4891-A588-66FCA4279EF0}"/>
                </c:ext>
              </c:extLst>
            </c:dLbl>
            <c:dLbl>
              <c:idx val="2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6F3F-4891-A588-66FCA4279EF0}"/>
                </c:ext>
              </c:extLst>
            </c:dLbl>
            <c:dLbl>
              <c:idx val="2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6F3F-4891-A588-66FCA4279EF0}"/>
                </c:ext>
              </c:extLst>
            </c:dLbl>
            <c:dLbl>
              <c:idx val="29"/>
              <c:tx>
                <c:rich>
                  <a:bodyPr/>
                  <a:lstStyle/>
                  <a:p>
                    <a:fld id="{FF4CD92F-9512-4BF9-97BD-CE9E977477C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6F3F-4891-A588-66FCA4279EF0}"/>
                </c:ext>
              </c:extLst>
            </c:dLbl>
            <c:dLbl>
              <c:idx val="30"/>
              <c:tx>
                <c:rich>
                  <a:bodyPr/>
                  <a:lstStyle/>
                  <a:p>
                    <a:fld id="{524B17CF-4B07-4A8B-859D-A33167C76D2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6F3F-4891-A588-66FCA4279EF0}"/>
                </c:ext>
              </c:extLst>
            </c:dLbl>
            <c:dLbl>
              <c:idx val="3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6F3F-4891-A588-66FCA4279EF0}"/>
                </c:ext>
              </c:extLst>
            </c:dLbl>
            <c:dLbl>
              <c:idx val="3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6F3F-4891-A588-66FCA4279EF0}"/>
                </c:ext>
              </c:extLst>
            </c:dLbl>
            <c:dLbl>
              <c:idx val="33"/>
              <c:tx>
                <c:rich>
                  <a:bodyPr/>
                  <a:lstStyle/>
                  <a:p>
                    <a:fld id="{56E83163-0F8C-462B-A090-8AB87B2F3D8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6F3F-4891-A588-66FCA4279EF0}"/>
                </c:ext>
              </c:extLst>
            </c:dLbl>
            <c:dLbl>
              <c:idx val="34"/>
              <c:tx>
                <c:rich>
                  <a:bodyPr/>
                  <a:lstStyle/>
                  <a:p>
                    <a:fld id="{89FB36CB-F51F-49EA-9A8A-02DE88631DC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6F3F-4891-A588-66FCA4279EF0}"/>
                </c:ext>
              </c:extLst>
            </c:dLbl>
            <c:dLbl>
              <c:idx val="35"/>
              <c:tx>
                <c:rich>
                  <a:bodyPr/>
                  <a:lstStyle/>
                  <a:p>
                    <a:fld id="{49136523-2995-4B40-9DA6-7037B497991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6F3F-4891-A588-66FCA4279EF0}"/>
                </c:ext>
              </c:extLst>
            </c:dLbl>
            <c:dLbl>
              <c:idx val="36"/>
              <c:tx>
                <c:rich>
                  <a:bodyPr/>
                  <a:lstStyle/>
                  <a:p>
                    <a:fld id="{B3083649-D116-40E2-89DC-38D57D16EBB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6F3F-4891-A588-66FCA4279EF0}"/>
                </c:ext>
              </c:extLst>
            </c:dLbl>
            <c:dLbl>
              <c:idx val="3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6F3F-4891-A588-66FCA4279EF0}"/>
                </c:ext>
              </c:extLst>
            </c:dLbl>
            <c:dLbl>
              <c:idx val="38"/>
              <c:tx>
                <c:rich>
                  <a:bodyPr/>
                  <a:lstStyle/>
                  <a:p>
                    <a:fld id="{2C9EB676-DFF7-46D7-ABF4-3F94731218D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6F3F-4891-A588-66FCA4279EF0}"/>
                </c:ext>
              </c:extLst>
            </c:dLbl>
            <c:dLbl>
              <c:idx val="3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7-6F3F-4891-A588-66FCA4279EF0}"/>
                </c:ext>
              </c:extLst>
            </c:dLbl>
            <c:dLbl>
              <c:idx val="40"/>
              <c:tx>
                <c:rich>
                  <a:bodyPr/>
                  <a:lstStyle/>
                  <a:p>
                    <a:fld id="{AA30128D-7AB4-4C3D-BA4E-3C1F196B475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6F3F-4891-A588-66FCA4279EF0}"/>
                </c:ext>
              </c:extLst>
            </c:dLbl>
            <c:dLbl>
              <c:idx val="41"/>
              <c:tx>
                <c:rich>
                  <a:bodyPr/>
                  <a:lstStyle/>
                  <a:p>
                    <a:fld id="{D738F1E6-7E9F-4378-8929-D6FBF85AE31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6F3F-4891-A588-66FCA4279EF0}"/>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6F3F-4891-A588-66FCA4279EF0}"/>
                </c:ext>
              </c:extLst>
            </c:dLbl>
            <c:dLbl>
              <c:idx val="4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B-6F3F-4891-A588-66FCA4279EF0}"/>
                </c:ext>
              </c:extLst>
            </c:dLbl>
            <c:dLbl>
              <c:idx val="44"/>
              <c:tx>
                <c:rich>
                  <a:bodyPr/>
                  <a:lstStyle/>
                  <a:p>
                    <a:fld id="{FE9B7369-4075-4B09-8A94-288C77698A7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6F3F-4891-A588-66FCA4279EF0}"/>
                </c:ext>
              </c:extLst>
            </c:dLbl>
            <c:dLbl>
              <c:idx val="45"/>
              <c:tx>
                <c:rich>
                  <a:bodyPr/>
                  <a:lstStyle/>
                  <a:p>
                    <a:fld id="{5AB995B7-C485-4AD4-812E-031FEEFB29E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6F3F-4891-A588-66FCA4279EF0}"/>
                </c:ext>
              </c:extLst>
            </c:dLbl>
            <c:dLbl>
              <c:idx val="46"/>
              <c:tx>
                <c:rich>
                  <a:bodyPr/>
                  <a:lstStyle/>
                  <a:p>
                    <a:fld id="{4F6B97A0-3D96-4367-A481-A8BFCD13AA2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6F3F-4891-A588-66FCA4279EF0}"/>
                </c:ext>
              </c:extLst>
            </c:dLbl>
            <c:dLbl>
              <c:idx val="47"/>
              <c:tx>
                <c:rich>
                  <a:bodyPr/>
                  <a:lstStyle/>
                  <a:p>
                    <a:fld id="{306C32F0-CF9D-4A36-86F3-005939B8AAA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6F3F-4891-A588-66FCA4279EF0}"/>
                </c:ext>
              </c:extLst>
            </c:dLbl>
            <c:dLbl>
              <c:idx val="48"/>
              <c:tx>
                <c:rich>
                  <a:bodyPr/>
                  <a:lstStyle/>
                  <a:p>
                    <a:fld id="{7F1F3853-5F25-4DC5-B428-5A5091262AA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6F3F-4891-A588-66FCA4279EF0}"/>
                </c:ext>
              </c:extLst>
            </c:dLbl>
            <c:dLbl>
              <c:idx val="4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1-6F3F-4891-A588-66FCA4279EF0}"/>
                </c:ext>
              </c:extLst>
            </c:dLbl>
            <c:dLbl>
              <c:idx val="5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2-6F3F-4891-A588-66FCA4279EF0}"/>
                </c:ext>
              </c:extLst>
            </c:dLbl>
            <c:dLbl>
              <c:idx val="51"/>
              <c:tx>
                <c:rich>
                  <a:bodyPr/>
                  <a:lstStyle/>
                  <a:p>
                    <a:fld id="{04A6691F-BFDA-4CE8-96F4-B6BDC7CE85E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6F3F-4891-A588-66FCA4279EF0}"/>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C$2:$C$53</c:f>
              <c:numCache>
                <c:formatCode>0%</c:formatCode>
                <c:ptCount val="52"/>
                <c:pt idx="0">
                  <c:v>1</c:v>
                </c:pt>
                <c:pt idx="1">
                  <c:v>1</c:v>
                </c:pt>
                <c:pt idx="2">
                  <c:v>1</c:v>
                </c:pt>
                <c:pt idx="3">
                  <c:v>1</c:v>
                </c:pt>
                <c:pt idx="4">
                  <c:v>1</c:v>
                </c:pt>
                <c:pt idx="5">
                  <c:v>1</c:v>
                </c:pt>
                <c:pt idx="6">
                  <c:v>1</c:v>
                </c:pt>
                <c:pt idx="7">
                  <c:v>1</c:v>
                </c:pt>
                <c:pt idx="8">
                  <c:v>#N/A</c:v>
                </c:pt>
                <c:pt idx="9">
                  <c:v>1</c:v>
                </c:pt>
                <c:pt idx="10">
                  <c:v>#N/A</c:v>
                </c:pt>
                <c:pt idx="11">
                  <c:v>#N/A</c:v>
                </c:pt>
                <c:pt idx="12">
                  <c:v>1</c:v>
                </c:pt>
                <c:pt idx="13">
                  <c:v>1</c:v>
                </c:pt>
                <c:pt idx="14">
                  <c:v>#N/A</c:v>
                </c:pt>
                <c:pt idx="15">
                  <c:v>1</c:v>
                </c:pt>
                <c:pt idx="16">
                  <c:v>1</c:v>
                </c:pt>
                <c:pt idx="17">
                  <c:v>#N/A</c:v>
                </c:pt>
                <c:pt idx="18">
                  <c:v>1</c:v>
                </c:pt>
                <c:pt idx="19">
                  <c:v>1</c:v>
                </c:pt>
                <c:pt idx="20">
                  <c:v>1</c:v>
                </c:pt>
                <c:pt idx="21">
                  <c:v>1</c:v>
                </c:pt>
                <c:pt idx="22">
                  <c:v>1</c:v>
                </c:pt>
                <c:pt idx="23">
                  <c:v>1</c:v>
                </c:pt>
                <c:pt idx="24">
                  <c:v>#N/A</c:v>
                </c:pt>
                <c:pt idx="25">
                  <c:v>#N/A</c:v>
                </c:pt>
                <c:pt idx="26">
                  <c:v>1</c:v>
                </c:pt>
                <c:pt idx="27">
                  <c:v>#N/A</c:v>
                </c:pt>
                <c:pt idx="28">
                  <c:v>#N/A</c:v>
                </c:pt>
                <c:pt idx="29">
                  <c:v>1</c:v>
                </c:pt>
                <c:pt idx="30">
                  <c:v>1</c:v>
                </c:pt>
                <c:pt idx="31">
                  <c:v>#N/A</c:v>
                </c:pt>
                <c:pt idx="32">
                  <c:v>#N/A</c:v>
                </c:pt>
                <c:pt idx="33">
                  <c:v>1</c:v>
                </c:pt>
                <c:pt idx="34">
                  <c:v>1</c:v>
                </c:pt>
                <c:pt idx="35">
                  <c:v>1</c:v>
                </c:pt>
                <c:pt idx="36">
                  <c:v>1</c:v>
                </c:pt>
                <c:pt idx="37">
                  <c:v>#N/A</c:v>
                </c:pt>
                <c:pt idx="38">
                  <c:v>1</c:v>
                </c:pt>
                <c:pt idx="39">
                  <c:v>#N/A</c:v>
                </c:pt>
                <c:pt idx="40">
                  <c:v>1</c:v>
                </c:pt>
                <c:pt idx="41">
                  <c:v>1</c:v>
                </c:pt>
                <c:pt idx="42">
                  <c:v>#N/A</c:v>
                </c:pt>
                <c:pt idx="43">
                  <c:v>#N/A</c:v>
                </c:pt>
                <c:pt idx="44">
                  <c:v>1</c:v>
                </c:pt>
                <c:pt idx="45">
                  <c:v>1</c:v>
                </c:pt>
                <c:pt idx="46">
                  <c:v>1</c:v>
                </c:pt>
                <c:pt idx="47">
                  <c:v>1</c:v>
                </c:pt>
                <c:pt idx="48">
                  <c:v>1</c:v>
                </c:pt>
                <c:pt idx="49">
                  <c:v>#N/A</c:v>
                </c:pt>
                <c:pt idx="50">
                  <c:v>#N/A</c:v>
                </c:pt>
                <c:pt idx="51">
                  <c:v>1</c:v>
                </c:pt>
              </c:numCache>
            </c:numRef>
          </c:val>
          <c:extLst>
            <c:ext xmlns:c15="http://schemas.microsoft.com/office/drawing/2012/chart" uri="{02D57815-91ED-43cb-92C2-25804820EDAC}">
              <c15:datalabelsRange>
                <c15:f>Sheet1!$G$2:$G$53</c15:f>
                <c15:dlblRangeCache>
                  <c:ptCount val="52"/>
                  <c:pt idx="2">
                    <c:v>244%</c:v>
                  </c:pt>
                  <c:pt idx="45">
                    <c:v>209%</c:v>
                  </c:pt>
                </c15:dlblRangeCache>
              </c15:datalabelsRange>
            </c:ext>
            <c:ext xmlns:c16="http://schemas.microsoft.com/office/drawing/2014/chart" uri="{C3380CC4-5D6E-409C-BE32-E72D297353CC}">
              <c16:uniqueId val="{00000034-6F3F-4891-A588-66FCA4279EF0}"/>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bubble</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B$2:$B$53</c:f>
              <c:numCache>
                <c:formatCode>0%</c:formatCode>
                <c:ptCount val="52"/>
                <c:pt idx="0">
                  <c:v>0.83149283462587276</c:v>
                </c:pt>
                <c:pt idx="1">
                  <c:v>1.6315180743925193</c:v>
                </c:pt>
                <c:pt idx="2">
                  <c:v>2.4439356076015577</c:v>
                </c:pt>
                <c:pt idx="3">
                  <c:v>0.77292587642644184</c:v>
                </c:pt>
                <c:pt idx="4">
                  <c:v>0.74765866355299326</c:v>
                </c:pt>
                <c:pt idx="5">
                  <c:v>0.98081754103558449</c:v>
                </c:pt>
                <c:pt idx="6">
                  <c:v>0.70833026532165033</c:v>
                </c:pt>
                <c:pt idx="7">
                  <c:v>0.84407908755481287</c:v>
                </c:pt>
                <c:pt idx="8">
                  <c:v>#N/A</c:v>
                </c:pt>
                <c:pt idx="9">
                  <c:v>#N/A</c:v>
                </c:pt>
                <c:pt idx="10">
                  <c:v>#N/A</c:v>
                </c:pt>
                <c:pt idx="11">
                  <c:v>#N/A</c:v>
                </c:pt>
                <c:pt idx="12">
                  <c:v>#N/A</c:v>
                </c:pt>
                <c:pt idx="13">
                  <c:v>#N/A</c:v>
                </c:pt>
                <c:pt idx="14">
                  <c:v>#N/A</c:v>
                </c:pt>
                <c:pt idx="15">
                  <c:v>0.8725708042279976</c:v>
                </c:pt>
                <c:pt idx="16">
                  <c:v>0.4577243728236281</c:v>
                </c:pt>
                <c:pt idx="17">
                  <c:v>#N/A</c:v>
                </c:pt>
                <c:pt idx="18">
                  <c:v>0.15218560397131825</c:v>
                </c:pt>
                <c:pt idx="19">
                  <c:v>0.3636835009851706</c:v>
                </c:pt>
                <c:pt idx="20">
                  <c:v>0.23195425066291811</c:v>
                </c:pt>
                <c:pt idx="21">
                  <c:v>0.85483845584879525</c:v>
                </c:pt>
                <c:pt idx="22">
                  <c:v>0.3003459533206646</c:v>
                </c:pt>
                <c:pt idx="23">
                  <c:v>0.33698879958684352</c:v>
                </c:pt>
                <c:pt idx="24">
                  <c:v>#N/A</c:v>
                </c:pt>
                <c:pt idx="25">
                  <c:v>#N/A</c:v>
                </c:pt>
                <c:pt idx="26">
                  <c:v>0.47679126329628302</c:v>
                </c:pt>
                <c:pt idx="27">
                  <c:v>#N/A</c:v>
                </c:pt>
                <c:pt idx="28">
                  <c:v>#N/A</c:v>
                </c:pt>
                <c:pt idx="29">
                  <c:v>0.86927040954705725</c:v>
                </c:pt>
                <c:pt idx="30">
                  <c:v>7.1587946883100939E-2</c:v>
                </c:pt>
                <c:pt idx="31">
                  <c:v>#N/A</c:v>
                </c:pt>
                <c:pt idx="32">
                  <c:v>#N/A</c:v>
                </c:pt>
                <c:pt idx="33">
                  <c:v>0.91374133318774908</c:v>
                </c:pt>
                <c:pt idx="34">
                  <c:v>#N/A</c:v>
                </c:pt>
                <c:pt idx="35">
                  <c:v>#N/A</c:v>
                </c:pt>
                <c:pt idx="36">
                  <c:v>#N/A</c:v>
                </c:pt>
                <c:pt idx="37">
                  <c:v>#N/A</c:v>
                </c:pt>
                <c:pt idx="38">
                  <c:v>0.2039582880232598</c:v>
                </c:pt>
                <c:pt idx="39">
                  <c:v>#N/A</c:v>
                </c:pt>
                <c:pt idx="40">
                  <c:v>0.81834423418520841</c:v>
                </c:pt>
                <c:pt idx="41">
                  <c:v>0.24170478834974729</c:v>
                </c:pt>
                <c:pt idx="42">
                  <c:v>#N/A</c:v>
                </c:pt>
                <c:pt idx="43">
                  <c:v>#N/A</c:v>
                </c:pt>
                <c:pt idx="44">
                  <c:v>0.54761466764778022</c:v>
                </c:pt>
                <c:pt idx="45">
                  <c:v>2.0907701528318849</c:v>
                </c:pt>
                <c:pt idx="46">
                  <c:v>0.32255425519827291</c:v>
                </c:pt>
                <c:pt idx="47">
                  <c:v>0.60169518129022137</c:v>
                </c:pt>
                <c:pt idx="48">
                  <c:v>#N/A</c:v>
                </c:pt>
                <c:pt idx="49">
                  <c:v>#N/A</c:v>
                </c:pt>
                <c:pt idx="50">
                  <c:v>#N/A</c:v>
                </c:pt>
                <c:pt idx="51">
                  <c:v>0.47447486087432045</c:v>
                </c:pt>
              </c:numCache>
            </c:numRef>
          </c:val>
          <c:smooth val="0"/>
          <c:extLst>
            <c:ext xmlns:c16="http://schemas.microsoft.com/office/drawing/2014/chart" uri="{C3380CC4-5D6E-409C-BE32-E72D297353CC}">
              <c16:uniqueId val="{00000035-6F3F-4891-A588-66FCA4279EF0}"/>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N/A</c:v>
                </c:pt>
                <c:pt idx="1">
                  <c:v>#N/A</c:v>
                </c:pt>
                <c:pt idx="2">
                  <c:v>1</c:v>
                </c:pt>
                <c:pt idx="3">
                  <c:v>1</c:v>
                </c:pt>
                <c:pt idx="4">
                  <c:v>1</c:v>
                </c:pt>
                <c:pt idx="5">
                  <c:v>1</c:v>
                </c:pt>
                <c:pt idx="6">
                  <c:v>1</c:v>
                </c:pt>
                <c:pt idx="7">
                  <c:v>1</c:v>
                </c:pt>
                <c:pt idx="8">
                  <c:v>1</c:v>
                </c:pt>
                <c:pt idx="9">
                  <c:v>1</c:v>
                </c:pt>
                <c:pt idx="10">
                  <c:v>1</c:v>
                </c:pt>
                <c:pt idx="11">
                  <c:v>1</c:v>
                </c:pt>
                <c:pt idx="12">
                  <c:v>1</c:v>
                </c:pt>
                <c:pt idx="13">
                  <c:v>1</c:v>
                </c:pt>
                <c:pt idx="14">
                  <c:v>1</c:v>
                </c:pt>
                <c:pt idx="15">
                  <c:v>#N/A</c:v>
                </c:pt>
                <c:pt idx="16">
                  <c:v>#N/A</c:v>
                </c:pt>
                <c:pt idx="17">
                  <c:v>#N/A</c:v>
                </c:pt>
                <c:pt idx="18">
                  <c:v>#N/A</c:v>
                </c:pt>
                <c:pt idx="19">
                  <c:v>#N/A</c:v>
                </c:pt>
                <c:pt idx="20">
                  <c:v>#N/A</c:v>
                </c:pt>
                <c:pt idx="21">
                  <c:v>#N/A</c:v>
                </c:pt>
                <c:pt idx="22">
                  <c:v>1</c:v>
                </c:pt>
                <c:pt idx="23">
                  <c:v>1</c:v>
                </c:pt>
                <c:pt idx="24">
                  <c:v>1</c:v>
                </c:pt>
                <c:pt idx="25">
                  <c:v>#N/A</c:v>
                </c:pt>
                <c:pt idx="26">
                  <c:v>#N/A</c:v>
                </c:pt>
                <c:pt idx="27">
                  <c:v>#N/A</c:v>
                </c:pt>
                <c:pt idx="28">
                  <c:v>#N/A</c:v>
                </c:pt>
                <c:pt idx="29">
                  <c:v>#N/A</c:v>
                </c:pt>
                <c:pt idx="30">
                  <c:v>#N/A</c:v>
                </c:pt>
                <c:pt idx="31">
                  <c:v>#N/A</c:v>
                </c:pt>
                <c:pt idx="32">
                  <c:v>#N/A</c:v>
                </c:pt>
                <c:pt idx="33">
                  <c:v>#N/A</c:v>
                </c:pt>
                <c:pt idx="34">
                  <c:v>1</c:v>
                </c:pt>
                <c:pt idx="35">
                  <c:v>#N/A</c:v>
                </c:pt>
                <c:pt idx="36">
                  <c:v>#N/A</c:v>
                </c:pt>
                <c:pt idx="37">
                  <c:v>#N/A</c:v>
                </c:pt>
                <c:pt idx="38">
                  <c:v>#N/A</c:v>
                </c:pt>
                <c:pt idx="39">
                  <c:v>1</c:v>
                </c:pt>
                <c:pt idx="40">
                  <c:v>1</c:v>
                </c:pt>
                <c:pt idx="41">
                  <c:v>1</c:v>
                </c:pt>
                <c:pt idx="42">
                  <c:v>1</c:v>
                </c:pt>
                <c:pt idx="43">
                  <c:v>1</c:v>
                </c:pt>
                <c:pt idx="44">
                  <c:v>#N/A</c:v>
                </c:pt>
                <c:pt idx="45">
                  <c:v>#N/A</c:v>
                </c:pt>
                <c:pt idx="46">
                  <c:v>#N/A</c:v>
                </c:pt>
                <c:pt idx="47">
                  <c:v>#N/A</c:v>
                </c:pt>
                <c:pt idx="48">
                  <c:v>#N/A</c:v>
                </c:pt>
                <c:pt idx="49">
                  <c:v>#N/A</c:v>
                </c:pt>
                <c:pt idx="50">
                  <c:v>#N/A</c:v>
                </c:pt>
                <c:pt idx="51">
                  <c:v>#N/A</c:v>
                </c:pt>
              </c:numCache>
            </c:numRef>
          </c:val>
          <c:extLst>
            <c:ext xmlns:c16="http://schemas.microsoft.com/office/drawing/2014/chart" uri="{C3380CC4-5D6E-409C-BE32-E72D297353CC}">
              <c16:uniqueId val="{00000000-3553-47F7-9D8D-B7ECA91FF30F}"/>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N/A</c:v>
                </c:pt>
                <c:pt idx="1">
                  <c:v>#N/A</c:v>
                </c:pt>
                <c:pt idx="2">
                  <c:v>0.11367872175570121</c:v>
                </c:pt>
                <c:pt idx="3">
                  <c:v>0.12132533378739771</c:v>
                </c:pt>
                <c:pt idx="4">
                  <c:v>0.2148614964962611</c:v>
                </c:pt>
                <c:pt idx="5">
                  <c:v>0.17336822212530892</c:v>
                </c:pt>
                <c:pt idx="6">
                  <c:v>0.16371495760272436</c:v>
                </c:pt>
                <c:pt idx="7">
                  <c:v>0.359005905511811</c:v>
                </c:pt>
                <c:pt idx="8">
                  <c:v>0.35807339627396623</c:v>
                </c:pt>
                <c:pt idx="9">
                  <c:v>0.3262485253637436</c:v>
                </c:pt>
                <c:pt idx="10">
                  <c:v>0.18571348293560108</c:v>
                </c:pt>
                <c:pt idx="11">
                  <c:v>0.14821256608297467</c:v>
                </c:pt>
                <c:pt idx="12">
                  <c:v>0.11874984490930296</c:v>
                </c:pt>
                <c:pt idx="13">
                  <c:v>0.26535114062005177</c:v>
                </c:pt>
                <c:pt idx="14">
                  <c:v>#N/A</c:v>
                </c:pt>
                <c:pt idx="15">
                  <c:v>#N/A</c:v>
                </c:pt>
                <c:pt idx="16">
                  <c:v>#N/A</c:v>
                </c:pt>
                <c:pt idx="17">
                  <c:v>#N/A</c:v>
                </c:pt>
                <c:pt idx="18">
                  <c:v>#N/A</c:v>
                </c:pt>
                <c:pt idx="19">
                  <c:v>#N/A</c:v>
                </c:pt>
                <c:pt idx="20">
                  <c:v>#N/A</c:v>
                </c:pt>
                <c:pt idx="21">
                  <c:v>#N/A</c:v>
                </c:pt>
                <c:pt idx="22">
                  <c:v>0.40337942434339991</c:v>
                </c:pt>
                <c:pt idx="23">
                  <c:v>0.48057218130862606</c:v>
                </c:pt>
                <c:pt idx="24">
                  <c:v>8.1719681066375477E-2</c:v>
                </c:pt>
                <c:pt idx="25">
                  <c:v>#N/A</c:v>
                </c:pt>
                <c:pt idx="26">
                  <c:v>#N/A</c:v>
                </c:pt>
                <c:pt idx="27">
                  <c:v>#N/A</c:v>
                </c:pt>
                <c:pt idx="28">
                  <c:v>#N/A</c:v>
                </c:pt>
                <c:pt idx="29">
                  <c:v>#N/A</c:v>
                </c:pt>
                <c:pt idx="30">
                  <c:v>#N/A</c:v>
                </c:pt>
                <c:pt idx="31">
                  <c:v>#N/A</c:v>
                </c:pt>
                <c:pt idx="32">
                  <c:v>#N/A</c:v>
                </c:pt>
                <c:pt idx="33">
                  <c:v>#N/A</c:v>
                </c:pt>
                <c:pt idx="34">
                  <c:v>0.14244945048272512</c:v>
                </c:pt>
                <c:pt idx="35">
                  <c:v>#N/A</c:v>
                </c:pt>
                <c:pt idx="36">
                  <c:v>#N/A</c:v>
                </c:pt>
                <c:pt idx="37">
                  <c:v>#N/A</c:v>
                </c:pt>
                <c:pt idx="38">
                  <c:v>#N/A</c:v>
                </c:pt>
                <c:pt idx="39">
                  <c:v>#N/A</c:v>
                </c:pt>
                <c:pt idx="40">
                  <c:v>#N/A</c:v>
                </c:pt>
                <c:pt idx="41">
                  <c:v>0.47272657381187294</c:v>
                </c:pt>
                <c:pt idx="42">
                  <c:v>0.62001930605459321</c:v>
                </c:pt>
                <c:pt idx="43">
                  <c:v>0.40657862283907709</c:v>
                </c:pt>
                <c:pt idx="44">
                  <c:v>#N/A</c:v>
                </c:pt>
                <c:pt idx="45">
                  <c:v>#N/A</c:v>
                </c:pt>
                <c:pt idx="46">
                  <c:v>#N/A</c:v>
                </c:pt>
                <c:pt idx="47">
                  <c:v>#N/A</c:v>
                </c:pt>
                <c:pt idx="48">
                  <c:v>#N/A</c:v>
                </c:pt>
                <c:pt idx="49">
                  <c:v>#N/A</c:v>
                </c:pt>
                <c:pt idx="50">
                  <c:v>#N/A</c:v>
                </c:pt>
                <c:pt idx="51">
                  <c:v>#N/A</c:v>
                </c:pt>
              </c:numCache>
            </c:numRef>
          </c:val>
          <c:smooth val="0"/>
          <c:extLst>
            <c:ext xmlns:c16="http://schemas.microsoft.com/office/drawing/2014/chart" uri="{C3380CC4-5D6E-409C-BE32-E72D297353CC}">
              <c16:uniqueId val="{00000001-3553-47F7-9D8D-B7ECA91FF30F}"/>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434A03BC-EC23-4523-9861-DC82B9C45AA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AFCA-4943-AA4B-9818CF1C0054}"/>
                </c:ext>
              </c:extLst>
            </c:dLbl>
            <c:dLbl>
              <c:idx val="1"/>
              <c:tx>
                <c:rich>
                  <a:bodyPr/>
                  <a:lstStyle/>
                  <a:p>
                    <a:fld id="{73E1E901-FF00-47BD-8563-B4DAEEB6BA7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AFCA-4943-AA4B-9818CF1C0054}"/>
                </c:ext>
              </c:extLst>
            </c:dLbl>
            <c:dLbl>
              <c:idx val="2"/>
              <c:tx>
                <c:rich>
                  <a:bodyPr/>
                  <a:lstStyle/>
                  <a:p>
                    <a:fld id="{4AA3C7D1-E10C-4FE1-9E8A-E89EF1E5ECC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AFCA-4943-AA4B-9818CF1C0054}"/>
                </c:ext>
              </c:extLst>
            </c:dLbl>
            <c:dLbl>
              <c:idx val="3"/>
              <c:tx>
                <c:rich>
                  <a:bodyPr/>
                  <a:lstStyle/>
                  <a:p>
                    <a:fld id="{C4B8CBBD-E1D6-4179-B2D7-110804BDBF0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AFCA-4943-AA4B-9818CF1C0054}"/>
                </c:ext>
              </c:extLst>
            </c:dLbl>
            <c:dLbl>
              <c:idx val="4"/>
              <c:tx>
                <c:rich>
                  <a:bodyPr/>
                  <a:lstStyle/>
                  <a:p>
                    <a:fld id="{AE7A3809-A291-4B03-8D48-91DC41C9D15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AFCA-4943-AA4B-9818CF1C0054}"/>
                </c:ext>
              </c:extLst>
            </c:dLbl>
            <c:dLbl>
              <c:idx val="5"/>
              <c:tx>
                <c:rich>
                  <a:bodyPr/>
                  <a:lstStyle/>
                  <a:p>
                    <a:fld id="{E33DCD36-CBB9-4B7C-AB25-1F2339E78B5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AFCA-4943-AA4B-9818CF1C0054}"/>
                </c:ext>
              </c:extLst>
            </c:dLbl>
            <c:dLbl>
              <c:idx val="6"/>
              <c:tx>
                <c:rich>
                  <a:bodyPr/>
                  <a:lstStyle/>
                  <a:p>
                    <a:fld id="{168D1CDF-D05F-4D8E-9C10-C213B97BCAE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AFCA-4943-AA4B-9818CF1C0054}"/>
                </c:ext>
              </c:extLst>
            </c:dLbl>
            <c:dLbl>
              <c:idx val="7"/>
              <c:tx>
                <c:rich>
                  <a:bodyPr/>
                  <a:lstStyle/>
                  <a:p>
                    <a:fld id="{E04228E6-70BF-4FF6-8050-835DF1790FC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AFCA-4943-AA4B-9818CF1C0054}"/>
                </c:ext>
              </c:extLst>
            </c:dLbl>
            <c:dLbl>
              <c:idx val="8"/>
              <c:tx>
                <c:rich>
                  <a:bodyPr/>
                  <a:lstStyle/>
                  <a:p>
                    <a:fld id="{B2D70243-A7D4-4B12-A775-EDE7BCAA196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AFCA-4943-AA4B-9818CF1C0054}"/>
                </c:ext>
              </c:extLst>
            </c:dLbl>
            <c:dLbl>
              <c:idx val="9"/>
              <c:tx>
                <c:rich>
                  <a:bodyPr/>
                  <a:lstStyle/>
                  <a:p>
                    <a:fld id="{C26F1281-A3D2-49F6-9545-00C8B2BDCD1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AFCA-4943-AA4B-9818CF1C0054}"/>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AFCA-4943-AA4B-9818CF1C0054}"/>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AFCA-4943-AA4B-9818CF1C0054}"/>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AFCA-4943-AA4B-9818CF1C0054}"/>
                </c:ext>
              </c:extLst>
            </c:dLbl>
            <c:dLbl>
              <c:idx val="13"/>
              <c:tx>
                <c:rich>
                  <a:bodyPr/>
                  <a:lstStyle/>
                  <a:p>
                    <a:fld id="{9AC44FC6-E368-43E4-9B39-DF75A67B58B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AFCA-4943-AA4B-9818CF1C0054}"/>
                </c:ext>
              </c:extLst>
            </c:dLbl>
            <c:dLbl>
              <c:idx val="14"/>
              <c:tx>
                <c:rich>
                  <a:bodyPr/>
                  <a:lstStyle/>
                  <a:p>
                    <a:fld id="{DB340A56-BC29-4A6D-A57A-2D1CF0F64D4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AFCA-4943-AA4B-9818CF1C0054}"/>
                </c:ext>
              </c:extLst>
            </c:dLbl>
            <c:dLbl>
              <c:idx val="15"/>
              <c:tx>
                <c:rich>
                  <a:bodyPr/>
                  <a:lstStyle/>
                  <a:p>
                    <a:fld id="{D65F178F-B711-403E-8A24-6A07C97EE19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AFCA-4943-AA4B-9818CF1C0054}"/>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AFCA-4943-AA4B-9818CF1C0054}"/>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AFCA-4943-AA4B-9818CF1C0054}"/>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AFCA-4943-AA4B-9818CF1C0054}"/>
                </c:ext>
              </c:extLst>
            </c:dLbl>
            <c:dLbl>
              <c:idx val="19"/>
              <c:tx>
                <c:rich>
                  <a:bodyPr/>
                  <a:lstStyle/>
                  <a:p>
                    <a:fld id="{B42F4560-BE86-4890-83E0-D38F5621E48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AFCA-4943-AA4B-9818CF1C0054}"/>
                </c:ext>
              </c:extLst>
            </c:dLbl>
            <c:dLbl>
              <c:idx val="20"/>
              <c:tx>
                <c:rich>
                  <a:bodyPr/>
                  <a:lstStyle/>
                  <a:p>
                    <a:fld id="{2ACA9571-1908-4092-96D0-BAF90FDBFCF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AFCA-4943-AA4B-9818CF1C0054}"/>
                </c:ext>
              </c:extLst>
            </c:dLbl>
            <c:dLbl>
              <c:idx val="21"/>
              <c:tx>
                <c:rich>
                  <a:bodyPr/>
                  <a:lstStyle/>
                  <a:p>
                    <a:fld id="{76104DAD-A2AD-4F35-A449-347CD659F22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AFCA-4943-AA4B-9818CF1C0054}"/>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AFCA-4943-AA4B-9818CF1C0054}"/>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AFCA-4943-AA4B-9818CF1C0054}"/>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AFCA-4943-AA4B-9818CF1C0054}"/>
                </c:ext>
              </c:extLst>
            </c:dLbl>
            <c:dLbl>
              <c:idx val="25"/>
              <c:tx>
                <c:rich>
                  <a:bodyPr/>
                  <a:lstStyle/>
                  <a:p>
                    <a:fld id="{32EE4796-9399-4FF4-87C7-C3020160E54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AFCA-4943-AA4B-9818CF1C0054}"/>
                </c:ext>
              </c:extLst>
            </c:dLbl>
            <c:dLbl>
              <c:idx val="26"/>
              <c:tx>
                <c:rich>
                  <a:bodyPr/>
                  <a:lstStyle/>
                  <a:p>
                    <a:fld id="{E2C68C9E-9951-48C0-A4B6-9A29189A69D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AFCA-4943-AA4B-9818CF1C0054}"/>
                </c:ext>
              </c:extLst>
            </c:dLbl>
            <c:dLbl>
              <c:idx val="27"/>
              <c:tx>
                <c:rich>
                  <a:bodyPr/>
                  <a:lstStyle/>
                  <a:p>
                    <a:fld id="{45165FB8-873A-4BB6-AC29-57B0B52BF81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AFCA-4943-AA4B-9818CF1C0054}"/>
                </c:ext>
              </c:extLst>
            </c:dLbl>
            <c:dLbl>
              <c:idx val="28"/>
              <c:tx>
                <c:rich>
                  <a:bodyPr/>
                  <a:lstStyle/>
                  <a:p>
                    <a:fld id="{C31D6F13-B17F-49E7-9D18-97F348E3E0A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AFCA-4943-AA4B-9818CF1C0054}"/>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AFCA-4943-AA4B-9818CF1C0054}"/>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AFCA-4943-AA4B-9818CF1C0054}"/>
                </c:ext>
              </c:extLst>
            </c:dLbl>
            <c:dLbl>
              <c:idx val="31"/>
              <c:tx>
                <c:rich>
                  <a:bodyPr/>
                  <a:lstStyle/>
                  <a:p>
                    <a:fld id="{BDAD8C8B-852D-4D34-A8CF-54FFA94E361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AFCA-4943-AA4B-9818CF1C0054}"/>
                </c:ext>
              </c:extLst>
            </c:dLbl>
            <c:dLbl>
              <c:idx val="32"/>
              <c:tx>
                <c:rich>
                  <a:bodyPr/>
                  <a:lstStyle/>
                  <a:p>
                    <a:fld id="{04824A44-4C82-481D-9DE3-EEFFDF37C4F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AFCA-4943-AA4B-9818CF1C0054}"/>
                </c:ext>
              </c:extLst>
            </c:dLbl>
            <c:dLbl>
              <c:idx val="33"/>
              <c:tx>
                <c:rich>
                  <a:bodyPr/>
                  <a:lstStyle/>
                  <a:p>
                    <a:fld id="{B512A0C9-060F-4348-9A95-91ABADE33DC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AFCA-4943-AA4B-9818CF1C0054}"/>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AFCA-4943-AA4B-9818CF1C0054}"/>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AFCA-4943-AA4B-9818CF1C0054}"/>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AFCA-4943-AA4B-9818CF1C0054}"/>
                </c:ext>
              </c:extLst>
            </c:dLbl>
            <c:dLbl>
              <c:idx val="37"/>
              <c:tx>
                <c:rich>
                  <a:bodyPr/>
                  <a:lstStyle/>
                  <a:p>
                    <a:fld id="{19A7E4D3-667A-45EA-AABC-3B67D6219FA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AFCA-4943-AA4B-9818CF1C0054}"/>
                </c:ext>
              </c:extLst>
            </c:dLbl>
            <c:dLbl>
              <c:idx val="38"/>
              <c:tx>
                <c:rich>
                  <a:bodyPr/>
                  <a:lstStyle/>
                  <a:p>
                    <a:fld id="{51969DDA-E09F-406F-B06B-9383606F375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AFCA-4943-AA4B-9818CF1C0054}"/>
                </c:ext>
              </c:extLst>
            </c:dLbl>
            <c:dLbl>
              <c:idx val="39"/>
              <c:tx>
                <c:rich>
                  <a:bodyPr/>
                  <a:lstStyle/>
                  <a:p>
                    <a:fld id="{7F282820-46E3-45BC-AAFD-1D51FBBE820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AFCA-4943-AA4B-9818CF1C0054}"/>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AFCA-4943-AA4B-9818CF1C0054}"/>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AFCA-4943-AA4B-9818CF1C0054}"/>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AFCA-4943-AA4B-9818CF1C0054}"/>
                </c:ext>
              </c:extLst>
            </c:dLbl>
            <c:dLbl>
              <c:idx val="43"/>
              <c:tx>
                <c:rich>
                  <a:bodyPr/>
                  <a:lstStyle/>
                  <a:p>
                    <a:fld id="{CEC03173-CA82-4430-B85E-CE412E61EB3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AFCA-4943-AA4B-9818CF1C0054}"/>
                </c:ext>
              </c:extLst>
            </c:dLbl>
            <c:dLbl>
              <c:idx val="44"/>
              <c:tx>
                <c:rich>
                  <a:bodyPr/>
                  <a:lstStyle/>
                  <a:p>
                    <a:fld id="{94DFFC19-F6E2-4B22-B1FE-8D832B62281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AFCA-4943-AA4B-9818CF1C0054}"/>
                </c:ext>
              </c:extLst>
            </c:dLbl>
            <c:dLbl>
              <c:idx val="45"/>
              <c:tx>
                <c:rich>
                  <a:bodyPr/>
                  <a:lstStyle/>
                  <a:p>
                    <a:fld id="{B16591F2-E886-4780-A61A-004747441FE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AFCA-4943-AA4B-9818CF1C0054}"/>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AFCA-4943-AA4B-9818CF1C0054}"/>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AFCA-4943-AA4B-9818CF1C0054}"/>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AFCA-4943-AA4B-9818CF1C0054}"/>
                </c:ext>
              </c:extLst>
            </c:dLbl>
            <c:dLbl>
              <c:idx val="49"/>
              <c:tx>
                <c:rich>
                  <a:bodyPr/>
                  <a:lstStyle/>
                  <a:p>
                    <a:fld id="{F0DDFC03-90B2-48A5-AF2A-D85DB947261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AFCA-4943-AA4B-9818CF1C0054}"/>
                </c:ext>
              </c:extLst>
            </c:dLbl>
            <c:dLbl>
              <c:idx val="50"/>
              <c:tx>
                <c:rich>
                  <a:bodyPr/>
                  <a:lstStyle/>
                  <a:p>
                    <a:fld id="{18E49142-4047-4158-80A2-CFEC7F43D1A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AFCA-4943-AA4B-9818CF1C0054}"/>
                </c:ext>
              </c:extLst>
            </c:dLbl>
            <c:dLbl>
              <c:idx val="51"/>
              <c:tx>
                <c:rich>
                  <a:bodyPr/>
                  <a:lstStyle/>
                  <a:p>
                    <a:fld id="{39B26F2D-AB55-4DEC-9F51-39D7BFA4BAD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AFCA-4943-AA4B-9818CF1C0054}"/>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AFCA-4943-AA4B-9818CF1C0054}"/>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AFCA-4943-AA4B-9818CF1C0054}"/>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C$2:$C$53</c:f>
              <c:numCache>
                <c:formatCode>General</c:formatCode>
                <c:ptCount val="52"/>
                <c:pt idx="2" formatCode="0%">
                  <c:v>1</c:v>
                </c:pt>
                <c:pt idx="3" formatCode="0%">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22" formatCode="0%">
                  <c:v>1</c:v>
                </c:pt>
                <c:pt idx="23" formatCode="0%">
                  <c:v>1</c:v>
                </c:pt>
                <c:pt idx="24" formatCode="0%">
                  <c:v>1</c:v>
                </c:pt>
                <c:pt idx="34" formatCode="0%">
                  <c:v>1</c:v>
                </c:pt>
                <c:pt idx="39" formatCode="0%">
                  <c:v>1</c:v>
                </c:pt>
                <c:pt idx="40" formatCode="0%">
                  <c:v>1</c:v>
                </c:pt>
                <c:pt idx="41" formatCode="0%">
                  <c:v>1</c:v>
                </c:pt>
                <c:pt idx="42" formatCode="0%">
                  <c:v>1</c:v>
                </c:pt>
                <c:pt idx="43" formatCode="0%">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B$2:$B$53</c:f>
              <c:numCache>
                <c:formatCode>General</c:formatCode>
                <c:ptCount val="52"/>
                <c:pt idx="2" formatCode="0%">
                  <c:v>0.11367872175570121</c:v>
                </c:pt>
                <c:pt idx="3" formatCode="0%">
                  <c:v>0.12132533378739771</c:v>
                </c:pt>
                <c:pt idx="4" formatCode="0%">
                  <c:v>0.2148614964962611</c:v>
                </c:pt>
                <c:pt idx="5" formatCode="0%">
                  <c:v>0.17336822212530892</c:v>
                </c:pt>
                <c:pt idx="6" formatCode="0%">
                  <c:v>0.16371495760272436</c:v>
                </c:pt>
                <c:pt idx="7" formatCode="0%">
                  <c:v>0.359005905511811</c:v>
                </c:pt>
                <c:pt idx="8" formatCode="0%">
                  <c:v>0.35807339627396623</c:v>
                </c:pt>
                <c:pt idx="9" formatCode="0%">
                  <c:v>0.3262485253637436</c:v>
                </c:pt>
                <c:pt idx="10" formatCode="0%">
                  <c:v>0.18571348293560108</c:v>
                </c:pt>
                <c:pt idx="11" formatCode="0%">
                  <c:v>0.14821256608297467</c:v>
                </c:pt>
                <c:pt idx="12" formatCode="0%">
                  <c:v>0.11874984490930296</c:v>
                </c:pt>
                <c:pt idx="13" formatCode="0%">
                  <c:v>0.26535114062005177</c:v>
                </c:pt>
                <c:pt idx="22" formatCode="0%">
                  <c:v>0.40337942434339991</c:v>
                </c:pt>
                <c:pt idx="23" formatCode="0%">
                  <c:v>0.48057218130862606</c:v>
                </c:pt>
                <c:pt idx="24" formatCode="0%">
                  <c:v>8.1719681066375477E-2</c:v>
                </c:pt>
                <c:pt idx="34" formatCode="0%">
                  <c:v>0.14244945048272512</c:v>
                </c:pt>
                <c:pt idx="41" formatCode="0%">
                  <c:v>0.47272657381187294</c:v>
                </c:pt>
                <c:pt idx="42" formatCode="0%">
                  <c:v>0.62001930605459321</c:v>
                </c:pt>
                <c:pt idx="43" formatCode="0%">
                  <c:v>0.40657862283907709</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B24B8392-A900-4B13-B979-519785B56F6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FD6E598B-FDF1-466D-93FA-D6C12EB6869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A136E16E-C7B7-4195-9048-87D02CAB58D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9C9EE2F1-50C1-427E-BCCF-B544473BBB3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4DA471B3-7DFB-4E0A-984A-B89DD189170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83CB634C-7ED8-400F-A15A-36A2ED74518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BC81C0A8-C977-49FB-BE1F-99D62728F0C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D41AB723-2B78-4568-A88E-A3D5B5787F3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376A6CF2-C71B-4353-A155-282EF004E30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1A0F412A-FA6A-4B8F-BD2C-61F7BC2E0EC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77E-4F29-87DF-0FE64D0B037A}"/>
                </c:ext>
              </c:extLst>
            </c:dLbl>
            <c:dLbl>
              <c:idx val="13"/>
              <c:tx>
                <c:rich>
                  <a:bodyPr/>
                  <a:lstStyle/>
                  <a:p>
                    <a:fld id="{FB978C11-FDDB-4145-84D9-E46BDA6011F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CB9B6729-7C62-437B-AE96-2980A3CF07E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0BE1131D-2296-4CFC-8D1A-85848F3D365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B77E-4F29-87DF-0FE64D0B037A}"/>
                </c:ext>
              </c:extLst>
            </c:dLbl>
            <c:dLbl>
              <c:idx val="19"/>
              <c:tx>
                <c:rich>
                  <a:bodyPr/>
                  <a:lstStyle/>
                  <a:p>
                    <a:fld id="{8103A91B-0548-4F64-A851-62C3CA5D426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2A9933C4-069B-44D4-BADC-884BDC1AB8E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B8D0C62C-9D84-402A-A139-0053E7D2753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77E-4F29-87DF-0FE64D0B037A}"/>
                </c:ext>
              </c:extLst>
            </c:dLbl>
            <c:dLbl>
              <c:idx val="25"/>
              <c:tx>
                <c:rich>
                  <a:bodyPr/>
                  <a:lstStyle/>
                  <a:p>
                    <a:fld id="{EEE10EA7-2F46-41E0-B727-4659927BD39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381A2413-6BD0-4079-8C9A-481B6378603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77171F00-EB86-4328-82B1-A253971B9B0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65F2C9AB-FBE1-4475-8267-7D1C6EF7D48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B77E-4F29-87DF-0FE64D0B037A}"/>
                </c:ext>
              </c:extLst>
            </c:dLbl>
            <c:dLbl>
              <c:idx val="31"/>
              <c:tx>
                <c:rich>
                  <a:bodyPr/>
                  <a:lstStyle/>
                  <a:p>
                    <a:fld id="{3797D993-3437-4E3E-9172-1E30AB15C03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18B03B16-DC24-4A2F-90BF-B04EE35455E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43AC5E2C-2C6E-4B0A-B0A6-725B45459BA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397F4EA1-2B28-421A-A9AA-0038E7CD158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4EB640CF-4668-4E26-A835-FB7144E35BF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3D517965-DC9C-4FE5-9F3D-30F3967F199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B77E-4F29-87DF-0FE64D0B037A}"/>
                </c:ext>
              </c:extLst>
            </c:dLbl>
            <c:dLbl>
              <c:idx val="43"/>
              <c:tx>
                <c:rich>
                  <a:bodyPr/>
                  <a:lstStyle/>
                  <a:p>
                    <a:fld id="{5B93807C-D0E8-41E5-B352-72FA8D878EB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75E6D122-44CC-4DA8-91DB-166E340ACC0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EC82682B-471C-48F2-8F6D-70EF6A0662F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B77E-4F29-87DF-0FE64D0B037A}"/>
                </c:ext>
              </c:extLst>
            </c:dLbl>
            <c:dLbl>
              <c:idx val="49"/>
              <c:tx>
                <c:rich>
                  <a:bodyPr/>
                  <a:lstStyle/>
                  <a:p>
                    <a:fld id="{8DAE423A-3D64-4F9A-AEC7-47FFAC8645D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BA4B591C-F0A7-4E74-BA72-B381A8B5D86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943619FA-0CF8-4C50-937F-AA394ADE577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53849719672747E-4"/>
          <c:y val="6.0063696518519595E-2"/>
          <c:w val="0.95453953634144284"/>
          <c:h val="0.88878250476834464"/>
        </c:manualLayout>
      </c:layout>
      <c:barChart>
        <c:barDir val="col"/>
        <c:grouping val="percentStacked"/>
        <c:varyColors val="0"/>
        <c:ser>
          <c:idx val="1"/>
          <c:order val="1"/>
          <c:tx>
            <c:strRef>
              <c:f>Sheet1!$C$1</c:f>
              <c:strCache>
                <c:ptCount val="1"/>
                <c:pt idx="0">
                  <c:v>bar</c:v>
                </c:pt>
              </c:strCache>
            </c:strRef>
          </c:tx>
          <c:spPr>
            <a:solidFill>
              <a:schemeClr val="bg2"/>
            </a:solidFill>
            <a:ln>
              <a:noFill/>
            </a:ln>
            <a:effectLst/>
          </c:spPr>
          <c:invertIfNegative val="0"/>
          <c:dLbls>
            <c:dLbl>
              <c:idx val="0"/>
              <c:tx>
                <c:rich>
                  <a:bodyPr/>
                  <a:lstStyle/>
                  <a:p>
                    <a:fld id="{8FF41FF6-580C-4C78-A005-DD4B6D65220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6F3F-4891-A588-66FCA4279EF0}"/>
                </c:ext>
              </c:extLst>
            </c:dLbl>
            <c:dLbl>
              <c:idx val="1"/>
              <c:tx>
                <c:rich>
                  <a:bodyPr/>
                  <a:lstStyle/>
                  <a:p>
                    <a:fld id="{93FF1D76-49DE-426C-866B-DF36224FEF8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6F3F-4891-A588-66FCA4279EF0}"/>
                </c:ext>
              </c:extLst>
            </c:dLbl>
            <c:dLbl>
              <c:idx val="2"/>
              <c:delete val="1"/>
              <c:extLst>
                <c:ext xmlns:c15="http://schemas.microsoft.com/office/drawing/2012/chart" uri="{CE6537A1-D6FC-4f65-9D91-7224C49458BB}"/>
                <c:ext xmlns:c16="http://schemas.microsoft.com/office/drawing/2014/chart" uri="{C3380CC4-5D6E-409C-BE32-E72D297353CC}">
                  <c16:uniqueId val="{00000002-6F3F-4891-A588-66FCA4279EF0}"/>
                </c:ext>
              </c:extLst>
            </c:dLbl>
            <c:dLbl>
              <c:idx val="3"/>
              <c:tx>
                <c:rich>
                  <a:bodyPr/>
                  <a:lstStyle/>
                  <a:p>
                    <a:fld id="{B2A79AB1-7495-42C5-8BD5-414702F6004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6F3F-4891-A588-66FCA4279EF0}"/>
                </c:ext>
              </c:extLst>
            </c:dLbl>
            <c:dLbl>
              <c:idx val="4"/>
              <c:tx>
                <c:rich>
                  <a:bodyPr/>
                  <a:lstStyle/>
                  <a:p>
                    <a:fld id="{8BE30C77-4D1F-413E-9CC1-6121F8F32AD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6F3F-4891-A588-66FCA4279EF0}"/>
                </c:ext>
              </c:extLst>
            </c:dLbl>
            <c:dLbl>
              <c:idx val="5"/>
              <c:tx>
                <c:rich>
                  <a:bodyPr/>
                  <a:lstStyle/>
                  <a:p>
                    <a:fld id="{CFBC1D14-4A3B-4DDE-B73A-8D1749FB462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6F3F-4891-A588-66FCA4279EF0}"/>
                </c:ext>
              </c:extLst>
            </c:dLbl>
            <c:dLbl>
              <c:idx val="6"/>
              <c:tx>
                <c:rich>
                  <a:bodyPr/>
                  <a:lstStyle/>
                  <a:p>
                    <a:fld id="{9B4E6D3C-145E-490A-8898-84B4126E90A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6F3F-4891-A588-66FCA4279EF0}"/>
                </c:ext>
              </c:extLst>
            </c:dLbl>
            <c:dLbl>
              <c:idx val="7"/>
              <c:tx>
                <c:rich>
                  <a:bodyPr/>
                  <a:lstStyle/>
                  <a:p>
                    <a:fld id="{B0CC2FE9-9DDC-469B-83A9-9ED966D3F6C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6F3F-4891-A588-66FCA4279EF0}"/>
                </c:ext>
              </c:extLst>
            </c:dLbl>
            <c:dLbl>
              <c:idx val="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6F3F-4891-A588-66FCA4279EF0}"/>
                </c:ext>
              </c:extLst>
            </c:dLbl>
            <c:dLbl>
              <c:idx val="9"/>
              <c:tx>
                <c:rich>
                  <a:bodyPr/>
                  <a:lstStyle/>
                  <a:p>
                    <a:fld id="{6F701CA6-0BAC-47F6-A888-3C214DB92A7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6F3F-4891-A588-66FCA4279EF0}"/>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6F3F-4891-A588-66FCA4279EF0}"/>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6F3F-4891-A588-66FCA4279EF0}"/>
                </c:ext>
              </c:extLst>
            </c:dLbl>
            <c:dLbl>
              <c:idx val="12"/>
              <c:tx>
                <c:rich>
                  <a:bodyPr/>
                  <a:lstStyle/>
                  <a:p>
                    <a:fld id="{A257AA8C-A294-4A5B-86B9-838E82F902A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6F3F-4891-A588-66FCA4279EF0}"/>
                </c:ext>
              </c:extLst>
            </c:dLbl>
            <c:dLbl>
              <c:idx val="13"/>
              <c:tx>
                <c:rich>
                  <a:bodyPr/>
                  <a:lstStyle/>
                  <a:p>
                    <a:fld id="{26342C13-405B-424E-B91B-7E6E825D0EA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6F3F-4891-A588-66FCA4279EF0}"/>
                </c:ext>
              </c:extLst>
            </c:dLbl>
            <c:dLbl>
              <c:idx val="1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6F3F-4891-A588-66FCA4279EF0}"/>
                </c:ext>
              </c:extLst>
            </c:dLbl>
            <c:dLbl>
              <c:idx val="15"/>
              <c:tx>
                <c:rich>
                  <a:bodyPr/>
                  <a:lstStyle/>
                  <a:p>
                    <a:fld id="{0F3F093B-5F99-4129-8556-1B4B2A0A006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6F3F-4891-A588-66FCA4279EF0}"/>
                </c:ext>
              </c:extLst>
            </c:dLbl>
            <c:dLbl>
              <c:idx val="16"/>
              <c:tx>
                <c:rich>
                  <a:bodyPr/>
                  <a:lstStyle/>
                  <a:p>
                    <a:fld id="{B0E79778-38E8-4F93-AE1A-23D34853667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6F3F-4891-A588-66FCA4279EF0}"/>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6F3F-4891-A588-66FCA4279EF0}"/>
                </c:ext>
              </c:extLst>
            </c:dLbl>
            <c:dLbl>
              <c:idx val="18"/>
              <c:tx>
                <c:rich>
                  <a:bodyPr/>
                  <a:lstStyle/>
                  <a:p>
                    <a:fld id="{8669523E-7872-4BD4-97F1-E2595E208D7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6F3F-4891-A588-66FCA4279EF0}"/>
                </c:ext>
              </c:extLst>
            </c:dLbl>
            <c:dLbl>
              <c:idx val="19"/>
              <c:tx>
                <c:rich>
                  <a:bodyPr/>
                  <a:lstStyle/>
                  <a:p>
                    <a:fld id="{352FAB86-6A8B-4EDB-98E8-CF37C6BF3B3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6F3F-4891-A588-66FCA4279EF0}"/>
                </c:ext>
              </c:extLst>
            </c:dLbl>
            <c:dLbl>
              <c:idx val="20"/>
              <c:tx>
                <c:rich>
                  <a:bodyPr/>
                  <a:lstStyle/>
                  <a:p>
                    <a:fld id="{155E666F-DC96-42D2-8786-FC717F80B29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6F3F-4891-A588-66FCA4279EF0}"/>
                </c:ext>
              </c:extLst>
            </c:dLbl>
            <c:dLbl>
              <c:idx val="21"/>
              <c:tx>
                <c:rich>
                  <a:bodyPr/>
                  <a:lstStyle/>
                  <a:p>
                    <a:fld id="{D209FCA0-B0CB-442F-AAF5-6AF6423843B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6F3F-4891-A588-66FCA4279EF0}"/>
                </c:ext>
              </c:extLst>
            </c:dLbl>
            <c:dLbl>
              <c:idx val="22"/>
              <c:tx>
                <c:rich>
                  <a:bodyPr/>
                  <a:lstStyle/>
                  <a:p>
                    <a:fld id="{135B2C92-2DA0-409A-83E3-FA01DA8B1B3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6F3F-4891-A588-66FCA4279EF0}"/>
                </c:ext>
              </c:extLst>
            </c:dLbl>
            <c:dLbl>
              <c:idx val="23"/>
              <c:tx>
                <c:rich>
                  <a:bodyPr/>
                  <a:lstStyle/>
                  <a:p>
                    <a:fld id="{CAAF15ED-BF77-4E87-A601-EE05AB36CA0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6F3F-4891-A588-66FCA4279EF0}"/>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6F3F-4891-A588-66FCA4279EF0}"/>
                </c:ext>
              </c:extLst>
            </c:dLbl>
            <c:dLbl>
              <c:idx val="2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6F3F-4891-A588-66FCA4279EF0}"/>
                </c:ext>
              </c:extLst>
            </c:dLbl>
            <c:dLbl>
              <c:idx val="26"/>
              <c:tx>
                <c:rich>
                  <a:bodyPr/>
                  <a:lstStyle/>
                  <a:p>
                    <a:fld id="{6B5DB9FB-BF1E-4D45-A0E8-C33E4ECAE80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6F3F-4891-A588-66FCA4279EF0}"/>
                </c:ext>
              </c:extLst>
            </c:dLbl>
            <c:dLbl>
              <c:idx val="2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6F3F-4891-A588-66FCA4279EF0}"/>
                </c:ext>
              </c:extLst>
            </c:dLbl>
            <c:dLbl>
              <c:idx val="2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6F3F-4891-A588-66FCA4279EF0}"/>
                </c:ext>
              </c:extLst>
            </c:dLbl>
            <c:dLbl>
              <c:idx val="29"/>
              <c:tx>
                <c:rich>
                  <a:bodyPr/>
                  <a:lstStyle/>
                  <a:p>
                    <a:fld id="{39097EE0-D8EF-45F2-9F41-57179506A06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6F3F-4891-A588-66FCA4279EF0}"/>
                </c:ext>
              </c:extLst>
            </c:dLbl>
            <c:dLbl>
              <c:idx val="30"/>
              <c:tx>
                <c:rich>
                  <a:bodyPr/>
                  <a:lstStyle/>
                  <a:p>
                    <a:fld id="{D646A729-56E5-480C-A431-A340B4A9A95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6F3F-4891-A588-66FCA4279EF0}"/>
                </c:ext>
              </c:extLst>
            </c:dLbl>
            <c:dLbl>
              <c:idx val="3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6F3F-4891-A588-66FCA4279EF0}"/>
                </c:ext>
              </c:extLst>
            </c:dLbl>
            <c:dLbl>
              <c:idx val="3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6F3F-4891-A588-66FCA4279EF0}"/>
                </c:ext>
              </c:extLst>
            </c:dLbl>
            <c:dLbl>
              <c:idx val="33"/>
              <c:tx>
                <c:rich>
                  <a:bodyPr/>
                  <a:lstStyle/>
                  <a:p>
                    <a:fld id="{8C2B64E4-F8B5-4D24-A64D-1490986C3F7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6F3F-4891-A588-66FCA4279EF0}"/>
                </c:ext>
              </c:extLst>
            </c:dLbl>
            <c:dLbl>
              <c:idx val="34"/>
              <c:tx>
                <c:rich>
                  <a:bodyPr/>
                  <a:lstStyle/>
                  <a:p>
                    <a:fld id="{B8A1E587-682D-48F7-9737-A50A32B44D4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6F3F-4891-A588-66FCA4279EF0}"/>
                </c:ext>
              </c:extLst>
            </c:dLbl>
            <c:dLbl>
              <c:idx val="35"/>
              <c:tx>
                <c:rich>
                  <a:bodyPr/>
                  <a:lstStyle/>
                  <a:p>
                    <a:fld id="{3CF204CC-4BDC-4C4A-A613-228167F894D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6F3F-4891-A588-66FCA4279EF0}"/>
                </c:ext>
              </c:extLst>
            </c:dLbl>
            <c:dLbl>
              <c:idx val="36"/>
              <c:tx>
                <c:rich>
                  <a:bodyPr/>
                  <a:lstStyle/>
                  <a:p>
                    <a:fld id="{03CE25ED-6C5F-4B7B-8276-415AAEE0926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6F3F-4891-A588-66FCA4279EF0}"/>
                </c:ext>
              </c:extLst>
            </c:dLbl>
            <c:dLbl>
              <c:idx val="3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6F3F-4891-A588-66FCA4279EF0}"/>
                </c:ext>
              </c:extLst>
            </c:dLbl>
            <c:dLbl>
              <c:idx val="38"/>
              <c:tx>
                <c:rich>
                  <a:bodyPr/>
                  <a:lstStyle/>
                  <a:p>
                    <a:fld id="{D1CA4B18-8DEB-4B9F-A346-A8F75FB8BD0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6F3F-4891-A588-66FCA4279EF0}"/>
                </c:ext>
              </c:extLst>
            </c:dLbl>
            <c:dLbl>
              <c:idx val="3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7-6F3F-4891-A588-66FCA4279EF0}"/>
                </c:ext>
              </c:extLst>
            </c:dLbl>
            <c:dLbl>
              <c:idx val="40"/>
              <c:tx>
                <c:rich>
                  <a:bodyPr/>
                  <a:lstStyle/>
                  <a:p>
                    <a:fld id="{FB12F084-340F-4958-8F85-5FE998552AF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6F3F-4891-A588-66FCA4279EF0}"/>
                </c:ext>
              </c:extLst>
            </c:dLbl>
            <c:dLbl>
              <c:idx val="41"/>
              <c:tx>
                <c:rich>
                  <a:bodyPr/>
                  <a:lstStyle/>
                  <a:p>
                    <a:fld id="{EC3FEB69-0303-4871-A95B-3170CFFAC06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6F3F-4891-A588-66FCA4279EF0}"/>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6F3F-4891-A588-66FCA4279EF0}"/>
                </c:ext>
              </c:extLst>
            </c:dLbl>
            <c:dLbl>
              <c:idx val="4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B-6F3F-4891-A588-66FCA4279EF0}"/>
                </c:ext>
              </c:extLst>
            </c:dLbl>
            <c:dLbl>
              <c:idx val="44"/>
              <c:tx>
                <c:rich>
                  <a:bodyPr/>
                  <a:lstStyle/>
                  <a:p>
                    <a:fld id="{73215BBC-F707-44BC-A4B4-4A70F6FF0BF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6F3F-4891-A588-66FCA4279EF0}"/>
                </c:ext>
              </c:extLst>
            </c:dLbl>
            <c:dLbl>
              <c:idx val="45"/>
              <c:tx>
                <c:rich>
                  <a:bodyPr/>
                  <a:lstStyle/>
                  <a:p>
                    <a:fld id="{43AE2D34-C0AE-4C82-A221-6A2B9FE4D85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6F3F-4891-A588-66FCA4279EF0}"/>
                </c:ext>
              </c:extLst>
            </c:dLbl>
            <c:dLbl>
              <c:idx val="46"/>
              <c:tx>
                <c:rich>
                  <a:bodyPr/>
                  <a:lstStyle/>
                  <a:p>
                    <a:fld id="{5E28272E-9259-419A-9628-5942ABB1880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6F3F-4891-A588-66FCA4279EF0}"/>
                </c:ext>
              </c:extLst>
            </c:dLbl>
            <c:dLbl>
              <c:idx val="47"/>
              <c:tx>
                <c:rich>
                  <a:bodyPr/>
                  <a:lstStyle/>
                  <a:p>
                    <a:fld id="{F27ECA89-1EA3-4463-986A-1D5B5D356D8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6F3F-4891-A588-66FCA4279EF0}"/>
                </c:ext>
              </c:extLst>
            </c:dLbl>
            <c:dLbl>
              <c:idx val="48"/>
              <c:tx>
                <c:rich>
                  <a:bodyPr/>
                  <a:lstStyle/>
                  <a:p>
                    <a:fld id="{4C15EB30-125A-42E0-840F-60AB3439AC6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6F3F-4891-A588-66FCA4279EF0}"/>
                </c:ext>
              </c:extLst>
            </c:dLbl>
            <c:dLbl>
              <c:idx val="4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1-6F3F-4891-A588-66FCA4279EF0}"/>
                </c:ext>
              </c:extLst>
            </c:dLbl>
            <c:dLbl>
              <c:idx val="5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2-6F3F-4891-A588-66FCA4279EF0}"/>
                </c:ext>
              </c:extLst>
            </c:dLbl>
            <c:dLbl>
              <c:idx val="51"/>
              <c:tx>
                <c:rich>
                  <a:bodyPr/>
                  <a:lstStyle/>
                  <a:p>
                    <a:fld id="{408A0C9C-1C46-4BFF-A086-026974A5167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6F3F-4891-A588-66FCA4279EF0}"/>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C$2:$C$53</c:f>
              <c:numCache>
                <c:formatCode>0%</c:formatCode>
                <c:ptCount val="52"/>
                <c:pt idx="0">
                  <c:v>1</c:v>
                </c:pt>
                <c:pt idx="1">
                  <c:v>1</c:v>
                </c:pt>
                <c:pt idx="2">
                  <c:v>1</c:v>
                </c:pt>
                <c:pt idx="3">
                  <c:v>1</c:v>
                </c:pt>
                <c:pt idx="4">
                  <c:v>1</c:v>
                </c:pt>
                <c:pt idx="5">
                  <c:v>1</c:v>
                </c:pt>
                <c:pt idx="6">
                  <c:v>1</c:v>
                </c:pt>
                <c:pt idx="7">
                  <c:v>1</c:v>
                </c:pt>
                <c:pt idx="8">
                  <c:v>#N/A</c:v>
                </c:pt>
                <c:pt idx="9">
                  <c:v>1</c:v>
                </c:pt>
                <c:pt idx="10">
                  <c:v>#N/A</c:v>
                </c:pt>
                <c:pt idx="11">
                  <c:v>#N/A</c:v>
                </c:pt>
                <c:pt idx="12">
                  <c:v>1</c:v>
                </c:pt>
                <c:pt idx="13">
                  <c:v>1</c:v>
                </c:pt>
                <c:pt idx="14">
                  <c:v>#N/A</c:v>
                </c:pt>
                <c:pt idx="15">
                  <c:v>1</c:v>
                </c:pt>
                <c:pt idx="16">
                  <c:v>1</c:v>
                </c:pt>
                <c:pt idx="17">
                  <c:v>#N/A</c:v>
                </c:pt>
                <c:pt idx="18">
                  <c:v>1</c:v>
                </c:pt>
                <c:pt idx="19">
                  <c:v>1</c:v>
                </c:pt>
                <c:pt idx="20">
                  <c:v>1</c:v>
                </c:pt>
                <c:pt idx="21">
                  <c:v>1</c:v>
                </c:pt>
                <c:pt idx="22">
                  <c:v>1</c:v>
                </c:pt>
                <c:pt idx="23">
                  <c:v>1</c:v>
                </c:pt>
                <c:pt idx="24">
                  <c:v>#N/A</c:v>
                </c:pt>
                <c:pt idx="25">
                  <c:v>#N/A</c:v>
                </c:pt>
                <c:pt idx="26">
                  <c:v>1</c:v>
                </c:pt>
                <c:pt idx="27">
                  <c:v>#N/A</c:v>
                </c:pt>
                <c:pt idx="28">
                  <c:v>#N/A</c:v>
                </c:pt>
                <c:pt idx="29">
                  <c:v>1</c:v>
                </c:pt>
                <c:pt idx="30">
                  <c:v>1</c:v>
                </c:pt>
                <c:pt idx="31">
                  <c:v>#N/A</c:v>
                </c:pt>
                <c:pt idx="32">
                  <c:v>#N/A</c:v>
                </c:pt>
                <c:pt idx="33">
                  <c:v>1</c:v>
                </c:pt>
                <c:pt idx="34">
                  <c:v>1</c:v>
                </c:pt>
                <c:pt idx="35">
                  <c:v>1</c:v>
                </c:pt>
                <c:pt idx="36">
                  <c:v>1</c:v>
                </c:pt>
                <c:pt idx="37">
                  <c:v>#N/A</c:v>
                </c:pt>
                <c:pt idx="38">
                  <c:v>1</c:v>
                </c:pt>
                <c:pt idx="39">
                  <c:v>#N/A</c:v>
                </c:pt>
                <c:pt idx="40">
                  <c:v>1</c:v>
                </c:pt>
                <c:pt idx="41">
                  <c:v>1</c:v>
                </c:pt>
                <c:pt idx="42">
                  <c:v>#N/A</c:v>
                </c:pt>
                <c:pt idx="43">
                  <c:v>#N/A</c:v>
                </c:pt>
                <c:pt idx="44">
                  <c:v>1</c:v>
                </c:pt>
                <c:pt idx="45">
                  <c:v>1</c:v>
                </c:pt>
                <c:pt idx="46">
                  <c:v>1</c:v>
                </c:pt>
                <c:pt idx="47">
                  <c:v>1</c:v>
                </c:pt>
                <c:pt idx="48">
                  <c:v>1</c:v>
                </c:pt>
                <c:pt idx="49">
                  <c:v>#N/A</c:v>
                </c:pt>
                <c:pt idx="50">
                  <c:v>#N/A</c:v>
                </c:pt>
                <c:pt idx="51">
                  <c:v>1</c:v>
                </c:pt>
              </c:numCache>
            </c:numRef>
          </c:val>
          <c:extLst>
            <c:ext xmlns:c15="http://schemas.microsoft.com/office/drawing/2012/chart" uri="{02D57815-91ED-43cb-92C2-25804820EDAC}">
              <c15:datalabelsRange>
                <c15:f>Sheet1!$G$2:$G$53</c15:f>
                <c15:dlblRangeCache>
                  <c:ptCount val="52"/>
                  <c:pt idx="2">
                    <c:v>244%</c:v>
                  </c:pt>
                  <c:pt idx="45">
                    <c:v>209%</c:v>
                  </c:pt>
                </c15:dlblRangeCache>
              </c15:datalabelsRange>
            </c:ext>
            <c:ext xmlns:c16="http://schemas.microsoft.com/office/drawing/2014/chart" uri="{C3380CC4-5D6E-409C-BE32-E72D297353CC}">
              <c16:uniqueId val="{00000034-6F3F-4891-A588-66FCA4279EF0}"/>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bubble</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B$2:$B$53</c:f>
              <c:numCache>
                <c:formatCode>0%</c:formatCode>
                <c:ptCount val="52"/>
                <c:pt idx="0">
                  <c:v>0.83149283462587276</c:v>
                </c:pt>
                <c:pt idx="1">
                  <c:v>1.6315180743925193</c:v>
                </c:pt>
                <c:pt idx="2">
                  <c:v>2.4439356076015577</c:v>
                </c:pt>
                <c:pt idx="3">
                  <c:v>0.77292587642644184</c:v>
                </c:pt>
                <c:pt idx="4">
                  <c:v>0.74765866355299326</c:v>
                </c:pt>
                <c:pt idx="5">
                  <c:v>0.98081754103558449</c:v>
                </c:pt>
                <c:pt idx="6">
                  <c:v>0.70833026532165033</c:v>
                </c:pt>
                <c:pt idx="7">
                  <c:v>0.84407908755481287</c:v>
                </c:pt>
                <c:pt idx="8">
                  <c:v>#N/A</c:v>
                </c:pt>
                <c:pt idx="9">
                  <c:v>#N/A</c:v>
                </c:pt>
                <c:pt idx="10">
                  <c:v>#N/A</c:v>
                </c:pt>
                <c:pt idx="11">
                  <c:v>#N/A</c:v>
                </c:pt>
                <c:pt idx="12">
                  <c:v>#N/A</c:v>
                </c:pt>
                <c:pt idx="13">
                  <c:v>#N/A</c:v>
                </c:pt>
                <c:pt idx="14">
                  <c:v>#N/A</c:v>
                </c:pt>
                <c:pt idx="15">
                  <c:v>0.8725708042279976</c:v>
                </c:pt>
                <c:pt idx="16">
                  <c:v>0.4577243728236281</c:v>
                </c:pt>
                <c:pt idx="17">
                  <c:v>#N/A</c:v>
                </c:pt>
                <c:pt idx="18">
                  <c:v>0.15218560397131825</c:v>
                </c:pt>
                <c:pt idx="19">
                  <c:v>0.3636835009851706</c:v>
                </c:pt>
                <c:pt idx="20">
                  <c:v>0.23195425066291811</c:v>
                </c:pt>
                <c:pt idx="21">
                  <c:v>0.85483845584879525</c:v>
                </c:pt>
                <c:pt idx="22">
                  <c:v>0.3003459533206646</c:v>
                </c:pt>
                <c:pt idx="23">
                  <c:v>0.33698879958684352</c:v>
                </c:pt>
                <c:pt idx="24">
                  <c:v>#N/A</c:v>
                </c:pt>
                <c:pt idx="25">
                  <c:v>#N/A</c:v>
                </c:pt>
                <c:pt idx="26">
                  <c:v>0.47679126329628302</c:v>
                </c:pt>
                <c:pt idx="27">
                  <c:v>#N/A</c:v>
                </c:pt>
                <c:pt idx="28">
                  <c:v>#N/A</c:v>
                </c:pt>
                <c:pt idx="29">
                  <c:v>0.86927040954705725</c:v>
                </c:pt>
                <c:pt idx="30">
                  <c:v>7.1587946883100939E-2</c:v>
                </c:pt>
                <c:pt idx="31">
                  <c:v>#N/A</c:v>
                </c:pt>
                <c:pt idx="32">
                  <c:v>#N/A</c:v>
                </c:pt>
                <c:pt idx="33">
                  <c:v>0.91374133318774908</c:v>
                </c:pt>
                <c:pt idx="34">
                  <c:v>#N/A</c:v>
                </c:pt>
                <c:pt idx="35">
                  <c:v>#N/A</c:v>
                </c:pt>
                <c:pt idx="36">
                  <c:v>#N/A</c:v>
                </c:pt>
                <c:pt idx="37">
                  <c:v>#N/A</c:v>
                </c:pt>
                <c:pt idx="38">
                  <c:v>0.2039582880232598</c:v>
                </c:pt>
                <c:pt idx="39">
                  <c:v>#N/A</c:v>
                </c:pt>
                <c:pt idx="40">
                  <c:v>0.81834423418520841</c:v>
                </c:pt>
                <c:pt idx="41">
                  <c:v>0.24170478834974729</c:v>
                </c:pt>
                <c:pt idx="42">
                  <c:v>#N/A</c:v>
                </c:pt>
                <c:pt idx="43">
                  <c:v>#N/A</c:v>
                </c:pt>
                <c:pt idx="44">
                  <c:v>0.54761466764778022</c:v>
                </c:pt>
                <c:pt idx="45">
                  <c:v>2.0907701528318849</c:v>
                </c:pt>
                <c:pt idx="46">
                  <c:v>0.32255425519827291</c:v>
                </c:pt>
                <c:pt idx="47">
                  <c:v>0.60169518129022137</c:v>
                </c:pt>
                <c:pt idx="48">
                  <c:v>#N/A</c:v>
                </c:pt>
                <c:pt idx="49">
                  <c:v>#N/A</c:v>
                </c:pt>
                <c:pt idx="50">
                  <c:v>#N/A</c:v>
                </c:pt>
                <c:pt idx="51">
                  <c:v>0.47447486087432045</c:v>
                </c:pt>
              </c:numCache>
            </c:numRef>
          </c:val>
          <c:smooth val="0"/>
          <c:extLst>
            <c:ext xmlns:c16="http://schemas.microsoft.com/office/drawing/2014/chart" uri="{C3380CC4-5D6E-409C-BE32-E72D297353CC}">
              <c16:uniqueId val="{00000035-6F3F-4891-A588-66FCA4279EF0}"/>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N/A</c:v>
                </c:pt>
                <c:pt idx="1">
                  <c:v>#N/A</c:v>
                </c:pt>
                <c:pt idx="2">
                  <c:v>1</c:v>
                </c:pt>
                <c:pt idx="3">
                  <c:v>1</c:v>
                </c:pt>
                <c:pt idx="4">
                  <c:v>1</c:v>
                </c:pt>
                <c:pt idx="5">
                  <c:v>1</c:v>
                </c:pt>
                <c:pt idx="6">
                  <c:v>1</c:v>
                </c:pt>
                <c:pt idx="7">
                  <c:v>1</c:v>
                </c:pt>
                <c:pt idx="8">
                  <c:v>1</c:v>
                </c:pt>
                <c:pt idx="9">
                  <c:v>1</c:v>
                </c:pt>
                <c:pt idx="10">
                  <c:v>1</c:v>
                </c:pt>
                <c:pt idx="11">
                  <c:v>1</c:v>
                </c:pt>
                <c:pt idx="12">
                  <c:v>1</c:v>
                </c:pt>
                <c:pt idx="13">
                  <c:v>1</c:v>
                </c:pt>
                <c:pt idx="14">
                  <c:v>1</c:v>
                </c:pt>
                <c:pt idx="15">
                  <c:v>#N/A</c:v>
                </c:pt>
                <c:pt idx="16">
                  <c:v>#N/A</c:v>
                </c:pt>
                <c:pt idx="17">
                  <c:v>#N/A</c:v>
                </c:pt>
                <c:pt idx="18">
                  <c:v>#N/A</c:v>
                </c:pt>
                <c:pt idx="19">
                  <c:v>#N/A</c:v>
                </c:pt>
                <c:pt idx="20">
                  <c:v>#N/A</c:v>
                </c:pt>
                <c:pt idx="21">
                  <c:v>#N/A</c:v>
                </c:pt>
                <c:pt idx="22">
                  <c:v>1</c:v>
                </c:pt>
                <c:pt idx="23">
                  <c:v>1</c:v>
                </c:pt>
                <c:pt idx="24">
                  <c:v>1</c:v>
                </c:pt>
                <c:pt idx="25">
                  <c:v>#N/A</c:v>
                </c:pt>
                <c:pt idx="26">
                  <c:v>#N/A</c:v>
                </c:pt>
                <c:pt idx="27">
                  <c:v>#N/A</c:v>
                </c:pt>
                <c:pt idx="28">
                  <c:v>#N/A</c:v>
                </c:pt>
                <c:pt idx="29">
                  <c:v>#N/A</c:v>
                </c:pt>
                <c:pt idx="30">
                  <c:v>#N/A</c:v>
                </c:pt>
                <c:pt idx="31">
                  <c:v>#N/A</c:v>
                </c:pt>
                <c:pt idx="32">
                  <c:v>#N/A</c:v>
                </c:pt>
                <c:pt idx="33">
                  <c:v>#N/A</c:v>
                </c:pt>
                <c:pt idx="34">
                  <c:v>1</c:v>
                </c:pt>
                <c:pt idx="35">
                  <c:v>#N/A</c:v>
                </c:pt>
                <c:pt idx="36">
                  <c:v>#N/A</c:v>
                </c:pt>
                <c:pt idx="37">
                  <c:v>#N/A</c:v>
                </c:pt>
                <c:pt idx="38">
                  <c:v>#N/A</c:v>
                </c:pt>
                <c:pt idx="39">
                  <c:v>1</c:v>
                </c:pt>
                <c:pt idx="40">
                  <c:v>1</c:v>
                </c:pt>
                <c:pt idx="41">
                  <c:v>1</c:v>
                </c:pt>
                <c:pt idx="42">
                  <c:v>1</c:v>
                </c:pt>
                <c:pt idx="43">
                  <c:v>1</c:v>
                </c:pt>
                <c:pt idx="44">
                  <c:v>#N/A</c:v>
                </c:pt>
                <c:pt idx="45">
                  <c:v>#N/A</c:v>
                </c:pt>
                <c:pt idx="46">
                  <c:v>#N/A</c:v>
                </c:pt>
                <c:pt idx="47">
                  <c:v>#N/A</c:v>
                </c:pt>
                <c:pt idx="48">
                  <c:v>#N/A</c:v>
                </c:pt>
                <c:pt idx="49">
                  <c:v>#N/A</c:v>
                </c:pt>
                <c:pt idx="50">
                  <c:v>#N/A</c:v>
                </c:pt>
                <c:pt idx="51">
                  <c:v>#N/A</c:v>
                </c:pt>
              </c:numCache>
            </c:numRef>
          </c:val>
          <c:extLst>
            <c:ext xmlns:c16="http://schemas.microsoft.com/office/drawing/2014/chart" uri="{C3380CC4-5D6E-409C-BE32-E72D297353CC}">
              <c16:uniqueId val="{00000000-3553-47F7-9D8D-B7ECA91FF30F}"/>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N/A</c:v>
                </c:pt>
                <c:pt idx="1">
                  <c:v>#N/A</c:v>
                </c:pt>
                <c:pt idx="2">
                  <c:v>0.11367872175570121</c:v>
                </c:pt>
                <c:pt idx="3">
                  <c:v>0.12132533378739771</c:v>
                </c:pt>
                <c:pt idx="4">
                  <c:v>0.2148614964962611</c:v>
                </c:pt>
                <c:pt idx="5">
                  <c:v>0.17336822212530892</c:v>
                </c:pt>
                <c:pt idx="6">
                  <c:v>0.16371495760272436</c:v>
                </c:pt>
                <c:pt idx="7">
                  <c:v>0.359005905511811</c:v>
                </c:pt>
                <c:pt idx="8">
                  <c:v>0.35807339627396623</c:v>
                </c:pt>
                <c:pt idx="9">
                  <c:v>0.3262485253637436</c:v>
                </c:pt>
                <c:pt idx="10">
                  <c:v>0.18571348293560108</c:v>
                </c:pt>
                <c:pt idx="11">
                  <c:v>0.14821256608297467</c:v>
                </c:pt>
                <c:pt idx="12">
                  <c:v>0.11874984490930296</c:v>
                </c:pt>
                <c:pt idx="13">
                  <c:v>0.26535114062005177</c:v>
                </c:pt>
                <c:pt idx="14">
                  <c:v>#N/A</c:v>
                </c:pt>
                <c:pt idx="15">
                  <c:v>#N/A</c:v>
                </c:pt>
                <c:pt idx="16">
                  <c:v>#N/A</c:v>
                </c:pt>
                <c:pt idx="17">
                  <c:v>#N/A</c:v>
                </c:pt>
                <c:pt idx="18">
                  <c:v>#N/A</c:v>
                </c:pt>
                <c:pt idx="19">
                  <c:v>#N/A</c:v>
                </c:pt>
                <c:pt idx="20">
                  <c:v>#N/A</c:v>
                </c:pt>
                <c:pt idx="21">
                  <c:v>#N/A</c:v>
                </c:pt>
                <c:pt idx="22">
                  <c:v>0.40337942434339991</c:v>
                </c:pt>
                <c:pt idx="23">
                  <c:v>0.48057218130862606</c:v>
                </c:pt>
                <c:pt idx="24">
                  <c:v>8.1719681066375477E-2</c:v>
                </c:pt>
                <c:pt idx="25">
                  <c:v>#N/A</c:v>
                </c:pt>
                <c:pt idx="26">
                  <c:v>#N/A</c:v>
                </c:pt>
                <c:pt idx="27">
                  <c:v>#N/A</c:v>
                </c:pt>
                <c:pt idx="28">
                  <c:v>#N/A</c:v>
                </c:pt>
                <c:pt idx="29">
                  <c:v>#N/A</c:v>
                </c:pt>
                <c:pt idx="30">
                  <c:v>#N/A</c:v>
                </c:pt>
                <c:pt idx="31">
                  <c:v>#N/A</c:v>
                </c:pt>
                <c:pt idx="32">
                  <c:v>#N/A</c:v>
                </c:pt>
                <c:pt idx="33">
                  <c:v>#N/A</c:v>
                </c:pt>
                <c:pt idx="34">
                  <c:v>0.14244945048272512</c:v>
                </c:pt>
                <c:pt idx="35">
                  <c:v>#N/A</c:v>
                </c:pt>
                <c:pt idx="36">
                  <c:v>#N/A</c:v>
                </c:pt>
                <c:pt idx="37">
                  <c:v>#N/A</c:v>
                </c:pt>
                <c:pt idx="38">
                  <c:v>#N/A</c:v>
                </c:pt>
                <c:pt idx="39">
                  <c:v>#N/A</c:v>
                </c:pt>
                <c:pt idx="40">
                  <c:v>#N/A</c:v>
                </c:pt>
                <c:pt idx="41">
                  <c:v>0.47272657381187294</c:v>
                </c:pt>
                <c:pt idx="42">
                  <c:v>0.62001930605459321</c:v>
                </c:pt>
                <c:pt idx="43">
                  <c:v>0.40657862283907709</c:v>
                </c:pt>
                <c:pt idx="44">
                  <c:v>#N/A</c:v>
                </c:pt>
                <c:pt idx="45">
                  <c:v>#N/A</c:v>
                </c:pt>
                <c:pt idx="46">
                  <c:v>#N/A</c:v>
                </c:pt>
                <c:pt idx="47">
                  <c:v>#N/A</c:v>
                </c:pt>
                <c:pt idx="48">
                  <c:v>#N/A</c:v>
                </c:pt>
                <c:pt idx="49">
                  <c:v>#N/A</c:v>
                </c:pt>
                <c:pt idx="50">
                  <c:v>#N/A</c:v>
                </c:pt>
                <c:pt idx="51">
                  <c:v>#N/A</c:v>
                </c:pt>
              </c:numCache>
            </c:numRef>
          </c:val>
          <c:smooth val="0"/>
          <c:extLst>
            <c:ext xmlns:c16="http://schemas.microsoft.com/office/drawing/2014/chart" uri="{C3380CC4-5D6E-409C-BE32-E72D297353CC}">
              <c16:uniqueId val="{00000001-3553-47F7-9D8D-B7ECA91FF30F}"/>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19B4E461-1A93-4AB8-8B13-3DE1BBBDB4A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AFCA-4943-AA4B-9818CF1C0054}"/>
                </c:ext>
              </c:extLst>
            </c:dLbl>
            <c:dLbl>
              <c:idx val="1"/>
              <c:tx>
                <c:rich>
                  <a:bodyPr/>
                  <a:lstStyle/>
                  <a:p>
                    <a:fld id="{111D0CBB-EE04-4A5A-8B3B-8AD783FD20A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AFCA-4943-AA4B-9818CF1C0054}"/>
                </c:ext>
              </c:extLst>
            </c:dLbl>
            <c:dLbl>
              <c:idx val="2"/>
              <c:tx>
                <c:rich>
                  <a:bodyPr/>
                  <a:lstStyle/>
                  <a:p>
                    <a:fld id="{56A02DCF-C717-42A4-8576-C9C2456454A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AFCA-4943-AA4B-9818CF1C0054}"/>
                </c:ext>
              </c:extLst>
            </c:dLbl>
            <c:dLbl>
              <c:idx val="3"/>
              <c:tx>
                <c:rich>
                  <a:bodyPr/>
                  <a:lstStyle/>
                  <a:p>
                    <a:fld id="{63008BA8-CD7D-449E-A3A7-C20991EAE52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AFCA-4943-AA4B-9818CF1C0054}"/>
                </c:ext>
              </c:extLst>
            </c:dLbl>
            <c:dLbl>
              <c:idx val="4"/>
              <c:tx>
                <c:rich>
                  <a:bodyPr/>
                  <a:lstStyle/>
                  <a:p>
                    <a:fld id="{99ECC507-3A53-4E1D-929B-E4758FB5985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AFCA-4943-AA4B-9818CF1C0054}"/>
                </c:ext>
              </c:extLst>
            </c:dLbl>
            <c:dLbl>
              <c:idx val="5"/>
              <c:tx>
                <c:rich>
                  <a:bodyPr/>
                  <a:lstStyle/>
                  <a:p>
                    <a:fld id="{A474F687-2F76-4A09-8200-4A469B3F06A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AFCA-4943-AA4B-9818CF1C0054}"/>
                </c:ext>
              </c:extLst>
            </c:dLbl>
            <c:dLbl>
              <c:idx val="6"/>
              <c:tx>
                <c:rich>
                  <a:bodyPr/>
                  <a:lstStyle/>
                  <a:p>
                    <a:fld id="{62CCBB0D-9A90-4B62-9F95-9FB7C19DDC7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AFCA-4943-AA4B-9818CF1C0054}"/>
                </c:ext>
              </c:extLst>
            </c:dLbl>
            <c:dLbl>
              <c:idx val="7"/>
              <c:tx>
                <c:rich>
                  <a:bodyPr/>
                  <a:lstStyle/>
                  <a:p>
                    <a:fld id="{89D95CAF-B04A-4570-B3D2-6889B0F5C63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AFCA-4943-AA4B-9818CF1C0054}"/>
                </c:ext>
              </c:extLst>
            </c:dLbl>
            <c:dLbl>
              <c:idx val="8"/>
              <c:tx>
                <c:rich>
                  <a:bodyPr/>
                  <a:lstStyle/>
                  <a:p>
                    <a:fld id="{88C349F3-B780-439C-8E83-454BED75D6E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AFCA-4943-AA4B-9818CF1C0054}"/>
                </c:ext>
              </c:extLst>
            </c:dLbl>
            <c:dLbl>
              <c:idx val="9"/>
              <c:tx>
                <c:rich>
                  <a:bodyPr/>
                  <a:lstStyle/>
                  <a:p>
                    <a:fld id="{5D654328-17B9-4221-849F-9718052AA68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AFCA-4943-AA4B-9818CF1C0054}"/>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AFCA-4943-AA4B-9818CF1C0054}"/>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AFCA-4943-AA4B-9818CF1C0054}"/>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AFCA-4943-AA4B-9818CF1C0054}"/>
                </c:ext>
              </c:extLst>
            </c:dLbl>
            <c:dLbl>
              <c:idx val="13"/>
              <c:tx>
                <c:rich>
                  <a:bodyPr/>
                  <a:lstStyle/>
                  <a:p>
                    <a:fld id="{5965DA96-8402-4952-A7F4-6E61A2B2D86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AFCA-4943-AA4B-9818CF1C0054}"/>
                </c:ext>
              </c:extLst>
            </c:dLbl>
            <c:dLbl>
              <c:idx val="14"/>
              <c:tx>
                <c:rich>
                  <a:bodyPr/>
                  <a:lstStyle/>
                  <a:p>
                    <a:fld id="{51009395-6ECF-4091-B4E1-9337819519E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AFCA-4943-AA4B-9818CF1C0054}"/>
                </c:ext>
              </c:extLst>
            </c:dLbl>
            <c:dLbl>
              <c:idx val="15"/>
              <c:tx>
                <c:rich>
                  <a:bodyPr/>
                  <a:lstStyle/>
                  <a:p>
                    <a:fld id="{A59A6EBC-CE17-4AAE-B356-421F649A906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AFCA-4943-AA4B-9818CF1C0054}"/>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AFCA-4943-AA4B-9818CF1C0054}"/>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AFCA-4943-AA4B-9818CF1C0054}"/>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AFCA-4943-AA4B-9818CF1C0054}"/>
                </c:ext>
              </c:extLst>
            </c:dLbl>
            <c:dLbl>
              <c:idx val="19"/>
              <c:tx>
                <c:rich>
                  <a:bodyPr/>
                  <a:lstStyle/>
                  <a:p>
                    <a:fld id="{8300281D-04D1-4C74-97B8-9568B4FB2C1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AFCA-4943-AA4B-9818CF1C0054}"/>
                </c:ext>
              </c:extLst>
            </c:dLbl>
            <c:dLbl>
              <c:idx val="20"/>
              <c:tx>
                <c:rich>
                  <a:bodyPr/>
                  <a:lstStyle/>
                  <a:p>
                    <a:fld id="{15BF0255-09FC-4194-982B-46B948766F2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AFCA-4943-AA4B-9818CF1C0054}"/>
                </c:ext>
              </c:extLst>
            </c:dLbl>
            <c:dLbl>
              <c:idx val="21"/>
              <c:tx>
                <c:rich>
                  <a:bodyPr/>
                  <a:lstStyle/>
                  <a:p>
                    <a:fld id="{D00EBFA6-1F65-4487-8814-2A2F6B1D68F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AFCA-4943-AA4B-9818CF1C0054}"/>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AFCA-4943-AA4B-9818CF1C0054}"/>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AFCA-4943-AA4B-9818CF1C0054}"/>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AFCA-4943-AA4B-9818CF1C0054}"/>
                </c:ext>
              </c:extLst>
            </c:dLbl>
            <c:dLbl>
              <c:idx val="25"/>
              <c:tx>
                <c:rich>
                  <a:bodyPr/>
                  <a:lstStyle/>
                  <a:p>
                    <a:fld id="{9A6BD21C-56FE-456E-8D99-18D5A388AEC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AFCA-4943-AA4B-9818CF1C0054}"/>
                </c:ext>
              </c:extLst>
            </c:dLbl>
            <c:dLbl>
              <c:idx val="26"/>
              <c:tx>
                <c:rich>
                  <a:bodyPr/>
                  <a:lstStyle/>
                  <a:p>
                    <a:fld id="{A1DB23BF-3D54-4D63-98DA-81B2F079BFA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AFCA-4943-AA4B-9818CF1C0054}"/>
                </c:ext>
              </c:extLst>
            </c:dLbl>
            <c:dLbl>
              <c:idx val="27"/>
              <c:tx>
                <c:rich>
                  <a:bodyPr/>
                  <a:lstStyle/>
                  <a:p>
                    <a:fld id="{09EA4EC8-472C-42AA-9C1E-43136F439D8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AFCA-4943-AA4B-9818CF1C0054}"/>
                </c:ext>
              </c:extLst>
            </c:dLbl>
            <c:dLbl>
              <c:idx val="28"/>
              <c:tx>
                <c:rich>
                  <a:bodyPr/>
                  <a:lstStyle/>
                  <a:p>
                    <a:fld id="{E83E9C2F-9223-40FE-9FF6-34841E640FD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AFCA-4943-AA4B-9818CF1C0054}"/>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AFCA-4943-AA4B-9818CF1C0054}"/>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AFCA-4943-AA4B-9818CF1C0054}"/>
                </c:ext>
              </c:extLst>
            </c:dLbl>
            <c:dLbl>
              <c:idx val="31"/>
              <c:tx>
                <c:rich>
                  <a:bodyPr/>
                  <a:lstStyle/>
                  <a:p>
                    <a:fld id="{588AA168-CFF5-4A7B-B586-0C442677E91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AFCA-4943-AA4B-9818CF1C0054}"/>
                </c:ext>
              </c:extLst>
            </c:dLbl>
            <c:dLbl>
              <c:idx val="32"/>
              <c:tx>
                <c:rich>
                  <a:bodyPr/>
                  <a:lstStyle/>
                  <a:p>
                    <a:fld id="{923F7070-282B-499D-A201-F02737633C2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AFCA-4943-AA4B-9818CF1C0054}"/>
                </c:ext>
              </c:extLst>
            </c:dLbl>
            <c:dLbl>
              <c:idx val="33"/>
              <c:tx>
                <c:rich>
                  <a:bodyPr/>
                  <a:lstStyle/>
                  <a:p>
                    <a:fld id="{8FC0C523-DFFA-47DC-A002-00E189D0965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AFCA-4943-AA4B-9818CF1C0054}"/>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AFCA-4943-AA4B-9818CF1C0054}"/>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AFCA-4943-AA4B-9818CF1C0054}"/>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AFCA-4943-AA4B-9818CF1C0054}"/>
                </c:ext>
              </c:extLst>
            </c:dLbl>
            <c:dLbl>
              <c:idx val="37"/>
              <c:tx>
                <c:rich>
                  <a:bodyPr/>
                  <a:lstStyle/>
                  <a:p>
                    <a:fld id="{09F03843-83CE-40D5-9F27-5A4656FEA5C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AFCA-4943-AA4B-9818CF1C0054}"/>
                </c:ext>
              </c:extLst>
            </c:dLbl>
            <c:dLbl>
              <c:idx val="38"/>
              <c:tx>
                <c:rich>
                  <a:bodyPr/>
                  <a:lstStyle/>
                  <a:p>
                    <a:fld id="{17901949-2EEB-4FFF-9983-F1D25125574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AFCA-4943-AA4B-9818CF1C0054}"/>
                </c:ext>
              </c:extLst>
            </c:dLbl>
            <c:dLbl>
              <c:idx val="39"/>
              <c:tx>
                <c:rich>
                  <a:bodyPr/>
                  <a:lstStyle/>
                  <a:p>
                    <a:fld id="{C24B7098-FC97-4608-9047-71BEDA26855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AFCA-4943-AA4B-9818CF1C0054}"/>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AFCA-4943-AA4B-9818CF1C0054}"/>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AFCA-4943-AA4B-9818CF1C0054}"/>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AFCA-4943-AA4B-9818CF1C0054}"/>
                </c:ext>
              </c:extLst>
            </c:dLbl>
            <c:dLbl>
              <c:idx val="43"/>
              <c:tx>
                <c:rich>
                  <a:bodyPr/>
                  <a:lstStyle/>
                  <a:p>
                    <a:fld id="{EFEEFB92-DE01-434E-B34F-40BFF557B8B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AFCA-4943-AA4B-9818CF1C0054}"/>
                </c:ext>
              </c:extLst>
            </c:dLbl>
            <c:dLbl>
              <c:idx val="44"/>
              <c:tx>
                <c:rich>
                  <a:bodyPr/>
                  <a:lstStyle/>
                  <a:p>
                    <a:fld id="{8F657154-5D32-47BC-AE27-B91D307ED57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AFCA-4943-AA4B-9818CF1C0054}"/>
                </c:ext>
              </c:extLst>
            </c:dLbl>
            <c:dLbl>
              <c:idx val="45"/>
              <c:tx>
                <c:rich>
                  <a:bodyPr/>
                  <a:lstStyle/>
                  <a:p>
                    <a:fld id="{343F344B-977C-4AB0-946E-29CCBAF2868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AFCA-4943-AA4B-9818CF1C0054}"/>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AFCA-4943-AA4B-9818CF1C0054}"/>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AFCA-4943-AA4B-9818CF1C0054}"/>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AFCA-4943-AA4B-9818CF1C0054}"/>
                </c:ext>
              </c:extLst>
            </c:dLbl>
            <c:dLbl>
              <c:idx val="49"/>
              <c:tx>
                <c:rich>
                  <a:bodyPr/>
                  <a:lstStyle/>
                  <a:p>
                    <a:fld id="{E755AA4D-B27B-4007-AB65-F8EE10B513D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AFCA-4943-AA4B-9818CF1C0054}"/>
                </c:ext>
              </c:extLst>
            </c:dLbl>
            <c:dLbl>
              <c:idx val="50"/>
              <c:tx>
                <c:rich>
                  <a:bodyPr/>
                  <a:lstStyle/>
                  <a:p>
                    <a:fld id="{2A967CA5-F760-4DE1-BCA7-0CBD5096CCC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AFCA-4943-AA4B-9818CF1C0054}"/>
                </c:ext>
              </c:extLst>
            </c:dLbl>
            <c:dLbl>
              <c:idx val="51"/>
              <c:tx>
                <c:rich>
                  <a:bodyPr/>
                  <a:lstStyle/>
                  <a:p>
                    <a:fld id="{C8C66B27-F77B-4B7C-BE3F-F989A8EC29E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AFCA-4943-AA4B-9818CF1C0054}"/>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AFCA-4943-AA4B-9818CF1C0054}"/>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AFCA-4943-AA4B-9818CF1C0054}"/>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C$2:$C$53</c:f>
              <c:numCache>
                <c:formatCode>General</c:formatCode>
                <c:ptCount val="52"/>
                <c:pt idx="2" formatCode="0%">
                  <c:v>1</c:v>
                </c:pt>
                <c:pt idx="3" formatCode="0%">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22" formatCode="0%">
                  <c:v>1</c:v>
                </c:pt>
                <c:pt idx="23" formatCode="0%">
                  <c:v>1</c:v>
                </c:pt>
                <c:pt idx="24" formatCode="0%">
                  <c:v>1</c:v>
                </c:pt>
                <c:pt idx="34" formatCode="0%">
                  <c:v>1</c:v>
                </c:pt>
                <c:pt idx="39" formatCode="0%">
                  <c:v>1</c:v>
                </c:pt>
                <c:pt idx="40" formatCode="0%">
                  <c:v>1</c:v>
                </c:pt>
                <c:pt idx="41" formatCode="0%">
                  <c:v>1</c:v>
                </c:pt>
                <c:pt idx="42" formatCode="0%">
                  <c:v>1</c:v>
                </c:pt>
                <c:pt idx="43" formatCode="0%">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B$2:$B$53</c:f>
              <c:numCache>
                <c:formatCode>General</c:formatCode>
                <c:ptCount val="52"/>
                <c:pt idx="2" formatCode="0%">
                  <c:v>0.11367872175570121</c:v>
                </c:pt>
                <c:pt idx="3" formatCode="0%">
                  <c:v>0.12132533378739771</c:v>
                </c:pt>
                <c:pt idx="4" formatCode="0%">
                  <c:v>0.2148614964962611</c:v>
                </c:pt>
                <c:pt idx="5" formatCode="0%">
                  <c:v>0.17336822212530892</c:v>
                </c:pt>
                <c:pt idx="6" formatCode="0%">
                  <c:v>0.16371495760272436</c:v>
                </c:pt>
                <c:pt idx="7" formatCode="0%">
                  <c:v>0.359005905511811</c:v>
                </c:pt>
                <c:pt idx="8" formatCode="0%">
                  <c:v>0.35807339627396623</c:v>
                </c:pt>
                <c:pt idx="9" formatCode="0%">
                  <c:v>0.3262485253637436</c:v>
                </c:pt>
                <c:pt idx="10" formatCode="0%">
                  <c:v>0.18571348293560108</c:v>
                </c:pt>
                <c:pt idx="11" formatCode="0%">
                  <c:v>0.14821256608297467</c:v>
                </c:pt>
                <c:pt idx="12" formatCode="0%">
                  <c:v>0.11874984490930296</c:v>
                </c:pt>
                <c:pt idx="13" formatCode="0%">
                  <c:v>0.26535114062005177</c:v>
                </c:pt>
                <c:pt idx="22" formatCode="0%">
                  <c:v>0.40337942434339991</c:v>
                </c:pt>
                <c:pt idx="23" formatCode="0%">
                  <c:v>0.48057218130862606</c:v>
                </c:pt>
                <c:pt idx="24" formatCode="0%">
                  <c:v>8.1719681066375477E-2</c:v>
                </c:pt>
                <c:pt idx="34" formatCode="0%">
                  <c:v>0.14244945048272512</c:v>
                </c:pt>
                <c:pt idx="41" formatCode="0%">
                  <c:v>0.47272657381187294</c:v>
                </c:pt>
                <c:pt idx="42" formatCode="0%">
                  <c:v>0.62001930605459321</c:v>
                </c:pt>
                <c:pt idx="43" formatCode="0%">
                  <c:v>0.40657862283907709</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chemeClr val="bg2"/>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chemeClr val="bg2"/>
              </a:solidFill>
              <a:ln>
                <a:noFill/>
              </a:ln>
              <a:effectLst/>
            </c:spPr>
            <c:extLst>
              <c:ext xmlns:c16="http://schemas.microsoft.com/office/drawing/2014/chart" uri="{C3380CC4-5D6E-409C-BE32-E72D297353CC}">
                <c16:uniqueId val="{00000005-26FB-4B52-8D72-D56D618E8EAF}"/>
              </c:ext>
            </c:extLst>
          </c:dPt>
          <c:dPt>
            <c:idx val="3"/>
            <c:invertIfNegative val="0"/>
            <c:bubble3D val="0"/>
            <c:extLst>
              <c:ext xmlns:c16="http://schemas.microsoft.com/office/drawing/2014/chart" uri="{C3380CC4-5D6E-409C-BE32-E72D297353CC}">
                <c16:uniqueId val="{00000007-26FB-4B52-8D72-D56D618E8EAF}"/>
              </c:ext>
            </c:extLst>
          </c:dPt>
          <c:dPt>
            <c:idx val="4"/>
            <c:invertIfNegative val="0"/>
            <c:bubble3D val="0"/>
            <c:extLst>
              <c:ext xmlns:c16="http://schemas.microsoft.com/office/drawing/2014/chart" uri="{C3380CC4-5D6E-409C-BE32-E72D297353CC}">
                <c16:uniqueId val="{00000009-26FB-4B52-8D72-D56D618E8EAF}"/>
              </c:ext>
            </c:extLst>
          </c:dPt>
          <c:dPt>
            <c:idx val="5"/>
            <c:invertIfNegative val="0"/>
            <c:bubble3D val="0"/>
            <c:extLst>
              <c:ext xmlns:c16="http://schemas.microsoft.com/office/drawing/2014/chart" uri="{C3380CC4-5D6E-409C-BE32-E72D297353CC}">
                <c16:uniqueId val="{0000000B-26FB-4B52-8D72-D56D618E8EAF}"/>
              </c:ext>
            </c:extLst>
          </c:dPt>
          <c:dPt>
            <c:idx val="6"/>
            <c:invertIfNegative val="0"/>
            <c:bubble3D val="0"/>
            <c:spPr>
              <a:solidFill>
                <a:schemeClr val="bg2"/>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DF422F69-4FD1-4907-91D0-169E4C193E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9D46F925-5D8F-4BC0-97E7-53A60E86C9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880BA3C3-FEAE-4A0D-A462-B34A3B5D12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FEA779F3-A194-41EC-BD3C-C31F9C4290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9129989F-0783-4056-B6BA-6B8A2193D5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CF5A847B-7C8D-4BBD-A0AF-4EC93334C5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4DE35AFA-6A95-46A4-B000-A5844E833E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637CF610-45CA-461F-8328-EC9DBC2FE2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2183238E-82CB-4D79-98D4-7270924545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923400D4-24D0-46FA-A7D7-784646CD9F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CC90B738-EBF8-46AC-9A60-F60E3DAD86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510E887F-7864-4C18-9FDC-02FC09645D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26FB-4B52-8D72-D56D618E8EAF}"/>
                </c:ext>
              </c:extLst>
            </c:dLbl>
            <c:dLbl>
              <c:idx val="12"/>
              <c:tx>
                <c:rich>
                  <a:bodyPr/>
                  <a:lstStyle/>
                  <a:p>
                    <a:fld id="{87B2A665-185C-42B0-BC7D-28C3B4DE3C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B2D-4A32-96D2-9C641BCDE5CC}"/>
                </c:ext>
              </c:extLst>
            </c:dLbl>
            <c:dLbl>
              <c:idx val="13"/>
              <c:tx>
                <c:rich>
                  <a:bodyPr/>
                  <a:lstStyle/>
                  <a:p>
                    <a:fld id="{B484487C-CAC4-4A5D-95D7-2C5CDAAE6E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26FB-4B52-8D72-D56D618E8EAF}"/>
                </c:ext>
              </c:extLst>
            </c:dLbl>
            <c:dLbl>
              <c:idx val="14"/>
              <c:tx>
                <c:rich>
                  <a:bodyPr/>
                  <a:lstStyle/>
                  <a:p>
                    <a:fld id="{944BA937-9949-4998-BA7A-6205306FB3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26FB-4B52-8D72-D56D618E8EAF}"/>
                </c:ext>
              </c:extLst>
            </c:dLbl>
            <c:dLbl>
              <c:idx val="15"/>
              <c:tx>
                <c:rich>
                  <a:bodyPr/>
                  <a:lstStyle/>
                  <a:p>
                    <a:fld id="{610139C8-2374-4205-BBB2-8B91341217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26FB-4B52-8D72-D56D618E8EAF}"/>
                </c:ext>
              </c:extLst>
            </c:dLbl>
            <c:dLbl>
              <c:idx val="16"/>
              <c:tx>
                <c:rich>
                  <a:bodyPr/>
                  <a:lstStyle/>
                  <a:p>
                    <a:fld id="{4B4B1986-2C25-467A-8C55-EBDA6829A8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A6E-4C83-9A06-9C3309B2855E}"/>
                </c:ext>
              </c:extLst>
            </c:dLbl>
            <c:dLbl>
              <c:idx val="17"/>
              <c:tx>
                <c:rich>
                  <a:bodyPr/>
                  <a:lstStyle/>
                  <a:p>
                    <a:fld id="{4DE36416-CAD1-4F6D-B9D1-4671B69138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0A6E-4C83-9A06-9C3309B2855E}"/>
                </c:ext>
              </c:extLst>
            </c:dLbl>
            <c:dLbl>
              <c:idx val="18"/>
              <c:tx>
                <c:rich>
                  <a:bodyPr/>
                  <a:lstStyle/>
                  <a:p>
                    <a:fld id="{0C4A722E-E0EE-4562-9008-99029021E5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A6E-4C83-9A06-9C3309B2855E}"/>
                </c:ext>
              </c:extLst>
            </c:dLbl>
            <c:dLbl>
              <c:idx val="19"/>
              <c:tx>
                <c:rich>
                  <a:bodyPr/>
                  <a:lstStyle/>
                  <a:p>
                    <a:fld id="{FAFAA5DF-30EC-422E-BFEE-08F96BA4B0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A6E-4C83-9A06-9C3309B2855E}"/>
                </c:ext>
              </c:extLst>
            </c:dLbl>
            <c:dLbl>
              <c:idx val="20"/>
              <c:tx>
                <c:rich>
                  <a:bodyPr/>
                  <a:lstStyle/>
                  <a:p>
                    <a:fld id="{0E860EEE-F603-4BB1-9CF3-26C9AFA31B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C5AD-4BCF-9CB2-60EDA2D7DB42}"/>
                </c:ext>
              </c:extLst>
            </c:dLbl>
            <c:dLbl>
              <c:idx val="21"/>
              <c:tx>
                <c:rich>
                  <a:bodyPr/>
                  <a:lstStyle/>
                  <a:p>
                    <a:fld id="{2033799E-6176-4CB5-A712-7252BC3BC6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5AD-4BCF-9CB2-60EDA2D7DB42}"/>
                </c:ext>
              </c:extLst>
            </c:dLbl>
            <c:dLbl>
              <c:idx val="22"/>
              <c:tx>
                <c:rich>
                  <a:bodyPr/>
                  <a:lstStyle/>
                  <a:p>
                    <a:fld id="{BBA73CB3-AA24-48E6-B072-59820249D1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5AD-4BCF-9CB2-60EDA2D7DB42}"/>
                </c:ext>
              </c:extLst>
            </c:dLbl>
            <c:dLbl>
              <c:idx val="23"/>
              <c:tx>
                <c:rich>
                  <a:bodyPr/>
                  <a:lstStyle/>
                  <a:p>
                    <a:fld id="{CB204364-2250-417F-8720-14A16F4791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5AD-4BCF-9CB2-60EDA2D7DB42}"/>
                </c:ext>
              </c:extLst>
            </c:dLbl>
            <c:dLbl>
              <c:idx val="24"/>
              <c:tx>
                <c:rich>
                  <a:bodyPr/>
                  <a:lstStyle/>
                  <a:p>
                    <a:fld id="{E9BE5B3A-C063-4045-B57B-85B534D256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A6E-4C83-9A06-9C3309B2855E}"/>
                </c:ext>
              </c:extLst>
            </c:dLbl>
            <c:dLbl>
              <c:idx val="25"/>
              <c:tx>
                <c:rich>
                  <a:bodyPr/>
                  <a:lstStyle/>
                  <a:p>
                    <a:fld id="{7F7A4DB9-4CAD-49FB-B91A-F22DC1A691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D12-44DE-B956-CABCB15EBC04}"/>
                </c:ext>
              </c:extLst>
            </c:dLbl>
            <c:dLbl>
              <c:idx val="26"/>
              <c:tx>
                <c:rich>
                  <a:bodyPr/>
                  <a:lstStyle/>
                  <a:p>
                    <a:fld id="{EC5D40DC-AF70-48BD-BA0C-82B6FD56AA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D12-44DE-B956-CABCB15EBC04}"/>
                </c:ext>
              </c:extLst>
            </c:dLbl>
            <c:dLbl>
              <c:idx val="27"/>
              <c:tx>
                <c:rich>
                  <a:bodyPr/>
                  <a:lstStyle/>
                  <a:p>
                    <a:fld id="{1295C2C2-3BB3-4987-AD66-3EF8D02D75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D12-44DE-B956-CABCB15EBC04}"/>
                </c:ext>
              </c:extLst>
            </c:dLbl>
            <c:dLbl>
              <c:idx val="28"/>
              <c:tx>
                <c:rich>
                  <a:bodyPr/>
                  <a:lstStyle/>
                  <a:p>
                    <a:fld id="{4A4F6DC0-9A13-4D4C-99BC-0783674418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D12-44DE-B956-CABCB15EBC04}"/>
                </c:ext>
              </c:extLst>
            </c:dLbl>
            <c:dLbl>
              <c:idx val="29"/>
              <c:tx>
                <c:rich>
                  <a:bodyPr/>
                  <a:lstStyle/>
                  <a:p>
                    <a:fld id="{8D5DB24F-1E98-4000-91B8-558262D3FC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47-486F-B734-6012CEA493B3}"/>
                </c:ext>
              </c:extLst>
            </c:dLbl>
            <c:dLbl>
              <c:idx val="30"/>
              <c:tx>
                <c:rich>
                  <a:bodyPr/>
                  <a:lstStyle/>
                  <a:p>
                    <a:fld id="{EB3ED3CA-1CBA-4A1F-B64F-3E6499D003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D12-44DE-B956-CABCB15EBC04}"/>
                </c:ext>
              </c:extLst>
            </c:dLbl>
            <c:dLbl>
              <c:idx val="31"/>
              <c:tx>
                <c:rich>
                  <a:bodyPr/>
                  <a:lstStyle/>
                  <a:p>
                    <a:fld id="{B0C7FB12-0454-43D6-8573-FCEEB7B857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D12-44DE-B956-CABCB15EBC04}"/>
                </c:ext>
              </c:extLst>
            </c:dLbl>
            <c:dLbl>
              <c:idx val="32"/>
              <c:tx>
                <c:rich>
                  <a:bodyPr/>
                  <a:lstStyle/>
                  <a:p>
                    <a:fld id="{15BA32E1-E022-447A-ACB9-7C75552B1E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D12-44DE-B956-CABCB15EBC04}"/>
                </c:ext>
              </c:extLst>
            </c:dLbl>
            <c:dLbl>
              <c:idx val="33"/>
              <c:tx>
                <c:rich>
                  <a:bodyPr/>
                  <a:lstStyle/>
                  <a:p>
                    <a:fld id="{65C7A9C8-37C0-46E0-B63C-ACB838A102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D12-44DE-B956-CABCB15EBC04}"/>
                </c:ext>
              </c:extLst>
            </c:dLbl>
            <c:dLbl>
              <c:idx val="34"/>
              <c:tx>
                <c:rich>
                  <a:bodyPr/>
                  <a:lstStyle/>
                  <a:p>
                    <a:fld id="{224DCC24-F905-46C3-ACB3-20B16824C1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D12-44DE-B956-CABCB15EBC04}"/>
                </c:ext>
              </c:extLst>
            </c:dLbl>
            <c:dLbl>
              <c:idx val="35"/>
              <c:tx>
                <c:rich>
                  <a:bodyPr/>
                  <a:lstStyle/>
                  <a:p>
                    <a:fld id="{A96DDB73-5A93-437B-AE36-2F88646EA8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D12-44DE-B956-CABCB15EBC04}"/>
                </c:ext>
              </c:extLst>
            </c:dLbl>
            <c:dLbl>
              <c:idx val="36"/>
              <c:tx>
                <c:rich>
                  <a:bodyPr/>
                  <a:lstStyle/>
                  <a:p>
                    <a:fld id="{14C5595B-BE1D-4AC3-BA73-5B6196F7A0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D12-44DE-B956-CABCB15EBC04}"/>
                </c:ext>
              </c:extLst>
            </c:dLbl>
            <c:dLbl>
              <c:idx val="37"/>
              <c:tx>
                <c:rich>
                  <a:bodyPr/>
                  <a:lstStyle/>
                  <a:p>
                    <a:fld id="{9BE76244-4C42-4375-87F5-B939B54E7B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D12-44DE-B956-CABCB15EBC04}"/>
                </c:ext>
              </c:extLst>
            </c:dLbl>
            <c:dLbl>
              <c:idx val="38"/>
              <c:tx>
                <c:rich>
                  <a:bodyPr/>
                  <a:lstStyle/>
                  <a:p>
                    <a:fld id="{F3E7A030-F8D3-4303-AB9E-E34150BA70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D12-44DE-B956-CABCB15EBC04}"/>
                </c:ext>
              </c:extLst>
            </c:dLbl>
            <c:dLbl>
              <c:idx val="39"/>
              <c:tx>
                <c:rich>
                  <a:bodyPr/>
                  <a:lstStyle/>
                  <a:p>
                    <a:fld id="{A1030C0C-CB02-4E43-B7A6-BCC1156D39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D12-44DE-B956-CABCB15EBC04}"/>
                </c:ext>
              </c:extLst>
            </c:dLbl>
            <c:dLbl>
              <c:idx val="40"/>
              <c:tx>
                <c:rich>
                  <a:bodyPr/>
                  <a:lstStyle/>
                  <a:p>
                    <a:fld id="{D163CBE0-6871-406F-8D99-C697BCF35D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D12-44DE-B956-CABCB15EBC04}"/>
                </c:ext>
              </c:extLst>
            </c:dLbl>
            <c:dLbl>
              <c:idx val="41"/>
              <c:tx>
                <c:rich>
                  <a:bodyPr/>
                  <a:lstStyle/>
                  <a:p>
                    <a:fld id="{F9C67329-0532-43C4-B95F-A504FB5BF2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D12-44DE-B956-CABCB15EBC04}"/>
                </c:ext>
              </c:extLst>
            </c:dLbl>
            <c:dLbl>
              <c:idx val="42"/>
              <c:tx>
                <c:rich>
                  <a:bodyPr/>
                  <a:lstStyle/>
                  <a:p>
                    <a:fld id="{4B88DCEC-2880-41FA-A327-26216815B0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D12-44DE-B956-CABCB15EBC04}"/>
                </c:ext>
              </c:extLst>
            </c:dLbl>
            <c:dLbl>
              <c:idx val="43"/>
              <c:tx>
                <c:rich>
                  <a:bodyPr/>
                  <a:lstStyle/>
                  <a:p>
                    <a:fld id="{40284F37-A53B-4E71-BC77-217C9F1F78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D12-44DE-B956-CABCB15EBC04}"/>
                </c:ext>
              </c:extLst>
            </c:dLbl>
            <c:dLbl>
              <c:idx val="44"/>
              <c:tx>
                <c:rich>
                  <a:bodyPr/>
                  <a:lstStyle/>
                  <a:p>
                    <a:fld id="{0D1EA38B-C886-4CD0-8F95-67902812D9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D12-44DE-B956-CABCB15EBC04}"/>
                </c:ext>
              </c:extLst>
            </c:dLbl>
            <c:dLbl>
              <c:idx val="45"/>
              <c:tx>
                <c:rich>
                  <a:bodyPr/>
                  <a:lstStyle/>
                  <a:p>
                    <a:fld id="{420FBEB6-D1DF-434D-AE10-5D881C74E6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D12-44DE-B956-CABCB15EBC04}"/>
                </c:ext>
              </c:extLst>
            </c:dLbl>
            <c:dLbl>
              <c:idx val="46"/>
              <c:tx>
                <c:rich>
                  <a:bodyPr/>
                  <a:lstStyle/>
                  <a:p>
                    <a:fld id="{480D5FD1-A2BF-4CCC-A2DC-4C5CF38457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D12-44DE-B956-CABCB15EBC04}"/>
                </c:ext>
              </c:extLst>
            </c:dLbl>
            <c:dLbl>
              <c:idx val="47"/>
              <c:tx>
                <c:rich>
                  <a:bodyPr/>
                  <a:lstStyle/>
                  <a:p>
                    <a:fld id="{933692CD-54D3-4D38-BF90-655132C6AA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D12-44DE-B956-CABCB15EBC04}"/>
                </c:ext>
              </c:extLst>
            </c:dLbl>
            <c:dLbl>
              <c:idx val="48"/>
              <c:tx>
                <c:rich>
                  <a:bodyPr/>
                  <a:lstStyle/>
                  <a:p>
                    <a:fld id="{3A510C41-CFA6-4D41-B2E7-11DF5AB84F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D12-44DE-B956-CABCB15EBC04}"/>
                </c:ext>
              </c:extLst>
            </c:dLbl>
            <c:dLbl>
              <c:idx val="49"/>
              <c:tx>
                <c:rich>
                  <a:bodyPr/>
                  <a:lstStyle/>
                  <a:p>
                    <a:fld id="{4F93419D-F6B6-40BA-892F-4E88EBB67B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D12-44DE-B956-CABCB15EBC04}"/>
                </c:ext>
              </c:extLst>
            </c:dLbl>
            <c:dLbl>
              <c:idx val="50"/>
              <c:tx>
                <c:rich>
                  <a:bodyPr/>
                  <a:lstStyle/>
                  <a:p>
                    <a:fld id="{76CC541E-78A7-4F03-A11D-AFFB71C446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D12-44DE-B956-CABCB15EBC04}"/>
                </c:ext>
              </c:extLst>
            </c:dLbl>
            <c:dLbl>
              <c:idx val="51"/>
              <c:tx>
                <c:rich>
                  <a:bodyPr/>
                  <a:lstStyle/>
                  <a:p>
                    <a:fld id="{E0824E2C-AD61-4AFE-8B1F-836E45C21D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D12-44DE-B956-CABCB15EBC04}"/>
                </c:ext>
              </c:extLst>
            </c:dLbl>
            <c:dLbl>
              <c:idx val="52"/>
              <c:tx>
                <c:rich>
                  <a:bodyPr/>
                  <a:lstStyle/>
                  <a:p>
                    <a:fld id="{5EC4F03C-601A-4B4E-837D-A9498D6D12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D12-44DE-B956-CABCB15EBC04}"/>
                </c:ext>
              </c:extLst>
            </c:dLbl>
            <c:dLbl>
              <c:idx val="53"/>
              <c:tx>
                <c:rich>
                  <a:bodyPr/>
                  <a:lstStyle/>
                  <a:p>
                    <a:fld id="{1C65E49B-4F0E-445F-93E1-4080EFAF73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D12-44DE-B956-CABCB15EBC04}"/>
                </c:ext>
              </c:extLst>
            </c:dLbl>
            <c:dLbl>
              <c:idx val="54"/>
              <c:tx>
                <c:rich>
                  <a:bodyPr/>
                  <a:lstStyle/>
                  <a:p>
                    <a:fld id="{A71F9065-3F9A-482B-8224-5DCDD561C1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D12-44DE-B956-CABCB15EBC04}"/>
                </c:ext>
              </c:extLst>
            </c:dLbl>
            <c:dLbl>
              <c:idx val="55"/>
              <c:tx>
                <c:rich>
                  <a:bodyPr/>
                  <a:lstStyle/>
                  <a:p>
                    <a:fld id="{F916149A-9512-48DC-A113-0FC5D695B1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D12-44DE-B956-CABCB15EBC04}"/>
                </c:ext>
              </c:extLst>
            </c:dLbl>
            <c:dLbl>
              <c:idx val="56"/>
              <c:tx>
                <c:rich>
                  <a:bodyPr/>
                  <a:lstStyle/>
                  <a:p>
                    <a:fld id="{124BF77D-9F2C-499C-BE31-82B70D3F50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8E3F-4D1B-A313-C02BEC0FDBD1}"/>
                </c:ext>
              </c:extLst>
            </c:dLbl>
            <c:dLbl>
              <c:idx val="57"/>
              <c:tx>
                <c:rich>
                  <a:bodyPr/>
                  <a:lstStyle/>
                  <a:p>
                    <a:fld id="{0F8F7E87-71B5-4643-A68F-5F31D97F81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8E3F-4D1B-A313-C02BEC0FDBD1}"/>
                </c:ext>
              </c:extLst>
            </c:dLbl>
            <c:dLbl>
              <c:idx val="58"/>
              <c:tx>
                <c:rich>
                  <a:bodyPr/>
                  <a:lstStyle/>
                  <a:p>
                    <a:fld id="{04901925-D48A-49CA-BE2F-C25B7FB7E6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8E3F-4D1B-A313-C02BEC0FDBD1}"/>
                </c:ext>
              </c:extLst>
            </c:dLbl>
            <c:dLbl>
              <c:idx val="59"/>
              <c:tx>
                <c:rich>
                  <a:bodyPr/>
                  <a:lstStyle/>
                  <a:p>
                    <a:fld id="{AA1C3969-E5C2-4953-BED4-03BEA533EE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8E3F-4D1B-A313-C02BEC0FDBD1}"/>
                </c:ext>
              </c:extLst>
            </c:dLbl>
            <c:dLbl>
              <c:idx val="60"/>
              <c:tx>
                <c:rich>
                  <a:bodyPr/>
                  <a:lstStyle/>
                  <a:p>
                    <a:fld id="{42FA0BDC-90BB-406F-B142-9D3179556F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8E3F-4D1B-A313-C02BEC0FDBD1}"/>
                </c:ext>
              </c:extLst>
            </c:dLbl>
            <c:dLbl>
              <c:idx val="61"/>
              <c:tx>
                <c:rich>
                  <a:bodyPr/>
                  <a:lstStyle/>
                  <a:p>
                    <a:fld id="{0C7F12E8-929B-45AF-80E8-04CC7AFB74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8E3F-4D1B-A313-C02BEC0FDBD1}"/>
                </c:ext>
              </c:extLst>
            </c:dLbl>
            <c:dLbl>
              <c:idx val="62"/>
              <c:tx>
                <c:rich>
                  <a:bodyPr/>
                  <a:lstStyle/>
                  <a:p>
                    <a:fld id="{B87A0919-8083-4C8E-9079-AD82F23381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8E3F-4D1B-A313-C02BEC0FDBD1}"/>
                </c:ext>
              </c:extLst>
            </c:dLbl>
            <c:dLbl>
              <c:idx val="63"/>
              <c:tx>
                <c:rich>
                  <a:bodyPr/>
                  <a:lstStyle/>
                  <a:p>
                    <a:fld id="{D0E8FA11-2AF8-4A39-A1EF-5B8193204B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8E3F-4D1B-A313-C02BEC0FDBD1}"/>
                </c:ext>
              </c:extLst>
            </c:dLbl>
            <c:dLbl>
              <c:idx val="64"/>
              <c:tx>
                <c:rich>
                  <a:bodyPr/>
                  <a:lstStyle/>
                  <a:p>
                    <a:fld id="{C16FB375-CE21-41A8-9770-17F4E7A03B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8E3F-4D1B-A313-C02BEC0FDBD1}"/>
                </c:ext>
              </c:extLst>
            </c:dLbl>
            <c:dLbl>
              <c:idx val="65"/>
              <c:tx>
                <c:rich>
                  <a:bodyPr/>
                  <a:lstStyle/>
                  <a:p>
                    <a:fld id="{9647874E-8651-4CFD-9390-FECC5A6477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8E3F-4D1B-A313-C02BEC0FDBD1}"/>
                </c:ext>
              </c:extLst>
            </c:dLbl>
            <c:dLbl>
              <c:idx val="66"/>
              <c:tx>
                <c:rich>
                  <a:bodyPr/>
                  <a:lstStyle/>
                  <a:p>
                    <a:fld id="{877835A5-4BF7-4F4E-9018-5AA351A2D6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8E3F-4D1B-A313-C02BEC0FDBD1}"/>
                </c:ext>
              </c:extLst>
            </c:dLbl>
            <c:dLbl>
              <c:idx val="67"/>
              <c:tx>
                <c:rich>
                  <a:bodyPr/>
                  <a:lstStyle/>
                  <a:p>
                    <a:fld id="{8429BA8F-F3E2-4305-ADC9-7E57BE3546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8E3F-4D1B-A313-C02BEC0FDBD1}"/>
                </c:ext>
              </c:extLst>
            </c:dLbl>
            <c:dLbl>
              <c:idx val="68"/>
              <c:tx>
                <c:rich>
                  <a:bodyPr/>
                  <a:lstStyle/>
                  <a:p>
                    <a:fld id="{BBD61059-15AF-4BE3-9E62-DA89E1E24E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8E3F-4D1B-A313-C02BEC0FDBD1}"/>
                </c:ext>
              </c:extLst>
            </c:dLbl>
            <c:dLbl>
              <c:idx val="69"/>
              <c:tx>
                <c:rich>
                  <a:bodyPr/>
                  <a:lstStyle/>
                  <a:p>
                    <a:fld id="{4DA8A684-FF3D-473D-A12F-2BB1C828F2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8E3F-4D1B-A313-C02BEC0FDBD1}"/>
                </c:ext>
              </c:extLst>
            </c:dLbl>
            <c:dLbl>
              <c:idx val="70"/>
              <c:tx>
                <c:rich>
                  <a:bodyPr/>
                  <a:lstStyle/>
                  <a:p>
                    <a:fld id="{9FE95E79-D475-40BF-8F6B-61D5778F57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8E3F-4D1B-A313-C02BEC0FDBD1}"/>
                </c:ext>
              </c:extLst>
            </c:dLbl>
            <c:dLbl>
              <c:idx val="71"/>
              <c:tx>
                <c:rich>
                  <a:bodyPr/>
                  <a:lstStyle/>
                  <a:p>
                    <a:fld id="{20CF9DBB-2D83-44C5-BEE6-7FC16F7AED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8E3F-4D1B-A313-C02BEC0FDBD1}"/>
                </c:ext>
              </c:extLst>
            </c:dLbl>
            <c:dLbl>
              <c:idx val="72"/>
              <c:tx>
                <c:rich>
                  <a:bodyPr/>
                  <a:lstStyle/>
                  <a:p>
                    <a:fld id="{342664B2-B1E7-4DF5-9FFE-02F85AEC78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8E3F-4D1B-A313-C02BEC0FDBD1}"/>
                </c:ext>
              </c:extLst>
            </c:dLbl>
            <c:dLbl>
              <c:idx val="73"/>
              <c:tx>
                <c:rich>
                  <a:bodyPr/>
                  <a:lstStyle/>
                  <a:p>
                    <a:fld id="{648A3B99-BD5B-4811-AEB9-84E25F8CA1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8E3F-4D1B-A313-C02BEC0FDBD1}"/>
                </c:ext>
              </c:extLst>
            </c:dLbl>
            <c:dLbl>
              <c:idx val="74"/>
              <c:tx>
                <c:rich>
                  <a:bodyPr/>
                  <a:lstStyle/>
                  <a:p>
                    <a:fld id="{4FF48997-2676-48CC-9759-B0F1908305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8E3F-4D1B-A313-C02BEC0FDBD1}"/>
                </c:ext>
              </c:extLst>
            </c:dLbl>
            <c:dLbl>
              <c:idx val="75"/>
              <c:tx>
                <c:rich>
                  <a:bodyPr/>
                  <a:lstStyle/>
                  <a:p>
                    <a:fld id="{30A47FB9-5931-485E-98EB-6484E064CD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8E3F-4D1B-A313-C02BEC0FDBD1}"/>
                </c:ext>
              </c:extLst>
            </c:dLbl>
            <c:dLbl>
              <c:idx val="76"/>
              <c:tx>
                <c:rich>
                  <a:bodyPr/>
                  <a:lstStyle/>
                  <a:p>
                    <a:fld id="{566DD7EC-898B-4E0A-BB7F-F596533297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8E3F-4D1B-A313-C02BEC0FDBD1}"/>
                </c:ext>
              </c:extLst>
            </c:dLbl>
            <c:dLbl>
              <c:idx val="77"/>
              <c:tx>
                <c:rich>
                  <a:bodyPr/>
                  <a:lstStyle/>
                  <a:p>
                    <a:fld id="{3A2AE2A9-C2F7-4D0F-B17F-A718B38D7E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8E3F-4D1B-A313-C02BEC0FDBD1}"/>
                </c:ext>
              </c:extLst>
            </c:dLbl>
            <c:dLbl>
              <c:idx val="78"/>
              <c:tx>
                <c:rich>
                  <a:bodyPr/>
                  <a:lstStyle/>
                  <a:p>
                    <a:fld id="{86E4CBF9-A1EF-4D3A-9469-AF77E3C536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8E3F-4D1B-A313-C02BEC0FDBD1}"/>
                </c:ext>
              </c:extLst>
            </c:dLbl>
            <c:dLbl>
              <c:idx val="79"/>
              <c:tx>
                <c:rich>
                  <a:bodyPr/>
                  <a:lstStyle/>
                  <a:p>
                    <a:fld id="{48C168AC-69FC-40D8-9605-E33CAA4D6E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8E3F-4D1B-A313-C02BEC0FDBD1}"/>
                </c:ext>
              </c:extLst>
            </c:dLbl>
            <c:dLbl>
              <c:idx val="80"/>
              <c:tx>
                <c:rich>
                  <a:bodyPr/>
                  <a:lstStyle/>
                  <a:p>
                    <a:fld id="{D2678051-5632-4CF4-A398-06CE7F4148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8E3F-4D1B-A313-C02BEC0FDBD1}"/>
                </c:ext>
              </c:extLst>
            </c:dLbl>
            <c:dLbl>
              <c:idx val="81"/>
              <c:tx>
                <c:rich>
                  <a:bodyPr/>
                  <a:lstStyle/>
                  <a:p>
                    <a:fld id="{55DCB56F-4DFD-43D1-AB83-EF10FFD132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9-8E3F-4D1B-A313-C02BEC0FDBD1}"/>
                </c:ext>
              </c:extLst>
            </c:dLbl>
            <c:dLbl>
              <c:idx val="82"/>
              <c:tx>
                <c:rich>
                  <a:bodyPr/>
                  <a:lstStyle/>
                  <a:p>
                    <a:fld id="{83F56478-DFD3-406C-9EE4-A95D11E71B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A-8E3F-4D1B-A313-C02BEC0FDBD1}"/>
                </c:ext>
              </c:extLst>
            </c:dLbl>
            <c:dLbl>
              <c:idx val="83"/>
              <c:tx>
                <c:rich>
                  <a:bodyPr/>
                  <a:lstStyle/>
                  <a:p>
                    <a:fld id="{8005DD23-C9C2-4275-9C3C-92642FA138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B-8E3F-4D1B-A313-C02BEC0FDBD1}"/>
                </c:ext>
              </c:extLst>
            </c:dLbl>
            <c:dLbl>
              <c:idx val="84"/>
              <c:tx>
                <c:rich>
                  <a:bodyPr/>
                  <a:lstStyle/>
                  <a:p>
                    <a:fld id="{668CBD6D-111E-4AF0-9D5A-057A9A8778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C-8E3F-4D1B-A313-C02BEC0FDBD1}"/>
                </c:ext>
              </c:extLst>
            </c:dLbl>
            <c:dLbl>
              <c:idx val="85"/>
              <c:tx>
                <c:rich>
                  <a:bodyPr/>
                  <a:lstStyle/>
                  <a:p>
                    <a:fld id="{78E2CA06-559E-4059-A7AE-D8D5FFAEA4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D-8E3F-4D1B-A313-C02BEC0FDBD1}"/>
                </c:ext>
              </c:extLst>
            </c:dLbl>
            <c:dLbl>
              <c:idx val="86"/>
              <c:tx>
                <c:rich>
                  <a:bodyPr/>
                  <a:lstStyle/>
                  <a:p>
                    <a:fld id="{2D074B29-0C71-412C-9B76-FBFB1F0C91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E-8E3F-4D1B-A313-C02BEC0FDBD1}"/>
                </c:ext>
              </c:extLst>
            </c:dLbl>
            <c:dLbl>
              <c:idx val="87"/>
              <c:tx>
                <c:rich>
                  <a:bodyPr/>
                  <a:lstStyle/>
                  <a:p>
                    <a:fld id="{83916934-2928-455F-BE78-43E19B79C6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F-8E3F-4D1B-A313-C02BEC0FDBD1}"/>
                </c:ext>
              </c:extLst>
            </c:dLbl>
            <c:dLbl>
              <c:idx val="88"/>
              <c:tx>
                <c:rich>
                  <a:bodyPr/>
                  <a:lstStyle/>
                  <a:p>
                    <a:fld id="{547CC37D-BC3B-4F44-9DD7-6FCB9CACBE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0-8E3F-4D1B-A313-C02BEC0FDBD1}"/>
                </c:ext>
              </c:extLst>
            </c:dLbl>
            <c:dLbl>
              <c:idx val="89"/>
              <c:tx>
                <c:rich>
                  <a:bodyPr/>
                  <a:lstStyle/>
                  <a:p>
                    <a:fld id="{047AE290-61B5-44A8-9DE8-1A73C885A5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1-8E3F-4D1B-A313-C02BEC0FDBD1}"/>
                </c:ext>
              </c:extLst>
            </c:dLbl>
            <c:dLbl>
              <c:idx val="90"/>
              <c:tx>
                <c:rich>
                  <a:bodyPr/>
                  <a:lstStyle/>
                  <a:p>
                    <a:fld id="{0250B762-675E-4D9C-9972-E53FDFEF37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2-8E3F-4D1B-A313-C02BEC0FDBD1}"/>
                </c:ext>
              </c:extLst>
            </c:dLbl>
            <c:dLbl>
              <c:idx val="91"/>
              <c:tx>
                <c:rich>
                  <a:bodyPr/>
                  <a:lstStyle/>
                  <a:p>
                    <a:fld id="{F421C877-1B95-49ED-A648-062A57DE7B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3-8E3F-4D1B-A313-C02BEC0FDBD1}"/>
                </c:ext>
              </c:extLst>
            </c:dLbl>
            <c:dLbl>
              <c:idx val="92"/>
              <c:tx>
                <c:rich>
                  <a:bodyPr/>
                  <a:lstStyle/>
                  <a:p>
                    <a:fld id="{FC90D0D5-F2B4-4128-8858-D35A2369A9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4-8E3F-4D1B-A313-C02BEC0FDBD1}"/>
                </c:ext>
              </c:extLst>
            </c:dLbl>
            <c:dLbl>
              <c:idx val="93"/>
              <c:tx>
                <c:rich>
                  <a:bodyPr/>
                  <a:lstStyle/>
                  <a:p>
                    <a:fld id="{F314657C-F56E-4387-A0C1-2E7F68FB34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5-8E3F-4D1B-A313-C02BEC0FDBD1}"/>
                </c:ext>
              </c:extLst>
            </c:dLbl>
            <c:dLbl>
              <c:idx val="94"/>
              <c:tx>
                <c:rich>
                  <a:bodyPr/>
                  <a:lstStyle/>
                  <a:p>
                    <a:fld id="{FD324AD4-B062-4B5E-81B4-8828801AB0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6-8E3F-4D1B-A313-C02BEC0FDBD1}"/>
                </c:ext>
              </c:extLst>
            </c:dLbl>
            <c:dLbl>
              <c:idx val="95"/>
              <c:tx>
                <c:rich>
                  <a:bodyPr/>
                  <a:lstStyle/>
                  <a:p>
                    <a:fld id="{5100D112-04AF-4103-B9E7-927B61B67C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7-8E3F-4D1B-A313-C02BEC0FDBD1}"/>
                </c:ext>
              </c:extLst>
            </c:dLbl>
            <c:dLbl>
              <c:idx val="96"/>
              <c:tx>
                <c:rich>
                  <a:bodyPr/>
                  <a:lstStyle/>
                  <a:p>
                    <a:fld id="{A0744175-A03B-4A74-B0A6-C3BCC269CB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8-8E3F-4D1B-A313-C02BEC0FDBD1}"/>
                </c:ext>
              </c:extLst>
            </c:dLbl>
            <c:dLbl>
              <c:idx val="97"/>
              <c:tx>
                <c:rich>
                  <a:bodyPr/>
                  <a:lstStyle/>
                  <a:p>
                    <a:fld id="{9557783F-2853-45CE-AD30-D0377806F1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9-8E3F-4D1B-A313-C02BEC0FDBD1}"/>
                </c:ext>
              </c:extLst>
            </c:dLbl>
            <c:dLbl>
              <c:idx val="98"/>
              <c:tx>
                <c:rich>
                  <a:bodyPr/>
                  <a:lstStyle/>
                  <a:p>
                    <a:fld id="{0E1288E5-1AF3-4C1A-9465-F776FD4900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A-8E3F-4D1B-A313-C02BEC0FDBD1}"/>
                </c:ext>
              </c:extLst>
            </c:dLbl>
            <c:dLbl>
              <c:idx val="99"/>
              <c:tx>
                <c:rich>
                  <a:bodyPr/>
                  <a:lstStyle/>
                  <a:p>
                    <a:fld id="{AF22C540-E22A-4A77-BEE0-07E2A35617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B-8E3F-4D1B-A313-C02BEC0FDBD1}"/>
                </c:ext>
              </c:extLst>
            </c:dLbl>
            <c:dLbl>
              <c:idx val="100"/>
              <c:tx>
                <c:rich>
                  <a:bodyPr/>
                  <a:lstStyle/>
                  <a:p>
                    <a:fld id="{6A39C162-4A31-4FCB-B1AA-2BD2441069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C-8E3F-4D1B-A313-C02BEC0FDBD1}"/>
                </c:ext>
              </c:extLst>
            </c:dLbl>
            <c:dLbl>
              <c:idx val="101"/>
              <c:tx>
                <c:rich>
                  <a:bodyPr/>
                  <a:lstStyle/>
                  <a:p>
                    <a:fld id="{6960E98A-B758-4E55-BC73-914D1918ED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D-8E3F-4D1B-A313-C02BEC0FDBD1}"/>
                </c:ext>
              </c:extLst>
            </c:dLbl>
            <c:dLbl>
              <c:idx val="102"/>
              <c:tx>
                <c:rich>
                  <a:bodyPr/>
                  <a:lstStyle/>
                  <a:p>
                    <a:fld id="{2E86EA3D-BE37-4874-98AB-2CBE25B4F8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E-8E3F-4D1B-A313-C02BEC0FDBD1}"/>
                </c:ext>
              </c:extLst>
            </c:dLbl>
            <c:dLbl>
              <c:idx val="103"/>
              <c:tx>
                <c:rich>
                  <a:bodyPr/>
                  <a:lstStyle/>
                  <a:p>
                    <a:fld id="{9D8D0B2C-A059-4035-B17C-165B9A13BC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F-8E3F-4D1B-A313-C02BEC0FDBD1}"/>
                </c:ext>
              </c:extLst>
            </c:dLbl>
            <c:dLbl>
              <c:idx val="104"/>
              <c:tx>
                <c:rich>
                  <a:bodyPr/>
                  <a:lstStyle/>
                  <a:p>
                    <a:fld id="{C48A22FE-F528-4277-9996-14AC35D58E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0-8E3F-4D1B-A313-C02BEC0FDBD1}"/>
                </c:ext>
              </c:extLst>
            </c:dLbl>
            <c:dLbl>
              <c:idx val="105"/>
              <c:tx>
                <c:rich>
                  <a:bodyPr/>
                  <a:lstStyle/>
                  <a:p>
                    <a:fld id="{5F42419F-C885-46CA-9EB5-5D02C5BCCD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1-8E3F-4D1B-A313-C02BEC0FDBD1}"/>
                </c:ext>
              </c:extLst>
            </c:dLbl>
            <c:dLbl>
              <c:idx val="106"/>
              <c:tx>
                <c:rich>
                  <a:bodyPr/>
                  <a:lstStyle/>
                  <a:p>
                    <a:fld id="{601082F8-F963-4CA1-9ACA-2F6D6E2E9C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2-8E3F-4D1B-A313-C02BEC0FDBD1}"/>
                </c:ext>
              </c:extLst>
            </c:dLbl>
            <c:dLbl>
              <c:idx val="107"/>
              <c:tx>
                <c:rich>
                  <a:bodyPr/>
                  <a:lstStyle/>
                  <a:p>
                    <a:fld id="{2AA5E74A-467F-4194-85FD-6E02E133EE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3-8E3F-4D1B-A313-C02BEC0FDBD1}"/>
                </c:ext>
              </c:extLst>
            </c:dLbl>
            <c:dLbl>
              <c:idx val="108"/>
              <c:tx>
                <c:rich>
                  <a:bodyPr/>
                  <a:lstStyle/>
                  <a:p>
                    <a:fld id="{DB039BBB-B423-4D9F-A2A2-967661AC9D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4-8E3F-4D1B-A313-C02BEC0FDBD1}"/>
                </c:ext>
              </c:extLst>
            </c:dLbl>
            <c:dLbl>
              <c:idx val="109"/>
              <c:tx>
                <c:rich>
                  <a:bodyPr/>
                  <a:lstStyle/>
                  <a:p>
                    <a:fld id="{E2257391-87EE-4036-8D20-5DD0EC6CA3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5-8E3F-4D1B-A313-C02BEC0FDBD1}"/>
                </c:ext>
              </c:extLst>
            </c:dLbl>
            <c:dLbl>
              <c:idx val="110"/>
              <c:tx>
                <c:rich>
                  <a:bodyPr/>
                  <a:lstStyle/>
                  <a:p>
                    <a:fld id="{38CC3418-8F28-4F38-8677-EC6018A49B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6-8E3F-4D1B-A313-C02BEC0FDBD1}"/>
                </c:ext>
              </c:extLst>
            </c:dLbl>
            <c:dLbl>
              <c:idx val="111"/>
              <c:tx>
                <c:rich>
                  <a:bodyPr/>
                  <a:lstStyle/>
                  <a:p>
                    <a:fld id="{C2BDF5A4-C8E9-486F-9227-BDEC438153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7-8E3F-4D1B-A313-C02BEC0FDBD1}"/>
                </c:ext>
              </c:extLst>
            </c:dLbl>
            <c:dLbl>
              <c:idx val="112"/>
              <c:tx>
                <c:rich>
                  <a:bodyPr/>
                  <a:lstStyle/>
                  <a:p>
                    <a:fld id="{EAABC3F0-78AA-44A1-8C9F-1FB6524A89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8-8E3F-4D1B-A313-C02BEC0FDBD1}"/>
                </c:ext>
              </c:extLst>
            </c:dLbl>
            <c:dLbl>
              <c:idx val="113"/>
              <c:tx>
                <c:rich>
                  <a:bodyPr/>
                  <a:lstStyle/>
                  <a:p>
                    <a:fld id="{42DAA262-792D-44EE-B433-ADED034F15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9-8E3F-4D1B-A313-C02BEC0FDBD1}"/>
                </c:ext>
              </c:extLst>
            </c:dLbl>
            <c:dLbl>
              <c:idx val="114"/>
              <c:tx>
                <c:rich>
                  <a:bodyPr/>
                  <a:lstStyle/>
                  <a:p>
                    <a:fld id="{97986985-58E8-479C-B336-04E819B4CC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A-8E3F-4D1B-A313-C02BEC0FDBD1}"/>
                </c:ext>
              </c:extLst>
            </c:dLbl>
            <c:dLbl>
              <c:idx val="115"/>
              <c:tx>
                <c:rich>
                  <a:bodyPr/>
                  <a:lstStyle/>
                  <a:p>
                    <a:fld id="{80B51702-7A57-4F3F-A7A4-F3AC0952D7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D$2:$D$117</c:f>
              <c:numCache>
                <c:formatCode>General</c:formatCode>
                <c:ptCount val="116"/>
                <c:pt idx="0">
                  <c:v>1</c:v>
                </c:pt>
                <c:pt idx="1">
                  <c:v>1</c:v>
                </c:pt>
                <c:pt idx="2">
                  <c:v>1</c:v>
                </c:pt>
                <c:pt idx="3">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15" formatCode="0">
                  <c:v>1</c:v>
                </c:pt>
                <c:pt idx="16" formatCode="0">
                  <c:v>1</c:v>
                </c:pt>
                <c:pt idx="17" formatCode="0">
                  <c:v>2</c:v>
                </c:pt>
                <c:pt idx="18" formatCode="0">
                  <c:v>1</c:v>
                </c:pt>
                <c:pt idx="19" formatCode="0">
                  <c:v>2</c:v>
                </c:pt>
                <c:pt idx="20" formatCode="0">
                  <c:v>2</c:v>
                </c:pt>
                <c:pt idx="21" formatCode="0">
                  <c:v>2</c:v>
                </c:pt>
                <c:pt idx="22" formatCode="0">
                  <c:v>2</c:v>
                </c:pt>
                <c:pt idx="23" formatCode="0">
                  <c:v>2</c:v>
                </c:pt>
                <c:pt idx="24" formatCode="0">
                  <c:v>2</c:v>
                </c:pt>
                <c:pt idx="25" formatCode="0">
                  <c:v>2</c:v>
                </c:pt>
                <c:pt idx="26" formatCode="0">
                  <c:v>2</c:v>
                </c:pt>
                <c:pt idx="27">
                  <c:v>2</c:v>
                </c:pt>
                <c:pt idx="28">
                  <c:v>2</c:v>
                </c:pt>
                <c:pt idx="29">
                  <c:v>2</c:v>
                </c:pt>
                <c:pt idx="30">
                  <c:v>2</c:v>
                </c:pt>
                <c:pt idx="31">
                  <c:v>3</c:v>
                </c:pt>
                <c:pt idx="32">
                  <c:v>3</c:v>
                </c:pt>
                <c:pt idx="33">
                  <c:v>3</c:v>
                </c:pt>
                <c:pt idx="34">
                  <c:v>3</c:v>
                </c:pt>
                <c:pt idx="35">
                  <c:v>3</c:v>
                </c:pt>
                <c:pt idx="36">
                  <c:v>3</c:v>
                </c:pt>
                <c:pt idx="37">
                  <c:v>3</c:v>
                </c:pt>
                <c:pt idx="38">
                  <c:v>3</c:v>
                </c:pt>
                <c:pt idx="39">
                  <c:v>3</c:v>
                </c:pt>
                <c:pt idx="40">
                  <c:v>3</c:v>
                </c:pt>
                <c:pt idx="41">
                  <c:v>3</c:v>
                </c:pt>
                <c:pt idx="42">
                  <c:v>3</c:v>
                </c:pt>
                <c:pt idx="43">
                  <c:v>3</c:v>
                </c:pt>
                <c:pt idx="44">
                  <c:v>4</c:v>
                </c:pt>
                <c:pt idx="45">
                  <c:v>4</c:v>
                </c:pt>
                <c:pt idx="46">
                  <c:v>4</c:v>
                </c:pt>
                <c:pt idx="47">
                  <c:v>4</c:v>
                </c:pt>
                <c:pt idx="48">
                  <c:v>4</c:v>
                </c:pt>
                <c:pt idx="49">
                  <c:v>4</c:v>
                </c:pt>
                <c:pt idx="50">
                  <c:v>4</c:v>
                </c:pt>
                <c:pt idx="51">
                  <c:v>4</c:v>
                </c:pt>
                <c:pt idx="52">
                  <c:v>4</c:v>
                </c:pt>
                <c:pt idx="53">
                  <c:v>4</c:v>
                </c:pt>
                <c:pt idx="54">
                  <c:v>4</c:v>
                </c:pt>
                <c:pt idx="55">
                  <c:v>4</c:v>
                </c:pt>
                <c:pt idx="56">
                  <c:v>4</c:v>
                </c:pt>
                <c:pt idx="57">
                  <c:v>4</c:v>
                </c:pt>
                <c:pt idx="58">
                  <c:v>4</c:v>
                </c:pt>
                <c:pt idx="59">
                  <c:v>4</c:v>
                </c:pt>
                <c:pt idx="60">
                  <c:v>4</c:v>
                </c:pt>
                <c:pt idx="61">
                  <c:v>4</c:v>
                </c:pt>
                <c:pt idx="62">
                  <c:v>4</c:v>
                </c:pt>
                <c:pt idx="63">
                  <c:v>4</c:v>
                </c:pt>
                <c:pt idx="64">
                  <c:v>4</c:v>
                </c:pt>
                <c:pt idx="65">
                  <c:v>4</c:v>
                </c:pt>
                <c:pt idx="66">
                  <c:v>4</c:v>
                </c:pt>
                <c:pt idx="67">
                  <c:v>4</c:v>
                </c:pt>
                <c:pt idx="68">
                  <c:v>5</c:v>
                </c:pt>
                <c:pt idx="69">
                  <c:v>5</c:v>
                </c:pt>
                <c:pt idx="70">
                  <c:v>5</c:v>
                </c:pt>
                <c:pt idx="71">
                  <c:v>5</c:v>
                </c:pt>
                <c:pt idx="72">
                  <c:v>5</c:v>
                </c:pt>
                <c:pt idx="73">
                  <c:v>5</c:v>
                </c:pt>
                <c:pt idx="74">
                  <c:v>5</c:v>
                </c:pt>
                <c:pt idx="75">
                  <c:v>5</c:v>
                </c:pt>
                <c:pt idx="76">
                  <c:v>5</c:v>
                </c:pt>
                <c:pt idx="77">
                  <c:v>5</c:v>
                </c:pt>
                <c:pt idx="78">
                  <c:v>5</c:v>
                </c:pt>
                <c:pt idx="79">
                  <c:v>5</c:v>
                </c:pt>
                <c:pt idx="80">
                  <c:v>6</c:v>
                </c:pt>
                <c:pt idx="81">
                  <c:v>6</c:v>
                </c:pt>
                <c:pt idx="82">
                  <c:v>6</c:v>
                </c:pt>
                <c:pt idx="83">
                  <c:v>6</c:v>
                </c:pt>
                <c:pt idx="84">
                  <c:v>6</c:v>
                </c:pt>
                <c:pt idx="85">
                  <c:v>6</c:v>
                </c:pt>
                <c:pt idx="86">
                  <c:v>6</c:v>
                </c:pt>
                <c:pt idx="87">
                  <c:v>6</c:v>
                </c:pt>
                <c:pt idx="88">
                  <c:v>6</c:v>
                </c:pt>
                <c:pt idx="89">
                  <c:v>6</c:v>
                </c:pt>
                <c:pt idx="90">
                  <c:v>6</c:v>
                </c:pt>
                <c:pt idx="91">
                  <c:v>6</c:v>
                </c:pt>
                <c:pt idx="92">
                  <c:v>6</c:v>
                </c:pt>
                <c:pt idx="93">
                  <c:v>7</c:v>
                </c:pt>
                <c:pt idx="94">
                  <c:v>7</c:v>
                </c:pt>
                <c:pt idx="95">
                  <c:v>7</c:v>
                </c:pt>
                <c:pt idx="96">
                  <c:v>7</c:v>
                </c:pt>
                <c:pt idx="97">
                  <c:v>7</c:v>
                </c:pt>
                <c:pt idx="98">
                  <c:v>7</c:v>
                </c:pt>
                <c:pt idx="99">
                  <c:v>7</c:v>
                </c:pt>
                <c:pt idx="100">
                  <c:v>7</c:v>
                </c:pt>
                <c:pt idx="101">
                  <c:v>7</c:v>
                </c:pt>
                <c:pt idx="102">
                  <c:v>7</c:v>
                </c:pt>
                <c:pt idx="103">
                  <c:v>7</c:v>
                </c:pt>
                <c:pt idx="104">
                  <c:v>7</c:v>
                </c:pt>
                <c:pt idx="105">
                  <c:v>8</c:v>
                </c:pt>
                <c:pt idx="106">
                  <c:v>8</c:v>
                </c:pt>
                <c:pt idx="107">
                  <c:v>8</c:v>
                </c:pt>
                <c:pt idx="108">
                  <c:v>8</c:v>
                </c:pt>
                <c:pt idx="109">
                  <c:v>8</c:v>
                </c:pt>
                <c:pt idx="110">
                  <c:v>8</c:v>
                </c:pt>
                <c:pt idx="111">
                  <c:v>8</c:v>
                </c:pt>
                <c:pt idx="112">
                  <c:v>8</c:v>
                </c:pt>
                <c:pt idx="113">
                  <c:v>8</c:v>
                </c:pt>
                <c:pt idx="114">
                  <c:v>8</c:v>
                </c:pt>
                <c:pt idx="115">
                  <c:v>8</c:v>
                </c:pt>
              </c:numCache>
            </c:numRef>
          </c:xVal>
          <c:yVal>
            <c:numRef>
              <c:f>Sheet1!$B$2:$B$117</c:f>
              <c:numCache>
                <c:formatCode>0%;\-0%;0%</c:formatCode>
                <c:ptCount val="116"/>
                <c:pt idx="0">
                  <c:v>0.33537119853666614</c:v>
                </c:pt>
                <c:pt idx="1">
                  <c:v>1.3110575620733895</c:v>
                </c:pt>
                <c:pt idx="2">
                  <c:v>0.12281129115912857</c:v>
                </c:pt>
                <c:pt idx="3">
                  <c:v>0.52740423038450002</c:v>
                </c:pt>
                <c:pt idx="4">
                  <c:v>0.23394614817291179</c:v>
                </c:pt>
                <c:pt idx="5">
                  <c:v>0.40424723346828612</c:v>
                </c:pt>
                <c:pt idx="6">
                  <c:v>1.0381094546405629</c:v>
                </c:pt>
                <c:pt idx="7">
                  <c:v>0.39464140468177511</c:v>
                </c:pt>
                <c:pt idx="8">
                  <c:v>1.0804710500490677</c:v>
                </c:pt>
                <c:pt idx="9">
                  <c:v>0.29756844074137051</c:v>
                </c:pt>
                <c:pt idx="10">
                  <c:v>0.34245897269923464</c:v>
                </c:pt>
                <c:pt idx="11">
                  <c:v>0.64309733708988459</c:v>
                </c:pt>
                <c:pt idx="12">
                  <c:v>7.6182838813151563E-3</c:v>
                </c:pt>
                <c:pt idx="13">
                  <c:v>7.2727272727272724E-2</c:v>
                </c:pt>
                <c:pt idx="14">
                  <c:v>9.4564818215203822E-2</c:v>
                </c:pt>
                <c:pt idx="15">
                  <c:v>0.97732228521587439</c:v>
                </c:pt>
                <c:pt idx="16">
                  <c:v>0.12916246215943492</c:v>
                </c:pt>
                <c:pt idx="17">
                  <c:v>0</c:v>
                </c:pt>
                <c:pt idx="18">
                  <c:v>0</c:v>
                </c:pt>
                <c:pt idx="19">
                  <c:v>0.67651164854893464</c:v>
                </c:pt>
                <c:pt idx="20">
                  <c:v>1.189595592135231</c:v>
                </c:pt>
                <c:pt idx="21">
                  <c:v>0.17901899226560691</c:v>
                </c:pt>
                <c:pt idx="22">
                  <c:v>1.1122736936699982</c:v>
                </c:pt>
                <c:pt idx="23">
                  <c:v>0.85910295216250121</c:v>
                </c:pt>
                <c:pt idx="24">
                  <c:v>0.98060814099444116</c:v>
                </c:pt>
                <c:pt idx="25">
                  <c:v>0.54450632951838152</c:v>
                </c:pt>
                <c:pt idx="26">
                  <c:v>0.56422668334309645</c:v>
                </c:pt>
                <c:pt idx="27">
                  <c:v>0.30859076520030565</c:v>
                </c:pt>
                <c:pt idx="28">
                  <c:v>-5.088408644400786E-2</c:v>
                </c:pt>
                <c:pt idx="29">
                  <c:v>0.48655046266408436</c:v>
                </c:pt>
                <c:pt idx="30">
                  <c:v>5.8252427184466021E-2</c:v>
                </c:pt>
                <c:pt idx="31">
                  <c:v>0.57528207397007924</c:v>
                </c:pt>
                <c:pt idx="32">
                  <c:v>0</c:v>
                </c:pt>
                <c:pt idx="33">
                  <c:v>0.34969330141134647</c:v>
                </c:pt>
                <c:pt idx="34">
                  <c:v>9.3618913842698215E-2</c:v>
                </c:pt>
                <c:pt idx="35">
                  <c:v>0.39086369781125707</c:v>
                </c:pt>
                <c:pt idx="36">
                  <c:v>0.53102946813067886</c:v>
                </c:pt>
                <c:pt idx="37">
                  <c:v>0.30671829359418518</c:v>
                </c:pt>
                <c:pt idx="38">
                  <c:v>4.7373658397896083E-2</c:v>
                </c:pt>
                <c:pt idx="39">
                  <c:v>9.8011706773204491E-2</c:v>
                </c:pt>
                <c:pt idx="40">
                  <c:v>5.9622372365136428E-2</c:v>
                </c:pt>
                <c:pt idx="41">
                  <c:v>0.3325076129317282</c:v>
                </c:pt>
                <c:pt idx="42">
                  <c:v>1.6811941832822908E-2</c:v>
                </c:pt>
                <c:pt idx="43">
                  <c:v>0.13383247543284979</c:v>
                </c:pt>
                <c:pt idx="44">
                  <c:v>0.18520227334689512</c:v>
                </c:pt>
                <c:pt idx="45">
                  <c:v>0.15534287581423784</c:v>
                </c:pt>
                <c:pt idx="46">
                  <c:v>0.27216813979063992</c:v>
                </c:pt>
                <c:pt idx="47">
                  <c:v>0.14428544647878522</c:v>
                </c:pt>
                <c:pt idx="48">
                  <c:v>8.9574245868403263E-2</c:v>
                </c:pt>
                <c:pt idx="49">
                  <c:v>0.29961779961779961</c:v>
                </c:pt>
                <c:pt idx="50">
                  <c:v>0.32942695401728078</c:v>
                </c:pt>
                <c:pt idx="51">
                  <c:v>0.79519295870006768</c:v>
                </c:pt>
                <c:pt idx="52">
                  <c:v>5.1974626560261916E-2</c:v>
                </c:pt>
                <c:pt idx="53">
                  <c:v>-2.5057825751734774E-2</c:v>
                </c:pt>
                <c:pt idx="54">
                  <c:v>-0.28899835796387519</c:v>
                </c:pt>
                <c:pt idx="55">
                  <c:v>0</c:v>
                </c:pt>
                <c:pt idx="56" formatCode="0.00%">
                  <c:v>0.18520227334689512</c:v>
                </c:pt>
                <c:pt idx="57" formatCode="0.00%">
                  <c:v>0.15534287581423784</c:v>
                </c:pt>
                <c:pt idx="58" formatCode="0.00%">
                  <c:v>0.27216813979063992</c:v>
                </c:pt>
                <c:pt idx="59" formatCode="0.00%">
                  <c:v>0.14428544647878522</c:v>
                </c:pt>
                <c:pt idx="60" formatCode="0.00%">
                  <c:v>8.9574245868403263E-2</c:v>
                </c:pt>
                <c:pt idx="61" formatCode="0.00%">
                  <c:v>0.29961779961779961</c:v>
                </c:pt>
                <c:pt idx="62" formatCode="0.00%">
                  <c:v>0.32942695401728078</c:v>
                </c:pt>
                <c:pt idx="63" formatCode="0.00%">
                  <c:v>0.79519295870006768</c:v>
                </c:pt>
                <c:pt idx="64" formatCode="0.00%">
                  <c:v>5.1974626560261916E-2</c:v>
                </c:pt>
                <c:pt idx="65" formatCode="0.00%">
                  <c:v>-2.5057825751734774E-2</c:v>
                </c:pt>
                <c:pt idx="66" formatCode="0.00%">
                  <c:v>-0.28899835796387519</c:v>
                </c:pt>
                <c:pt idx="67" formatCode="0.00%">
                  <c:v>0</c:v>
                </c:pt>
                <c:pt idx="68" formatCode="General">
                  <c:v>0.18520227334689512</c:v>
                </c:pt>
                <c:pt idx="69" formatCode="General">
                  <c:v>0.15534287581423784</c:v>
                </c:pt>
                <c:pt idx="70" formatCode="General">
                  <c:v>0.27216813979063992</c:v>
                </c:pt>
                <c:pt idx="71" formatCode="General">
                  <c:v>0.14428544647878522</c:v>
                </c:pt>
                <c:pt idx="72" formatCode="General">
                  <c:v>8.9574245868403263E-2</c:v>
                </c:pt>
                <c:pt idx="73" formatCode="General">
                  <c:v>0.29961779961779961</c:v>
                </c:pt>
                <c:pt idx="74" formatCode="General">
                  <c:v>0.32942695401728078</c:v>
                </c:pt>
                <c:pt idx="75" formatCode="General">
                  <c:v>0.79519295870006768</c:v>
                </c:pt>
                <c:pt idx="76" formatCode="General">
                  <c:v>5.1974626560261916E-2</c:v>
                </c:pt>
                <c:pt idx="77" formatCode="General">
                  <c:v>-2.5057825751734774E-2</c:v>
                </c:pt>
                <c:pt idx="78" formatCode="General">
                  <c:v>-0.28899835796387519</c:v>
                </c:pt>
                <c:pt idx="79" formatCode="General">
                  <c:v>0</c:v>
                </c:pt>
                <c:pt idx="80" formatCode="General">
                  <c:v>0</c:v>
                </c:pt>
                <c:pt idx="81" formatCode="General">
                  <c:v>0.18520227334689512</c:v>
                </c:pt>
                <c:pt idx="82" formatCode="General">
                  <c:v>0.15534287581423784</c:v>
                </c:pt>
                <c:pt idx="83" formatCode="General">
                  <c:v>0.27216813979063992</c:v>
                </c:pt>
                <c:pt idx="84" formatCode="General">
                  <c:v>0.14428544647878522</c:v>
                </c:pt>
                <c:pt idx="85" formatCode="General">
                  <c:v>8.9574245868403263E-2</c:v>
                </c:pt>
                <c:pt idx="86" formatCode="General">
                  <c:v>0.29961779961779961</c:v>
                </c:pt>
                <c:pt idx="87" formatCode="General">
                  <c:v>0.32942695401728078</c:v>
                </c:pt>
                <c:pt idx="88" formatCode="General">
                  <c:v>0.79519295870006768</c:v>
                </c:pt>
                <c:pt idx="89" formatCode="General">
                  <c:v>5.1974626560261916E-2</c:v>
                </c:pt>
                <c:pt idx="90" formatCode="General">
                  <c:v>-2.5057825751734774E-2</c:v>
                </c:pt>
                <c:pt idx="91" formatCode="General">
                  <c:v>-0.28899835796387519</c:v>
                </c:pt>
                <c:pt idx="92" formatCode="General">
                  <c:v>0</c:v>
                </c:pt>
                <c:pt idx="93" formatCode="General">
                  <c:v>0.18520227334689512</c:v>
                </c:pt>
                <c:pt idx="94" formatCode="General">
                  <c:v>0.15534287581423784</c:v>
                </c:pt>
                <c:pt idx="95" formatCode="General">
                  <c:v>0.27216813979063992</c:v>
                </c:pt>
                <c:pt idx="96" formatCode="General">
                  <c:v>0.14428544647878522</c:v>
                </c:pt>
                <c:pt idx="97" formatCode="General">
                  <c:v>8.9574245868403263E-2</c:v>
                </c:pt>
                <c:pt idx="98" formatCode="General">
                  <c:v>0.29961779961779961</c:v>
                </c:pt>
                <c:pt idx="99" formatCode="General">
                  <c:v>0.32942695401728078</c:v>
                </c:pt>
                <c:pt idx="100" formatCode="General">
                  <c:v>0.79519295870006768</c:v>
                </c:pt>
                <c:pt idx="101" formatCode="General">
                  <c:v>5.1974626560261916E-2</c:v>
                </c:pt>
                <c:pt idx="102" formatCode="General">
                  <c:v>-2.5057825751734774E-2</c:v>
                </c:pt>
                <c:pt idx="103" formatCode="General">
                  <c:v>-0.28899835796387519</c:v>
                </c:pt>
                <c:pt idx="104" formatCode="General">
                  <c:v>0</c:v>
                </c:pt>
                <c:pt idx="105" formatCode="General">
                  <c:v>0.15534287581423784</c:v>
                </c:pt>
                <c:pt idx="106" formatCode="General">
                  <c:v>0.27216813979063992</c:v>
                </c:pt>
                <c:pt idx="107" formatCode="General">
                  <c:v>0.14428544647878522</c:v>
                </c:pt>
                <c:pt idx="108" formatCode="General">
                  <c:v>8.9574245868403263E-2</c:v>
                </c:pt>
                <c:pt idx="109" formatCode="General">
                  <c:v>0.29961779961779961</c:v>
                </c:pt>
                <c:pt idx="110" formatCode="General">
                  <c:v>0.32942695401728078</c:v>
                </c:pt>
                <c:pt idx="111" formatCode="General">
                  <c:v>0.79519295870006768</c:v>
                </c:pt>
                <c:pt idx="112" formatCode="General">
                  <c:v>5.1974626560261916E-2</c:v>
                </c:pt>
                <c:pt idx="113" formatCode="General">
                  <c:v>-2.5057825751734774E-2</c:v>
                </c:pt>
                <c:pt idx="114" formatCode="General">
                  <c:v>-0.28899835796387519</c:v>
                </c:pt>
                <c:pt idx="115" formatCode="General">
                  <c:v>0</c:v>
                </c:pt>
              </c:numCache>
            </c:numRef>
          </c:yVal>
          <c:bubbleSize>
            <c:numRef>
              <c:f>Sheet1!$C$2:$C$117</c:f>
              <c:numCache>
                <c:formatCode>0%;\-0%;0%</c:formatCode>
                <c:ptCount val="116"/>
                <c:pt idx="0">
                  <c:v>4111084</c:v>
                </c:pt>
                <c:pt idx="1">
                  <c:v>1160533</c:v>
                </c:pt>
                <c:pt idx="2">
                  <c:v>1117212</c:v>
                </c:pt>
                <c:pt idx="3">
                  <c:v>504428</c:v>
                </c:pt>
                <c:pt idx="4">
                  <c:v>459435</c:v>
                </c:pt>
                <c:pt idx="5">
                  <c:v>386077</c:v>
                </c:pt>
                <c:pt idx="6">
                  <c:v>277647</c:v>
                </c:pt>
                <c:pt idx="7">
                  <c:v>222216</c:v>
                </c:pt>
                <c:pt idx="8">
                  <c:v>108739</c:v>
                </c:pt>
                <c:pt idx="9">
                  <c:v>100141</c:v>
                </c:pt>
                <c:pt idx="10">
                  <c:v>18851</c:v>
                </c:pt>
                <c:pt idx="11">
                  <c:v>13981</c:v>
                </c:pt>
                <c:pt idx="12">
                  <c:v>10864</c:v>
                </c:pt>
                <c:pt idx="13">
                  <c:v>7717</c:v>
                </c:pt>
                <c:pt idx="14">
                  <c:v>7439</c:v>
                </c:pt>
                <c:pt idx="15">
                  <c:v>4428</c:v>
                </c:pt>
                <c:pt idx="16">
                  <c:v>1120</c:v>
                </c:pt>
                <c:pt idx="17">
                  <c:v>21</c:v>
                </c:pt>
                <c:pt idx="18">
                  <c:v>0</c:v>
                </c:pt>
                <c:pt idx="19">
                  <c:v>12037304</c:v>
                </c:pt>
                <c:pt idx="20">
                  <c:v>5124041</c:v>
                </c:pt>
                <c:pt idx="21">
                  <c:v>4271666</c:v>
                </c:pt>
                <c:pt idx="22">
                  <c:v>1061364</c:v>
                </c:pt>
                <c:pt idx="23">
                  <c:v>786468</c:v>
                </c:pt>
                <c:pt idx="24">
                  <c:v>606283</c:v>
                </c:pt>
                <c:pt idx="25">
                  <c:v>479058</c:v>
                </c:pt>
                <c:pt idx="26">
                  <c:v>306437</c:v>
                </c:pt>
                <c:pt idx="27">
                  <c:v>83930</c:v>
                </c:pt>
                <c:pt idx="28">
                  <c:v>32553</c:v>
                </c:pt>
                <c:pt idx="29">
                  <c:v>24613</c:v>
                </c:pt>
                <c:pt idx="30">
                  <c:v>42</c:v>
                </c:pt>
                <c:pt idx="31">
                  <c:v>16067456</c:v>
                </c:pt>
                <c:pt idx="32">
                  <c:v>0</c:v>
                </c:pt>
                <c:pt idx="33">
                  <c:v>2257543</c:v>
                </c:pt>
                <c:pt idx="34">
                  <c:v>350113</c:v>
                </c:pt>
                <c:pt idx="35">
                  <c:v>238922</c:v>
                </c:pt>
                <c:pt idx="36">
                  <c:v>178620</c:v>
                </c:pt>
                <c:pt idx="37">
                  <c:v>98148</c:v>
                </c:pt>
                <c:pt idx="38">
                  <c:v>76752</c:v>
                </c:pt>
                <c:pt idx="39">
                  <c:v>59927</c:v>
                </c:pt>
                <c:pt idx="40">
                  <c:v>59154</c:v>
                </c:pt>
                <c:pt idx="41">
                  <c:v>58860</c:v>
                </c:pt>
                <c:pt idx="42">
                  <c:v>53214</c:v>
                </c:pt>
                <c:pt idx="43">
                  <c:v>45806</c:v>
                </c:pt>
                <c:pt idx="44">
                  <c:v>33868</c:v>
                </c:pt>
                <c:pt idx="45">
                  <c:v>28590</c:v>
                </c:pt>
                <c:pt idx="46">
                  <c:v>26827</c:v>
                </c:pt>
                <c:pt idx="47">
                  <c:v>15746</c:v>
                </c:pt>
                <c:pt idx="48">
                  <c:v>10871</c:v>
                </c:pt>
                <c:pt idx="49">
                  <c:v>10018</c:v>
                </c:pt>
                <c:pt idx="50">
                  <c:v>4962</c:v>
                </c:pt>
                <c:pt idx="51">
                  <c:v>4865</c:v>
                </c:pt>
                <c:pt idx="52">
                  <c:v>3900</c:v>
                </c:pt>
                <c:pt idx="53">
                  <c:v>1677</c:v>
                </c:pt>
                <c:pt idx="54">
                  <c:v>297</c:v>
                </c:pt>
                <c:pt idx="55">
                  <c:v>0</c:v>
                </c:pt>
                <c:pt idx="56" formatCode="General">
                  <c:v>33868</c:v>
                </c:pt>
                <c:pt idx="57" formatCode="General">
                  <c:v>28590</c:v>
                </c:pt>
                <c:pt idx="58" formatCode="General">
                  <c:v>26827</c:v>
                </c:pt>
                <c:pt idx="59" formatCode="General">
                  <c:v>15746</c:v>
                </c:pt>
                <c:pt idx="60" formatCode="General">
                  <c:v>10871</c:v>
                </c:pt>
                <c:pt idx="61" formatCode="General">
                  <c:v>10018</c:v>
                </c:pt>
                <c:pt idx="62" formatCode="General">
                  <c:v>4962</c:v>
                </c:pt>
                <c:pt idx="63" formatCode="General">
                  <c:v>4865</c:v>
                </c:pt>
                <c:pt idx="64" formatCode="General">
                  <c:v>3900</c:v>
                </c:pt>
                <c:pt idx="65" formatCode="General">
                  <c:v>1677</c:v>
                </c:pt>
                <c:pt idx="66" formatCode="General">
                  <c:v>297</c:v>
                </c:pt>
                <c:pt idx="67" formatCode="General">
                  <c:v>0</c:v>
                </c:pt>
                <c:pt idx="68" formatCode="General">
                  <c:v>33868</c:v>
                </c:pt>
                <c:pt idx="69" formatCode="General">
                  <c:v>28590</c:v>
                </c:pt>
                <c:pt idx="70" formatCode="General">
                  <c:v>26827</c:v>
                </c:pt>
                <c:pt idx="71" formatCode="General">
                  <c:v>15746</c:v>
                </c:pt>
                <c:pt idx="72" formatCode="General">
                  <c:v>10871</c:v>
                </c:pt>
                <c:pt idx="73" formatCode="General">
                  <c:v>10018</c:v>
                </c:pt>
                <c:pt idx="74" formatCode="General">
                  <c:v>4962</c:v>
                </c:pt>
                <c:pt idx="75" formatCode="General">
                  <c:v>4865</c:v>
                </c:pt>
                <c:pt idx="76" formatCode="General">
                  <c:v>3900</c:v>
                </c:pt>
                <c:pt idx="77" formatCode="General">
                  <c:v>1677</c:v>
                </c:pt>
                <c:pt idx="78" formatCode="General">
                  <c:v>297</c:v>
                </c:pt>
                <c:pt idx="79" formatCode="General">
                  <c:v>0</c:v>
                </c:pt>
                <c:pt idx="80" formatCode="General">
                  <c:v>0</c:v>
                </c:pt>
                <c:pt idx="81" formatCode="General">
                  <c:v>33868</c:v>
                </c:pt>
                <c:pt idx="82" formatCode="General">
                  <c:v>28590</c:v>
                </c:pt>
                <c:pt idx="83" formatCode="General">
                  <c:v>26827</c:v>
                </c:pt>
                <c:pt idx="84" formatCode="General">
                  <c:v>15746</c:v>
                </c:pt>
                <c:pt idx="85" formatCode="General">
                  <c:v>10871</c:v>
                </c:pt>
                <c:pt idx="86" formatCode="General">
                  <c:v>10018</c:v>
                </c:pt>
                <c:pt idx="87" formatCode="General">
                  <c:v>4962</c:v>
                </c:pt>
                <c:pt idx="88" formatCode="General">
                  <c:v>4865</c:v>
                </c:pt>
                <c:pt idx="89" formatCode="General">
                  <c:v>3900</c:v>
                </c:pt>
                <c:pt idx="90" formatCode="General">
                  <c:v>1677</c:v>
                </c:pt>
                <c:pt idx="91" formatCode="General">
                  <c:v>297</c:v>
                </c:pt>
                <c:pt idx="92" formatCode="General">
                  <c:v>0</c:v>
                </c:pt>
                <c:pt idx="93" formatCode="General">
                  <c:v>33868</c:v>
                </c:pt>
                <c:pt idx="94" formatCode="General">
                  <c:v>28590</c:v>
                </c:pt>
                <c:pt idx="95" formatCode="General">
                  <c:v>26827</c:v>
                </c:pt>
                <c:pt idx="96" formatCode="General">
                  <c:v>15746</c:v>
                </c:pt>
                <c:pt idx="97" formatCode="General">
                  <c:v>10871</c:v>
                </c:pt>
                <c:pt idx="98" formatCode="General">
                  <c:v>10018</c:v>
                </c:pt>
                <c:pt idx="99" formatCode="General">
                  <c:v>4962</c:v>
                </c:pt>
                <c:pt idx="100" formatCode="General">
                  <c:v>4865</c:v>
                </c:pt>
                <c:pt idx="101" formatCode="General">
                  <c:v>3900</c:v>
                </c:pt>
                <c:pt idx="102" formatCode="General">
                  <c:v>1677</c:v>
                </c:pt>
                <c:pt idx="103" formatCode="General">
                  <c:v>297</c:v>
                </c:pt>
                <c:pt idx="104" formatCode="General">
                  <c:v>0</c:v>
                </c:pt>
                <c:pt idx="105" formatCode="General">
                  <c:v>28590</c:v>
                </c:pt>
                <c:pt idx="106" formatCode="General">
                  <c:v>26827</c:v>
                </c:pt>
                <c:pt idx="107" formatCode="General">
                  <c:v>15746</c:v>
                </c:pt>
                <c:pt idx="108" formatCode="General">
                  <c:v>10871</c:v>
                </c:pt>
                <c:pt idx="109" formatCode="General">
                  <c:v>10018</c:v>
                </c:pt>
                <c:pt idx="110" formatCode="General">
                  <c:v>4962</c:v>
                </c:pt>
                <c:pt idx="111" formatCode="General">
                  <c:v>4865</c:v>
                </c:pt>
                <c:pt idx="112" formatCode="General">
                  <c:v>3900</c:v>
                </c:pt>
                <c:pt idx="113" formatCode="General">
                  <c:v>1677</c:v>
                </c:pt>
                <c:pt idx="114" formatCode="General">
                  <c:v>297</c:v>
                </c:pt>
                <c:pt idx="115" formatCode="General">
                  <c:v>0</c:v>
                </c:pt>
              </c:numCache>
            </c:numRef>
          </c:bubbleSize>
          <c:bubble3D val="0"/>
          <c:extLst>
            <c:ext xmlns:c15="http://schemas.microsoft.com/office/drawing/2012/chart" uri="{02D57815-91ED-43cb-92C2-25804820EDAC}">
              <c15:datalabelsRange>
                <c15:f>Sheet1!$E$2:$E$150</c15:f>
                <c15:dlblRangeCache>
                  <c:ptCount val="149"/>
                  <c:pt idx="0">
                    <c:v>Findus</c:v>
                  </c:pt>
                  <c:pt idx="1">
                    <c:v>Pescanova S.A.</c:v>
                  </c:pt>
                  <c:pt idx="2">
                    <c:v>Private Label</c:v>
                  </c:pt>
                  <c:pt idx="3">
                    <c:v>Frosta</c:v>
                  </c:pt>
                  <c:pt idx="4">
                    <c:v>Panapesca</c:v>
                  </c:pt>
                  <c:pt idx="5">
                    <c:v>Other</c:v>
                  </c:pt>
                  <c:pt idx="6">
                    <c:v>Esca Srl</c:v>
                  </c:pt>
                  <c:pt idx="7">
                    <c:v>Arbi Dario Spa</c:v>
                  </c:pt>
                  <c:pt idx="8">
                    <c:v>Krusta Group</c:v>
                  </c:pt>
                  <c:pt idx="9">
                    <c:v>Fandicosta</c:v>
                  </c:pt>
                  <c:pt idx="10">
                    <c:v>Green Ice</c:v>
                  </c:pt>
                  <c:pt idx="11">
                    <c:v>Alpe Srl - Roma</c:v>
                  </c:pt>
                  <c:pt idx="12">
                    <c:v>Conserviera Adriatica Spa</c:v>
                  </c:pt>
                  <c:pt idx="13">
                    <c:v>New Food</c:v>
                  </c:pt>
                  <c:pt idx="14">
                    <c:v>Agras 1947</c:v>
                  </c:pt>
                  <c:pt idx="15">
                    <c:v>Garbo Snc Di Comanducci Andrea</c:v>
                  </c:pt>
                  <c:pt idx="16">
                    <c:v>Vis Industrie Alimentari</c:v>
                  </c:pt>
                  <c:pt idx="17">
                    <c:v>Buitoni</c:v>
                  </c:pt>
                  <c:pt idx="18">
                    <c:v>Mittico</c:v>
                  </c:pt>
                  <c:pt idx="19">
                    <c:v>Findus</c:v>
                  </c:pt>
                  <c:pt idx="20">
                    <c:v>Frosta</c:v>
                  </c:pt>
                  <c:pt idx="21">
                    <c:v>Private Label</c:v>
                  </c:pt>
                  <c:pt idx="22">
                    <c:v>Krusta Group</c:v>
                  </c:pt>
                  <c:pt idx="23">
                    <c:v>Pescanova S.A.</c:v>
                  </c:pt>
                  <c:pt idx="24">
                    <c:v>Esca Srl</c:v>
                  </c:pt>
                  <c:pt idx="25">
                    <c:v>Arbi Dario Spa</c:v>
                  </c:pt>
                  <c:pt idx="26">
                    <c:v>Emme Gel</c:v>
                  </c:pt>
                  <c:pt idx="27">
                    <c:v>Green Ice</c:v>
                  </c:pt>
                  <c:pt idx="28">
                    <c:v>Other</c:v>
                  </c:pt>
                  <c:pt idx="29">
                    <c:v>Soavegel</c:v>
                  </c:pt>
                  <c:pt idx="30">
                    <c:v>Buitoni</c:v>
                  </c:pt>
                  <c:pt idx="31">
                    <c:v>Findus</c:v>
                  </c:pt>
                  <c:pt idx="32">
                    <c:v>Other</c:v>
                  </c:pt>
                  <c:pt idx="33">
                    <c:v>Findus</c:v>
                  </c:pt>
                  <c:pt idx="34">
                    <c:v>Private Label</c:v>
                  </c:pt>
                  <c:pt idx="35">
                    <c:v>Esca Srl</c:v>
                  </c:pt>
                  <c:pt idx="36">
                    <c:v>Agras 1947</c:v>
                  </c:pt>
                  <c:pt idx="37">
                    <c:v>Frosta</c:v>
                  </c:pt>
                  <c:pt idx="38">
                    <c:v>Other</c:v>
                  </c:pt>
                  <c:pt idx="39">
                    <c:v>New Food</c:v>
                  </c:pt>
                  <c:pt idx="40">
                    <c:v>Noriberica</c:v>
                  </c:pt>
                  <c:pt idx="41">
                    <c:v>Krusta Group</c:v>
                  </c:pt>
                  <c:pt idx="42">
                    <c:v>Nai Prodotti Ittici</c:v>
                  </c:pt>
                  <c:pt idx="43">
                    <c:v>Green Ice</c:v>
                  </c:pt>
                  <c:pt idx="44">
                    <c:v>Pescanova S.A.</c:v>
                  </c:pt>
                  <c:pt idx="45">
                    <c:v>Alpe Srl - Roma</c:v>
                  </c:pt>
                  <c:pt idx="46">
                    <c:v>Appetais Italia Spa</c:v>
                  </c:pt>
                  <c:pt idx="47">
                    <c:v>Royal Greenland</c:v>
                  </c:pt>
                  <c:pt idx="48">
                    <c:v>Panapesca</c:v>
                  </c:pt>
                  <c:pt idx="49">
                    <c:v>Conserviera Adriatica Spa</c:v>
                  </c:pt>
                  <c:pt idx="50">
                    <c:v>Gerfrio</c:v>
                  </c:pt>
                  <c:pt idx="51">
                    <c:v>Garbo Snc Di Comanducci Andrea</c:v>
                  </c:pt>
                  <c:pt idx="52">
                    <c:v>Vis Industrie Alimentari</c:v>
                  </c:pt>
                  <c:pt idx="53">
                    <c:v>Soavegel</c:v>
                  </c:pt>
                  <c:pt idx="54">
                    <c:v>Nettuno Alimentari Srl</c:v>
                  </c:pt>
                  <c:pt idx="55">
                    <c:v>Buitoni</c:v>
                  </c:pt>
                  <c:pt idx="56">
                    <c:v>Pescanova S.A.</c:v>
                  </c:pt>
                  <c:pt idx="57">
                    <c:v>Alpe Srl - Roma</c:v>
                  </c:pt>
                  <c:pt idx="58">
                    <c:v>Appetais Italia Spa</c:v>
                  </c:pt>
                  <c:pt idx="59">
                    <c:v>Royal Greenland</c:v>
                  </c:pt>
                  <c:pt idx="60">
                    <c:v>Panapesca</c:v>
                  </c:pt>
                  <c:pt idx="61">
                    <c:v>Conserviera Adriatica Spa</c:v>
                  </c:pt>
                  <c:pt idx="62">
                    <c:v>Gerfrio</c:v>
                  </c:pt>
                  <c:pt idx="63">
                    <c:v>Garbo Snc Di Comanducci Andrea</c:v>
                  </c:pt>
                  <c:pt idx="64">
                    <c:v>Vis Industrie Alimentari</c:v>
                  </c:pt>
                  <c:pt idx="65">
                    <c:v>Soavegel</c:v>
                  </c:pt>
                  <c:pt idx="66">
                    <c:v>Nettuno Alimentari Srl</c:v>
                  </c:pt>
                  <c:pt idx="67">
                    <c:v>Buitoni</c:v>
                  </c:pt>
                  <c:pt idx="68">
                    <c:v>Pescanova S.A.</c:v>
                  </c:pt>
                  <c:pt idx="69">
                    <c:v>Alpe Srl - Roma</c:v>
                  </c:pt>
                  <c:pt idx="70">
                    <c:v>Appetais Italia Spa</c:v>
                  </c:pt>
                  <c:pt idx="71">
                    <c:v>Royal Greenland</c:v>
                  </c:pt>
                  <c:pt idx="72">
                    <c:v>Panapesca</c:v>
                  </c:pt>
                  <c:pt idx="73">
                    <c:v>Conserviera Adriatica Spa</c:v>
                  </c:pt>
                  <c:pt idx="74">
                    <c:v>Gerfrio</c:v>
                  </c:pt>
                  <c:pt idx="75">
                    <c:v>Garbo Snc Di Comanducci Andrea</c:v>
                  </c:pt>
                  <c:pt idx="76">
                    <c:v>Vis Industrie Alimentari</c:v>
                  </c:pt>
                  <c:pt idx="77">
                    <c:v>Soavegel</c:v>
                  </c:pt>
                  <c:pt idx="78">
                    <c:v>Nettuno Alimentari Srl</c:v>
                  </c:pt>
                  <c:pt idx="79">
                    <c:v>Buitoni</c:v>
                  </c:pt>
                  <c:pt idx="80">
                    <c:v>Buitoni</c:v>
                  </c:pt>
                  <c:pt idx="81">
                    <c:v>Pescanova S.A.</c:v>
                  </c:pt>
                  <c:pt idx="82">
                    <c:v>Alpe Srl - Roma</c:v>
                  </c:pt>
                  <c:pt idx="83">
                    <c:v>Appetais Italia Spa</c:v>
                  </c:pt>
                  <c:pt idx="84">
                    <c:v>Royal Greenland</c:v>
                  </c:pt>
                  <c:pt idx="85">
                    <c:v>Panapesca</c:v>
                  </c:pt>
                  <c:pt idx="86">
                    <c:v>Conserviera Adriatica Spa</c:v>
                  </c:pt>
                  <c:pt idx="87">
                    <c:v>Gerfrio</c:v>
                  </c:pt>
                  <c:pt idx="88">
                    <c:v>Garbo Snc Di Comanducci Andrea</c:v>
                  </c:pt>
                  <c:pt idx="89">
                    <c:v>Vis Industrie Alimentari</c:v>
                  </c:pt>
                  <c:pt idx="90">
                    <c:v>Soavegel</c:v>
                  </c:pt>
                  <c:pt idx="91">
                    <c:v>Nettuno Alimentari Srl</c:v>
                  </c:pt>
                  <c:pt idx="92">
                    <c:v>Buitoni</c:v>
                  </c:pt>
                  <c:pt idx="93">
                    <c:v>Pescanova S.A.</c:v>
                  </c:pt>
                  <c:pt idx="94">
                    <c:v>Alpe Srl - Roma</c:v>
                  </c:pt>
                  <c:pt idx="95">
                    <c:v>Appetais Italia Spa</c:v>
                  </c:pt>
                  <c:pt idx="96">
                    <c:v>Royal Greenland</c:v>
                  </c:pt>
                  <c:pt idx="97">
                    <c:v>Panapesca</c:v>
                  </c:pt>
                  <c:pt idx="98">
                    <c:v>Conserviera Adriatica Spa</c:v>
                  </c:pt>
                  <c:pt idx="99">
                    <c:v>Gerfrio</c:v>
                  </c:pt>
                  <c:pt idx="100">
                    <c:v>Garbo Snc Di Comanducci Andrea</c:v>
                  </c:pt>
                  <c:pt idx="101">
                    <c:v>Vis Industrie Alimentari</c:v>
                  </c:pt>
                  <c:pt idx="102">
                    <c:v>Soavegel</c:v>
                  </c:pt>
                  <c:pt idx="103">
                    <c:v>Nettuno Alimentari Srl</c:v>
                  </c:pt>
                  <c:pt idx="104">
                    <c:v>Buitoni</c:v>
                  </c:pt>
                  <c:pt idx="105">
                    <c:v>Alpe Srl - Roma</c:v>
                  </c:pt>
                  <c:pt idx="106">
                    <c:v>Appetais Italia Spa</c:v>
                  </c:pt>
                  <c:pt idx="107">
                    <c:v>Royal Greenland</c:v>
                  </c:pt>
                  <c:pt idx="108">
                    <c:v>Panapesca</c:v>
                  </c:pt>
                  <c:pt idx="109">
                    <c:v>Conserviera Adriatica Spa</c:v>
                  </c:pt>
                  <c:pt idx="110">
                    <c:v>Gerfrio</c:v>
                  </c:pt>
                  <c:pt idx="111">
                    <c:v>Garbo Snc Di Comanducci Andrea</c:v>
                  </c:pt>
                  <c:pt idx="112">
                    <c:v>Vis Industrie Alimentari</c:v>
                  </c:pt>
                  <c:pt idx="113">
                    <c:v>Soavegel</c:v>
                  </c:pt>
                  <c:pt idx="114">
                    <c:v>Nettuno Alimentari Srl</c:v>
                  </c:pt>
                  <c:pt idx="115">
                    <c:v>Buitoni</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5"/>
          <c:min val="0.5"/>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58685A93-1FE9-41BF-A27C-48AE7CFCD95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543C111D-1596-4E76-8F5C-DF19369EB8E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8E98967D-6EF6-46F7-8C7B-3DE69CDB86D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CE875341-9DC1-408B-82FF-98A5984B006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8A53D615-4CA6-4C49-BD9B-70AC5778DE6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14450BA5-CEC0-4510-94FE-0B7468359EC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23A0E436-B4DA-4C65-A09D-603598C0198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92A757BE-BC4D-43C8-BC3E-97A4A5A51E9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6CD1E2C9-5829-4FF7-94EF-D19357E53A8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E1CF1E5E-737A-4855-A76F-AD12E0BA050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77E-4F29-87DF-0FE64D0B037A}"/>
                </c:ext>
              </c:extLst>
            </c:dLbl>
            <c:dLbl>
              <c:idx val="13"/>
              <c:tx>
                <c:rich>
                  <a:bodyPr/>
                  <a:lstStyle/>
                  <a:p>
                    <a:fld id="{481F7B1B-3616-42B3-9DC3-F3A834C6F6F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B755C466-4C64-40F0-8A32-CC1CF968115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EFF68ED7-847B-4295-BA20-1C623AE1B14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B77E-4F29-87DF-0FE64D0B037A}"/>
                </c:ext>
              </c:extLst>
            </c:dLbl>
            <c:dLbl>
              <c:idx val="19"/>
              <c:tx>
                <c:rich>
                  <a:bodyPr/>
                  <a:lstStyle/>
                  <a:p>
                    <a:fld id="{1F094EE7-91BD-497A-802A-38B12C67ED0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E08294F9-EBBE-47D8-825A-64D2700ABEA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91E8A800-0359-4D5B-8C83-76F42932219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77E-4F29-87DF-0FE64D0B037A}"/>
                </c:ext>
              </c:extLst>
            </c:dLbl>
            <c:dLbl>
              <c:idx val="25"/>
              <c:tx>
                <c:rich>
                  <a:bodyPr/>
                  <a:lstStyle/>
                  <a:p>
                    <a:fld id="{7AA23C6F-8EF6-4DA7-8332-4901E70045F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AA10CFA0-214A-4439-99EB-23455D0EE06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189E24F0-140E-4D3B-89CE-9582D218138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E7C68F2B-13F2-4481-9E5E-ADEEDD42898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B77E-4F29-87DF-0FE64D0B037A}"/>
                </c:ext>
              </c:extLst>
            </c:dLbl>
            <c:dLbl>
              <c:idx val="31"/>
              <c:tx>
                <c:rich>
                  <a:bodyPr/>
                  <a:lstStyle/>
                  <a:p>
                    <a:fld id="{269BC991-CEA2-40B9-9B80-2804D7F6524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45DE03A9-F133-404D-A18B-007F2758A92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42043E4C-1972-45BD-B20F-09E1BFC0F50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FA278904-8980-4F97-BB25-92118F1F3CE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46A9A1FB-2F93-46D4-850C-5496CEDDEE3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9ED4D6FF-9861-420E-8F16-A2C9713BFD8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B77E-4F29-87DF-0FE64D0B037A}"/>
                </c:ext>
              </c:extLst>
            </c:dLbl>
            <c:dLbl>
              <c:idx val="43"/>
              <c:tx>
                <c:rich>
                  <a:bodyPr/>
                  <a:lstStyle/>
                  <a:p>
                    <a:fld id="{93252824-229E-42CE-9E1B-B45D922E75F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2EE95FBE-32A3-4108-9977-06D8A6D3FA6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2D37D6C9-EFEA-4848-8DB2-5512777C9B7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B77E-4F29-87DF-0FE64D0B037A}"/>
                </c:ext>
              </c:extLst>
            </c:dLbl>
            <c:dLbl>
              <c:idx val="49"/>
              <c:tx>
                <c:rich>
                  <a:bodyPr/>
                  <a:lstStyle/>
                  <a:p>
                    <a:fld id="{568FBBDE-AC94-4721-AF70-B9EFD05ECD1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9BCD3830-7EAB-43E8-90F4-BFDD9258EC0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6B90D4EF-C68F-468F-8BB8-1D38810F84B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53849719672747E-4"/>
          <c:y val="6.0063696518519595E-2"/>
          <c:w val="0.95453953634144284"/>
          <c:h val="0.88878250476834464"/>
        </c:manualLayout>
      </c:layout>
      <c:barChart>
        <c:barDir val="col"/>
        <c:grouping val="percentStacked"/>
        <c:varyColors val="0"/>
        <c:ser>
          <c:idx val="1"/>
          <c:order val="1"/>
          <c:tx>
            <c:strRef>
              <c:f>Sheet1!$C$1</c:f>
              <c:strCache>
                <c:ptCount val="1"/>
                <c:pt idx="0">
                  <c:v>bar</c:v>
                </c:pt>
              </c:strCache>
            </c:strRef>
          </c:tx>
          <c:spPr>
            <a:solidFill>
              <a:schemeClr val="bg2"/>
            </a:solidFill>
            <a:ln>
              <a:noFill/>
            </a:ln>
            <a:effectLst/>
          </c:spPr>
          <c:invertIfNegative val="0"/>
          <c:dLbls>
            <c:dLbl>
              <c:idx val="0"/>
              <c:tx>
                <c:rich>
                  <a:bodyPr/>
                  <a:lstStyle/>
                  <a:p>
                    <a:fld id="{1EAA8CDE-0860-4D7D-9216-6B0C6DD9C3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B2C-A45E-07CB64A14B3B}"/>
                </c:ext>
              </c:extLst>
            </c:dLbl>
            <c:dLbl>
              <c:idx val="1"/>
              <c:tx>
                <c:rich>
                  <a:bodyPr/>
                  <a:lstStyle/>
                  <a:p>
                    <a:fld id="{A43EDF67-913F-4F2E-8BE4-E3A2881E7D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B2C-A45E-07CB64A14B3B}"/>
                </c:ext>
              </c:extLst>
            </c:dLbl>
            <c:dLbl>
              <c:idx val="2"/>
              <c:delete val="1"/>
              <c:extLst>
                <c:ext xmlns:c15="http://schemas.microsoft.com/office/drawing/2012/chart" uri="{CE6537A1-D6FC-4f65-9D91-7224C49458BB}"/>
                <c:ext xmlns:c16="http://schemas.microsoft.com/office/drawing/2014/chart" uri="{C3380CC4-5D6E-409C-BE32-E72D297353CC}">
                  <c16:uniqueId val="{00000002-48EF-4B2C-A45E-07CB64A14B3B}"/>
                </c:ext>
              </c:extLst>
            </c:dLbl>
            <c:dLbl>
              <c:idx val="3"/>
              <c:tx>
                <c:rich>
                  <a:bodyPr/>
                  <a:lstStyle/>
                  <a:p>
                    <a:fld id="{EA107FAC-EBC0-4890-9CBE-B3F0493D71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B2C-A45E-07CB64A14B3B}"/>
                </c:ext>
              </c:extLst>
            </c:dLbl>
            <c:dLbl>
              <c:idx val="4"/>
              <c:tx>
                <c:rich>
                  <a:bodyPr/>
                  <a:lstStyle/>
                  <a:p>
                    <a:fld id="{979916B1-E08B-4D77-A904-BD2B5EEE2E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B2C-A45E-07CB64A14B3B}"/>
                </c:ext>
              </c:extLst>
            </c:dLbl>
            <c:dLbl>
              <c:idx val="5"/>
              <c:tx>
                <c:rich>
                  <a:bodyPr/>
                  <a:lstStyle/>
                  <a:p>
                    <a:fld id="{65329FA4-19CE-4F5F-A9EC-6315C72DB6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B2C-A45E-07CB64A14B3B}"/>
                </c:ext>
              </c:extLst>
            </c:dLbl>
            <c:dLbl>
              <c:idx val="6"/>
              <c:tx>
                <c:rich>
                  <a:bodyPr/>
                  <a:lstStyle/>
                  <a:p>
                    <a:fld id="{0777DA15-108E-417E-B283-503EAC2027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B2C-A45E-07CB64A14B3B}"/>
                </c:ext>
              </c:extLst>
            </c:dLbl>
            <c:dLbl>
              <c:idx val="7"/>
              <c:tx>
                <c:rich>
                  <a:bodyPr/>
                  <a:lstStyle/>
                  <a:p>
                    <a:fld id="{AAC79965-7CD1-4F3B-A21F-3C7D5BED48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B2C-A45E-07CB64A14B3B}"/>
                </c:ext>
              </c:extLst>
            </c:dLbl>
            <c:dLbl>
              <c:idx val="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8EF-4B2C-A45E-07CB64A14B3B}"/>
                </c:ext>
              </c:extLst>
            </c:dLbl>
            <c:dLbl>
              <c:idx val="9"/>
              <c:tx>
                <c:rich>
                  <a:bodyPr/>
                  <a:lstStyle/>
                  <a:p>
                    <a:fld id="{7CDFF339-EEF3-45AA-B972-C292AFE8F0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8EF-4B2C-A45E-07CB64A14B3B}"/>
                </c:ext>
              </c:extLst>
            </c:dLbl>
            <c:dLbl>
              <c:idx val="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48EF-4B2C-A45E-07CB64A14B3B}"/>
                </c:ext>
              </c:extLst>
            </c:dLbl>
            <c:dLbl>
              <c:idx val="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48EF-4B2C-A45E-07CB64A14B3B}"/>
                </c:ext>
              </c:extLst>
            </c:dLbl>
            <c:dLbl>
              <c:idx val="12"/>
              <c:tx>
                <c:rich>
                  <a:bodyPr/>
                  <a:lstStyle/>
                  <a:p>
                    <a:fld id="{8CA99EA7-23D4-42D5-91E3-2453E9A37B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8EF-4B2C-A45E-07CB64A14B3B}"/>
                </c:ext>
              </c:extLst>
            </c:dLbl>
            <c:dLbl>
              <c:idx val="13"/>
              <c:tx>
                <c:rich>
                  <a:bodyPr/>
                  <a:lstStyle/>
                  <a:p>
                    <a:fld id="{5F254BEB-D4ED-43CE-8012-01C887C075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8EF-4B2C-A45E-07CB64A14B3B}"/>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48EF-4B2C-A45E-07CB64A14B3B}"/>
                </c:ext>
              </c:extLst>
            </c:dLbl>
            <c:dLbl>
              <c:idx val="15"/>
              <c:tx>
                <c:rich>
                  <a:bodyPr/>
                  <a:lstStyle/>
                  <a:p>
                    <a:fld id="{E05A8D47-948E-4EAF-AD68-34517C6E7F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8EF-4B2C-A45E-07CB64A14B3B}"/>
                </c:ext>
              </c:extLst>
            </c:dLbl>
            <c:dLbl>
              <c:idx val="16"/>
              <c:tx>
                <c:rich>
                  <a:bodyPr/>
                  <a:lstStyle/>
                  <a:p>
                    <a:fld id="{4DF96B97-2941-4BA1-A70A-24411D7A50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8EF-4B2C-A45E-07CB64A14B3B}"/>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48EF-4B2C-A45E-07CB64A14B3B}"/>
                </c:ext>
              </c:extLst>
            </c:dLbl>
            <c:dLbl>
              <c:idx val="18"/>
              <c:tx>
                <c:rich>
                  <a:bodyPr/>
                  <a:lstStyle/>
                  <a:p>
                    <a:fld id="{2344AE27-6BB8-4971-98EF-4503BC4B44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8EF-4B2C-A45E-07CB64A14B3B}"/>
                </c:ext>
              </c:extLst>
            </c:dLbl>
            <c:dLbl>
              <c:idx val="19"/>
              <c:tx>
                <c:rich>
                  <a:bodyPr/>
                  <a:lstStyle/>
                  <a:p>
                    <a:fld id="{4CFE03C3-B060-4D8E-9559-439EE88D9C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8EF-4B2C-A45E-07CB64A14B3B}"/>
                </c:ext>
              </c:extLst>
            </c:dLbl>
            <c:dLbl>
              <c:idx val="20"/>
              <c:tx>
                <c:rich>
                  <a:bodyPr/>
                  <a:lstStyle/>
                  <a:p>
                    <a:fld id="{2EB1AC6E-3740-4F28-9879-77A47A22C5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8EF-4B2C-A45E-07CB64A14B3B}"/>
                </c:ext>
              </c:extLst>
            </c:dLbl>
            <c:dLbl>
              <c:idx val="21"/>
              <c:tx>
                <c:rich>
                  <a:bodyPr/>
                  <a:lstStyle/>
                  <a:p>
                    <a:fld id="{324F1A37-C376-458F-B8E3-A1744EC192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8EF-4B2C-A45E-07CB64A14B3B}"/>
                </c:ext>
              </c:extLst>
            </c:dLbl>
            <c:dLbl>
              <c:idx val="22"/>
              <c:tx>
                <c:rich>
                  <a:bodyPr/>
                  <a:lstStyle/>
                  <a:p>
                    <a:fld id="{6033E379-1E78-4CD0-A00E-3D5FF4AA2E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8EF-4B2C-A45E-07CB64A14B3B}"/>
                </c:ext>
              </c:extLst>
            </c:dLbl>
            <c:dLbl>
              <c:idx val="23"/>
              <c:tx>
                <c:rich>
                  <a:bodyPr/>
                  <a:lstStyle/>
                  <a:p>
                    <a:fld id="{4518CBF7-9616-4EC2-8912-8C67390163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8EF-4B2C-A45E-07CB64A14B3B}"/>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48EF-4B2C-A45E-07CB64A14B3B}"/>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48EF-4B2C-A45E-07CB64A14B3B}"/>
                </c:ext>
              </c:extLst>
            </c:dLbl>
            <c:dLbl>
              <c:idx val="26"/>
              <c:tx>
                <c:rich>
                  <a:bodyPr/>
                  <a:lstStyle/>
                  <a:p>
                    <a:fld id="{D377E937-B99C-4666-A62F-CCF9433F02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8EF-4B2C-A45E-07CB64A14B3B}"/>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48EF-4B2C-A45E-07CB64A14B3B}"/>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48EF-4B2C-A45E-07CB64A14B3B}"/>
                </c:ext>
              </c:extLst>
            </c:dLbl>
            <c:dLbl>
              <c:idx val="29"/>
              <c:tx>
                <c:rich>
                  <a:bodyPr/>
                  <a:lstStyle/>
                  <a:p>
                    <a:fld id="{34F7F8EF-F58E-4413-94DA-64F21F86C7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8EF-4B2C-A45E-07CB64A14B3B}"/>
                </c:ext>
              </c:extLst>
            </c:dLbl>
            <c:dLbl>
              <c:idx val="30"/>
              <c:tx>
                <c:rich>
                  <a:bodyPr/>
                  <a:lstStyle/>
                  <a:p>
                    <a:fld id="{A4BC58AE-7E48-40E8-8521-4E63104F5F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8EF-4B2C-A45E-07CB64A14B3B}"/>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48EF-4B2C-A45E-07CB64A14B3B}"/>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48EF-4B2C-A45E-07CB64A14B3B}"/>
                </c:ext>
              </c:extLst>
            </c:dLbl>
            <c:dLbl>
              <c:idx val="33"/>
              <c:tx>
                <c:rich>
                  <a:bodyPr/>
                  <a:lstStyle/>
                  <a:p>
                    <a:fld id="{F373058B-174C-49C3-9F7B-0FC255F62C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8EF-4B2C-A45E-07CB64A14B3B}"/>
                </c:ext>
              </c:extLst>
            </c:dLbl>
            <c:dLbl>
              <c:idx val="34"/>
              <c:tx>
                <c:rich>
                  <a:bodyPr/>
                  <a:lstStyle/>
                  <a:p>
                    <a:fld id="{F6017106-9EC9-425E-B7F2-B9E37E5870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8EF-4B2C-A45E-07CB64A14B3B}"/>
                </c:ext>
              </c:extLst>
            </c:dLbl>
            <c:dLbl>
              <c:idx val="35"/>
              <c:tx>
                <c:rich>
                  <a:bodyPr/>
                  <a:lstStyle/>
                  <a:p>
                    <a:fld id="{BFFF46F5-FD94-432B-B048-920B743B03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8EF-4B2C-A45E-07CB64A14B3B}"/>
                </c:ext>
              </c:extLst>
            </c:dLbl>
            <c:dLbl>
              <c:idx val="36"/>
              <c:tx>
                <c:rich>
                  <a:bodyPr/>
                  <a:lstStyle/>
                  <a:p>
                    <a:fld id="{B3A7D4E7-C98D-47F1-BE84-C005E62E41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8EF-4B2C-A45E-07CB64A14B3B}"/>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48EF-4B2C-A45E-07CB64A14B3B}"/>
                </c:ext>
              </c:extLst>
            </c:dLbl>
            <c:dLbl>
              <c:idx val="38"/>
              <c:tx>
                <c:rich>
                  <a:bodyPr/>
                  <a:lstStyle/>
                  <a:p>
                    <a:fld id="{2BA89993-A1C7-48A6-8235-57EF59B168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8EF-4B2C-A45E-07CB64A14B3B}"/>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7-48EF-4B2C-A45E-07CB64A14B3B}"/>
                </c:ext>
              </c:extLst>
            </c:dLbl>
            <c:dLbl>
              <c:idx val="40"/>
              <c:tx>
                <c:rich>
                  <a:bodyPr/>
                  <a:lstStyle/>
                  <a:p>
                    <a:fld id="{59C62FD6-9D17-44EB-954E-ADA0CB7979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8EF-4B2C-A45E-07CB64A14B3B}"/>
                </c:ext>
              </c:extLst>
            </c:dLbl>
            <c:dLbl>
              <c:idx val="41"/>
              <c:tx>
                <c:rich>
                  <a:bodyPr/>
                  <a:lstStyle/>
                  <a:p>
                    <a:fld id="{C6845B4C-674E-4483-8BF5-222D2BD826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8EF-4B2C-A45E-07CB64A14B3B}"/>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48EF-4B2C-A45E-07CB64A14B3B}"/>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B-48EF-4B2C-A45E-07CB64A14B3B}"/>
                </c:ext>
              </c:extLst>
            </c:dLbl>
            <c:dLbl>
              <c:idx val="44"/>
              <c:tx>
                <c:rich>
                  <a:bodyPr/>
                  <a:lstStyle/>
                  <a:p>
                    <a:fld id="{C6A7E99E-2014-4B15-B6C4-5E8D30B023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8EF-4B2C-A45E-07CB64A14B3B}"/>
                </c:ext>
              </c:extLst>
            </c:dLbl>
            <c:dLbl>
              <c:idx val="45"/>
              <c:tx>
                <c:rich>
                  <a:bodyPr/>
                  <a:lstStyle/>
                  <a:p>
                    <a:fld id="{0F7E90B2-B303-468C-BCA9-F4CAFEE894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8EF-4B2C-A45E-07CB64A14B3B}"/>
                </c:ext>
              </c:extLst>
            </c:dLbl>
            <c:dLbl>
              <c:idx val="46"/>
              <c:tx>
                <c:rich>
                  <a:bodyPr/>
                  <a:lstStyle/>
                  <a:p>
                    <a:fld id="{38711D06-C3E3-43F8-A46D-616F77B1B9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48EF-4B2C-A45E-07CB64A14B3B}"/>
                </c:ext>
              </c:extLst>
            </c:dLbl>
            <c:dLbl>
              <c:idx val="47"/>
              <c:tx>
                <c:rich>
                  <a:bodyPr/>
                  <a:lstStyle/>
                  <a:p>
                    <a:fld id="{D099864E-01AD-40A8-AD4C-87B91ED786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48EF-4B2C-A45E-07CB64A14B3B}"/>
                </c:ext>
              </c:extLst>
            </c:dLbl>
            <c:dLbl>
              <c:idx val="48"/>
              <c:tx>
                <c:rich>
                  <a:bodyPr/>
                  <a:lstStyle/>
                  <a:p>
                    <a:fld id="{C516F129-A3F1-4959-8C36-696E5F1F64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48EF-4B2C-A45E-07CB64A14B3B}"/>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1-48EF-4B2C-A45E-07CB64A14B3B}"/>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2-48EF-4B2C-A45E-07CB64A14B3B}"/>
                </c:ext>
              </c:extLst>
            </c:dLbl>
            <c:dLbl>
              <c:idx val="51"/>
              <c:tx>
                <c:rich>
                  <a:bodyPr/>
                  <a:lstStyle/>
                  <a:p>
                    <a:fld id="{1EE7D7AD-8383-475B-A93B-4B3C1692E4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48EF-4B2C-A45E-07CB64A14B3B}"/>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1</c:v>
                </c:pt>
                <c:pt idx="1">
                  <c:v>1</c:v>
                </c:pt>
                <c:pt idx="2">
                  <c:v>1</c:v>
                </c:pt>
                <c:pt idx="3">
                  <c:v>1</c:v>
                </c:pt>
                <c:pt idx="4">
                  <c:v>1</c:v>
                </c:pt>
                <c:pt idx="5">
                  <c:v>1</c:v>
                </c:pt>
                <c:pt idx="6">
                  <c:v>1</c:v>
                </c:pt>
                <c:pt idx="7">
                  <c:v>1</c:v>
                </c:pt>
                <c:pt idx="8">
                  <c:v>#N/A</c:v>
                </c:pt>
                <c:pt idx="9">
                  <c:v>1</c:v>
                </c:pt>
                <c:pt idx="10">
                  <c:v>#N/A</c:v>
                </c:pt>
                <c:pt idx="11">
                  <c:v>#N/A</c:v>
                </c:pt>
                <c:pt idx="12">
                  <c:v>1</c:v>
                </c:pt>
                <c:pt idx="13">
                  <c:v>1</c:v>
                </c:pt>
                <c:pt idx="14">
                  <c:v>#N/A</c:v>
                </c:pt>
                <c:pt idx="15">
                  <c:v>1</c:v>
                </c:pt>
                <c:pt idx="16">
                  <c:v>1</c:v>
                </c:pt>
                <c:pt idx="17">
                  <c:v>#N/A</c:v>
                </c:pt>
                <c:pt idx="18">
                  <c:v>1</c:v>
                </c:pt>
                <c:pt idx="19">
                  <c:v>1</c:v>
                </c:pt>
                <c:pt idx="20">
                  <c:v>1</c:v>
                </c:pt>
                <c:pt idx="21">
                  <c:v>1</c:v>
                </c:pt>
                <c:pt idx="22">
                  <c:v>1</c:v>
                </c:pt>
                <c:pt idx="23">
                  <c:v>1</c:v>
                </c:pt>
                <c:pt idx="24">
                  <c:v>#N/A</c:v>
                </c:pt>
                <c:pt idx="25">
                  <c:v>#N/A</c:v>
                </c:pt>
                <c:pt idx="26">
                  <c:v>1</c:v>
                </c:pt>
                <c:pt idx="27">
                  <c:v>#N/A</c:v>
                </c:pt>
                <c:pt idx="28">
                  <c:v>#N/A</c:v>
                </c:pt>
                <c:pt idx="29">
                  <c:v>1</c:v>
                </c:pt>
                <c:pt idx="30">
                  <c:v>1</c:v>
                </c:pt>
                <c:pt idx="31">
                  <c:v>#N/A</c:v>
                </c:pt>
                <c:pt idx="32">
                  <c:v>#N/A</c:v>
                </c:pt>
                <c:pt idx="33">
                  <c:v>1</c:v>
                </c:pt>
                <c:pt idx="34">
                  <c:v>1</c:v>
                </c:pt>
                <c:pt idx="35">
                  <c:v>1</c:v>
                </c:pt>
                <c:pt idx="36">
                  <c:v>1</c:v>
                </c:pt>
                <c:pt idx="37">
                  <c:v>#N/A</c:v>
                </c:pt>
                <c:pt idx="38">
                  <c:v>1</c:v>
                </c:pt>
                <c:pt idx="39">
                  <c:v>#N/A</c:v>
                </c:pt>
                <c:pt idx="40">
                  <c:v>1</c:v>
                </c:pt>
                <c:pt idx="41">
                  <c:v>1</c:v>
                </c:pt>
                <c:pt idx="42">
                  <c:v>#N/A</c:v>
                </c:pt>
                <c:pt idx="43">
                  <c:v>#N/A</c:v>
                </c:pt>
                <c:pt idx="44">
                  <c:v>1</c:v>
                </c:pt>
                <c:pt idx="45">
                  <c:v>1</c:v>
                </c:pt>
                <c:pt idx="46">
                  <c:v>1</c:v>
                </c:pt>
                <c:pt idx="47">
                  <c:v>1</c:v>
                </c:pt>
                <c:pt idx="48">
                  <c:v>1</c:v>
                </c:pt>
                <c:pt idx="49">
                  <c:v>#N/A</c:v>
                </c:pt>
                <c:pt idx="50">
                  <c:v>#N/A</c:v>
                </c:pt>
                <c:pt idx="51">
                  <c:v>1</c:v>
                </c:pt>
              </c:numCache>
            </c:numRef>
          </c:val>
          <c:extLst>
            <c:ext xmlns:c15="http://schemas.microsoft.com/office/drawing/2012/chart" uri="{02D57815-91ED-43cb-92C2-25804820EDAC}">
              <c15:datalabelsRange>
                <c15:f>Sheet1!$G$2:$G$53</c15:f>
                <c15:dlblRangeCache>
                  <c:ptCount val="52"/>
                  <c:pt idx="2">
                    <c:v>244%</c:v>
                  </c:pt>
                  <c:pt idx="45">
                    <c:v>209%</c:v>
                  </c:pt>
                </c15:dlblRangeCache>
              </c15:datalabelsRange>
            </c:ext>
            <c:ext xmlns:c16="http://schemas.microsoft.com/office/drawing/2014/chart" uri="{C3380CC4-5D6E-409C-BE32-E72D297353CC}">
              <c16:uniqueId val="{00000034-48EF-4B2C-A45E-07CB64A14B3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bubble</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0.83149283462587276</c:v>
                </c:pt>
                <c:pt idx="1">
                  <c:v>1.6315180743925193</c:v>
                </c:pt>
                <c:pt idx="2">
                  <c:v>2.4439356076015577</c:v>
                </c:pt>
                <c:pt idx="3">
                  <c:v>0.77292587642644184</c:v>
                </c:pt>
                <c:pt idx="4">
                  <c:v>0.74765866355299326</c:v>
                </c:pt>
                <c:pt idx="5">
                  <c:v>0.98081754103558449</c:v>
                </c:pt>
                <c:pt idx="6">
                  <c:v>0.70833026532165033</c:v>
                </c:pt>
                <c:pt idx="7">
                  <c:v>0.84407908755481287</c:v>
                </c:pt>
                <c:pt idx="8">
                  <c:v>#N/A</c:v>
                </c:pt>
                <c:pt idx="9">
                  <c:v>#N/A</c:v>
                </c:pt>
                <c:pt idx="10">
                  <c:v>#N/A</c:v>
                </c:pt>
                <c:pt idx="11">
                  <c:v>#N/A</c:v>
                </c:pt>
                <c:pt idx="12">
                  <c:v>#N/A</c:v>
                </c:pt>
                <c:pt idx="13">
                  <c:v>#N/A</c:v>
                </c:pt>
                <c:pt idx="14">
                  <c:v>#N/A</c:v>
                </c:pt>
                <c:pt idx="15">
                  <c:v>0.8725708042279976</c:v>
                </c:pt>
                <c:pt idx="16">
                  <c:v>0.4577243728236281</c:v>
                </c:pt>
                <c:pt idx="17">
                  <c:v>#N/A</c:v>
                </c:pt>
                <c:pt idx="18">
                  <c:v>0.15218560397131825</c:v>
                </c:pt>
                <c:pt idx="19">
                  <c:v>0.3636835009851706</c:v>
                </c:pt>
                <c:pt idx="20">
                  <c:v>0.23195425066291811</c:v>
                </c:pt>
                <c:pt idx="21">
                  <c:v>0.85483845584879525</c:v>
                </c:pt>
                <c:pt idx="22">
                  <c:v>0.3003459533206646</c:v>
                </c:pt>
                <c:pt idx="23">
                  <c:v>0.33698879958684352</c:v>
                </c:pt>
                <c:pt idx="24">
                  <c:v>#N/A</c:v>
                </c:pt>
                <c:pt idx="25">
                  <c:v>#N/A</c:v>
                </c:pt>
                <c:pt idx="26">
                  <c:v>0.47679126329628302</c:v>
                </c:pt>
                <c:pt idx="27">
                  <c:v>#N/A</c:v>
                </c:pt>
                <c:pt idx="28">
                  <c:v>#N/A</c:v>
                </c:pt>
                <c:pt idx="29">
                  <c:v>0.86927040954705725</c:v>
                </c:pt>
                <c:pt idx="30">
                  <c:v>7.1587946883100939E-2</c:v>
                </c:pt>
                <c:pt idx="31">
                  <c:v>#N/A</c:v>
                </c:pt>
                <c:pt idx="32">
                  <c:v>#N/A</c:v>
                </c:pt>
                <c:pt idx="33">
                  <c:v>0.91374133318774908</c:v>
                </c:pt>
                <c:pt idx="34">
                  <c:v>#N/A</c:v>
                </c:pt>
                <c:pt idx="35">
                  <c:v>#N/A</c:v>
                </c:pt>
                <c:pt idx="36">
                  <c:v>#N/A</c:v>
                </c:pt>
                <c:pt idx="37">
                  <c:v>#N/A</c:v>
                </c:pt>
                <c:pt idx="38">
                  <c:v>0.2039582880232598</c:v>
                </c:pt>
                <c:pt idx="39">
                  <c:v>#N/A</c:v>
                </c:pt>
                <c:pt idx="40">
                  <c:v>0.81834423418520841</c:v>
                </c:pt>
                <c:pt idx="41">
                  <c:v>0.24170478834974729</c:v>
                </c:pt>
                <c:pt idx="42">
                  <c:v>#N/A</c:v>
                </c:pt>
                <c:pt idx="43">
                  <c:v>#N/A</c:v>
                </c:pt>
                <c:pt idx="44">
                  <c:v>0.54761466764778022</c:v>
                </c:pt>
                <c:pt idx="45">
                  <c:v>2.0907701528318849</c:v>
                </c:pt>
                <c:pt idx="46">
                  <c:v>0.32255425519827291</c:v>
                </c:pt>
                <c:pt idx="47">
                  <c:v>0.60169518129022137</c:v>
                </c:pt>
                <c:pt idx="48">
                  <c:v>#N/A</c:v>
                </c:pt>
                <c:pt idx="49">
                  <c:v>#N/A</c:v>
                </c:pt>
                <c:pt idx="50">
                  <c:v>#N/A</c:v>
                </c:pt>
                <c:pt idx="51">
                  <c:v>0.47447486087432045</c:v>
                </c:pt>
              </c:numCache>
            </c:numRef>
          </c:val>
          <c:smooth val="0"/>
          <c:extLst>
            <c:ext xmlns:c16="http://schemas.microsoft.com/office/drawing/2014/chart" uri="{C3380CC4-5D6E-409C-BE32-E72D297353CC}">
              <c16:uniqueId val="{00000035-48EF-4B2C-A45E-07CB64A14B3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N/A</c:v>
                </c:pt>
                <c:pt idx="1">
                  <c:v>#N/A</c:v>
                </c:pt>
                <c:pt idx="2">
                  <c:v>1</c:v>
                </c:pt>
                <c:pt idx="3">
                  <c:v>1</c:v>
                </c:pt>
                <c:pt idx="4">
                  <c:v>1</c:v>
                </c:pt>
                <c:pt idx="5">
                  <c:v>1</c:v>
                </c:pt>
                <c:pt idx="6">
                  <c:v>1</c:v>
                </c:pt>
                <c:pt idx="7">
                  <c:v>1</c:v>
                </c:pt>
                <c:pt idx="8">
                  <c:v>1</c:v>
                </c:pt>
                <c:pt idx="9">
                  <c:v>1</c:v>
                </c:pt>
                <c:pt idx="10">
                  <c:v>1</c:v>
                </c:pt>
                <c:pt idx="11">
                  <c:v>1</c:v>
                </c:pt>
                <c:pt idx="12">
                  <c:v>1</c:v>
                </c:pt>
                <c:pt idx="13">
                  <c:v>1</c:v>
                </c:pt>
                <c:pt idx="14">
                  <c:v>1</c:v>
                </c:pt>
                <c:pt idx="15">
                  <c:v>#N/A</c:v>
                </c:pt>
                <c:pt idx="16">
                  <c:v>#N/A</c:v>
                </c:pt>
                <c:pt idx="17">
                  <c:v>#N/A</c:v>
                </c:pt>
                <c:pt idx="18">
                  <c:v>#N/A</c:v>
                </c:pt>
                <c:pt idx="19">
                  <c:v>#N/A</c:v>
                </c:pt>
                <c:pt idx="20">
                  <c:v>#N/A</c:v>
                </c:pt>
                <c:pt idx="21">
                  <c:v>#N/A</c:v>
                </c:pt>
                <c:pt idx="22">
                  <c:v>1</c:v>
                </c:pt>
                <c:pt idx="23">
                  <c:v>1</c:v>
                </c:pt>
                <c:pt idx="24">
                  <c:v>1</c:v>
                </c:pt>
                <c:pt idx="25">
                  <c:v>#N/A</c:v>
                </c:pt>
                <c:pt idx="26">
                  <c:v>#N/A</c:v>
                </c:pt>
                <c:pt idx="27">
                  <c:v>#N/A</c:v>
                </c:pt>
                <c:pt idx="28">
                  <c:v>#N/A</c:v>
                </c:pt>
                <c:pt idx="29">
                  <c:v>#N/A</c:v>
                </c:pt>
                <c:pt idx="30">
                  <c:v>#N/A</c:v>
                </c:pt>
                <c:pt idx="31">
                  <c:v>#N/A</c:v>
                </c:pt>
                <c:pt idx="32">
                  <c:v>#N/A</c:v>
                </c:pt>
                <c:pt idx="33">
                  <c:v>#N/A</c:v>
                </c:pt>
                <c:pt idx="34">
                  <c:v>1</c:v>
                </c:pt>
                <c:pt idx="35">
                  <c:v>#N/A</c:v>
                </c:pt>
                <c:pt idx="36">
                  <c:v>#N/A</c:v>
                </c:pt>
                <c:pt idx="37">
                  <c:v>#N/A</c:v>
                </c:pt>
                <c:pt idx="38">
                  <c:v>#N/A</c:v>
                </c:pt>
                <c:pt idx="39">
                  <c:v>1</c:v>
                </c:pt>
                <c:pt idx="40">
                  <c:v>1</c:v>
                </c:pt>
                <c:pt idx="41">
                  <c:v>1</c:v>
                </c:pt>
                <c:pt idx="42">
                  <c:v>1</c:v>
                </c:pt>
                <c:pt idx="43">
                  <c:v>1</c:v>
                </c:pt>
                <c:pt idx="44">
                  <c:v>#N/A</c:v>
                </c:pt>
                <c:pt idx="45">
                  <c:v>#N/A</c:v>
                </c:pt>
                <c:pt idx="46">
                  <c:v>#N/A</c:v>
                </c:pt>
                <c:pt idx="47">
                  <c:v>#N/A</c:v>
                </c:pt>
                <c:pt idx="48">
                  <c:v>#N/A</c:v>
                </c:pt>
                <c:pt idx="49">
                  <c:v>#N/A</c:v>
                </c:pt>
                <c:pt idx="50">
                  <c:v>#N/A</c:v>
                </c:pt>
                <c:pt idx="51">
                  <c:v>#N/A</c:v>
                </c:pt>
              </c:numCache>
            </c:numRef>
          </c:val>
          <c:extLst>
            <c:ext xmlns:c16="http://schemas.microsoft.com/office/drawing/2014/chart" uri="{C3380CC4-5D6E-409C-BE32-E72D297353CC}">
              <c16:uniqueId val="{00000000-1DD4-432D-86DC-6E7EECD7DC7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N/A</c:v>
                </c:pt>
                <c:pt idx="1">
                  <c:v>#N/A</c:v>
                </c:pt>
                <c:pt idx="2">
                  <c:v>0.11367872175570121</c:v>
                </c:pt>
                <c:pt idx="3">
                  <c:v>0.12132533378739771</c:v>
                </c:pt>
                <c:pt idx="4">
                  <c:v>0.2148614964962611</c:v>
                </c:pt>
                <c:pt idx="5">
                  <c:v>0.17336822212530892</c:v>
                </c:pt>
                <c:pt idx="6">
                  <c:v>0.16371495760272436</c:v>
                </c:pt>
                <c:pt idx="7">
                  <c:v>0.359005905511811</c:v>
                </c:pt>
                <c:pt idx="8">
                  <c:v>0.35807339627396623</c:v>
                </c:pt>
                <c:pt idx="9">
                  <c:v>0.3262485253637436</c:v>
                </c:pt>
                <c:pt idx="10">
                  <c:v>0.18571348293560108</c:v>
                </c:pt>
                <c:pt idx="11">
                  <c:v>0.14821256608297467</c:v>
                </c:pt>
                <c:pt idx="12">
                  <c:v>0.11874984490930296</c:v>
                </c:pt>
                <c:pt idx="13">
                  <c:v>0.26535114062005177</c:v>
                </c:pt>
                <c:pt idx="14">
                  <c:v>#N/A</c:v>
                </c:pt>
                <c:pt idx="15">
                  <c:v>#N/A</c:v>
                </c:pt>
                <c:pt idx="16">
                  <c:v>#N/A</c:v>
                </c:pt>
                <c:pt idx="17">
                  <c:v>#N/A</c:v>
                </c:pt>
                <c:pt idx="18">
                  <c:v>#N/A</c:v>
                </c:pt>
                <c:pt idx="19">
                  <c:v>#N/A</c:v>
                </c:pt>
                <c:pt idx="20">
                  <c:v>#N/A</c:v>
                </c:pt>
                <c:pt idx="21">
                  <c:v>#N/A</c:v>
                </c:pt>
                <c:pt idx="22">
                  <c:v>0.40337942434339991</c:v>
                </c:pt>
                <c:pt idx="23">
                  <c:v>0.48057218130862606</c:v>
                </c:pt>
                <c:pt idx="24">
                  <c:v>8.1719681066375477E-2</c:v>
                </c:pt>
                <c:pt idx="25">
                  <c:v>#N/A</c:v>
                </c:pt>
                <c:pt idx="26">
                  <c:v>#N/A</c:v>
                </c:pt>
                <c:pt idx="27">
                  <c:v>#N/A</c:v>
                </c:pt>
                <c:pt idx="28">
                  <c:v>#N/A</c:v>
                </c:pt>
                <c:pt idx="29">
                  <c:v>#N/A</c:v>
                </c:pt>
                <c:pt idx="30">
                  <c:v>#N/A</c:v>
                </c:pt>
                <c:pt idx="31">
                  <c:v>#N/A</c:v>
                </c:pt>
                <c:pt idx="32">
                  <c:v>#N/A</c:v>
                </c:pt>
                <c:pt idx="33">
                  <c:v>#N/A</c:v>
                </c:pt>
                <c:pt idx="34">
                  <c:v>0.14244945048272512</c:v>
                </c:pt>
                <c:pt idx="35">
                  <c:v>#N/A</c:v>
                </c:pt>
                <c:pt idx="36">
                  <c:v>#N/A</c:v>
                </c:pt>
                <c:pt idx="37">
                  <c:v>#N/A</c:v>
                </c:pt>
                <c:pt idx="38">
                  <c:v>#N/A</c:v>
                </c:pt>
                <c:pt idx="39">
                  <c:v>#N/A</c:v>
                </c:pt>
                <c:pt idx="40">
                  <c:v>#N/A</c:v>
                </c:pt>
                <c:pt idx="41">
                  <c:v>0.47272657381187294</c:v>
                </c:pt>
                <c:pt idx="42">
                  <c:v>0.62001930605459321</c:v>
                </c:pt>
                <c:pt idx="43">
                  <c:v>0.40657862283907709</c:v>
                </c:pt>
                <c:pt idx="44">
                  <c:v>#N/A</c:v>
                </c:pt>
                <c:pt idx="45">
                  <c:v>#N/A</c:v>
                </c:pt>
                <c:pt idx="46">
                  <c:v>#N/A</c:v>
                </c:pt>
                <c:pt idx="47">
                  <c:v>#N/A</c:v>
                </c:pt>
                <c:pt idx="48">
                  <c:v>#N/A</c:v>
                </c:pt>
                <c:pt idx="49">
                  <c:v>#N/A</c:v>
                </c:pt>
                <c:pt idx="50">
                  <c:v>#N/A</c:v>
                </c:pt>
                <c:pt idx="51">
                  <c:v>#N/A</c:v>
                </c:pt>
              </c:numCache>
            </c:numRef>
          </c:val>
          <c:smooth val="0"/>
          <c:extLst>
            <c:ext xmlns:c16="http://schemas.microsoft.com/office/drawing/2014/chart" uri="{C3380CC4-5D6E-409C-BE32-E72D297353CC}">
              <c16:uniqueId val="{00000001-1DD4-432D-86DC-6E7EECD7DC7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N/A</c:v>
                </c:pt>
                <c:pt idx="1">
                  <c:v>#N/A</c:v>
                </c:pt>
                <c:pt idx="2">
                  <c:v>1</c:v>
                </c:pt>
                <c:pt idx="3">
                  <c:v>1</c:v>
                </c:pt>
                <c:pt idx="4">
                  <c:v>1</c:v>
                </c:pt>
                <c:pt idx="5">
                  <c:v>1</c:v>
                </c:pt>
                <c:pt idx="6">
                  <c:v>1</c:v>
                </c:pt>
                <c:pt idx="7">
                  <c:v>1</c:v>
                </c:pt>
                <c:pt idx="8">
                  <c:v>1</c:v>
                </c:pt>
                <c:pt idx="9">
                  <c:v>1</c:v>
                </c:pt>
                <c:pt idx="10">
                  <c:v>1</c:v>
                </c:pt>
                <c:pt idx="11">
                  <c:v>1</c:v>
                </c:pt>
                <c:pt idx="12">
                  <c:v>1</c:v>
                </c:pt>
                <c:pt idx="13">
                  <c:v>1</c:v>
                </c:pt>
                <c:pt idx="14">
                  <c:v>1</c:v>
                </c:pt>
                <c:pt idx="15">
                  <c:v>#N/A</c:v>
                </c:pt>
                <c:pt idx="16">
                  <c:v>#N/A</c:v>
                </c:pt>
                <c:pt idx="17">
                  <c:v>#N/A</c:v>
                </c:pt>
                <c:pt idx="18">
                  <c:v>#N/A</c:v>
                </c:pt>
                <c:pt idx="19">
                  <c:v>#N/A</c:v>
                </c:pt>
                <c:pt idx="20">
                  <c:v>#N/A</c:v>
                </c:pt>
                <c:pt idx="21">
                  <c:v>#N/A</c:v>
                </c:pt>
                <c:pt idx="22">
                  <c:v>1</c:v>
                </c:pt>
                <c:pt idx="23">
                  <c:v>1</c:v>
                </c:pt>
                <c:pt idx="24">
                  <c:v>1</c:v>
                </c:pt>
                <c:pt idx="25">
                  <c:v>#N/A</c:v>
                </c:pt>
                <c:pt idx="26">
                  <c:v>#N/A</c:v>
                </c:pt>
                <c:pt idx="27">
                  <c:v>#N/A</c:v>
                </c:pt>
                <c:pt idx="28">
                  <c:v>#N/A</c:v>
                </c:pt>
                <c:pt idx="29">
                  <c:v>#N/A</c:v>
                </c:pt>
                <c:pt idx="30">
                  <c:v>#N/A</c:v>
                </c:pt>
                <c:pt idx="31">
                  <c:v>#N/A</c:v>
                </c:pt>
                <c:pt idx="32">
                  <c:v>#N/A</c:v>
                </c:pt>
                <c:pt idx="33">
                  <c:v>#N/A</c:v>
                </c:pt>
                <c:pt idx="34">
                  <c:v>1</c:v>
                </c:pt>
                <c:pt idx="35">
                  <c:v>#N/A</c:v>
                </c:pt>
                <c:pt idx="36">
                  <c:v>#N/A</c:v>
                </c:pt>
                <c:pt idx="37">
                  <c:v>#N/A</c:v>
                </c:pt>
                <c:pt idx="38">
                  <c:v>#N/A</c:v>
                </c:pt>
                <c:pt idx="39">
                  <c:v>1</c:v>
                </c:pt>
                <c:pt idx="40">
                  <c:v>1</c:v>
                </c:pt>
                <c:pt idx="41">
                  <c:v>1</c:v>
                </c:pt>
                <c:pt idx="42">
                  <c:v>1</c:v>
                </c:pt>
                <c:pt idx="43">
                  <c:v>1</c:v>
                </c:pt>
                <c:pt idx="44">
                  <c:v>#N/A</c:v>
                </c:pt>
                <c:pt idx="45">
                  <c:v>#N/A</c:v>
                </c:pt>
                <c:pt idx="46">
                  <c:v>#N/A</c:v>
                </c:pt>
                <c:pt idx="47">
                  <c:v>#N/A</c:v>
                </c:pt>
                <c:pt idx="48">
                  <c:v>#N/A</c:v>
                </c:pt>
                <c:pt idx="49">
                  <c:v>#N/A</c:v>
                </c:pt>
                <c:pt idx="50">
                  <c:v>#N/A</c:v>
                </c:pt>
                <c:pt idx="51">
                  <c:v>#N/A</c:v>
                </c:pt>
              </c:numCache>
            </c:numRef>
          </c:val>
          <c:extLst>
            <c:ext xmlns:c16="http://schemas.microsoft.com/office/drawing/2014/chart" uri="{C3380CC4-5D6E-409C-BE32-E72D297353CC}">
              <c16:uniqueId val="{00000000-7281-4004-839E-EC8ADA9B4F03}"/>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N/A</c:v>
                </c:pt>
                <c:pt idx="1">
                  <c:v>#N/A</c:v>
                </c:pt>
                <c:pt idx="2">
                  <c:v>0.11367872175570121</c:v>
                </c:pt>
                <c:pt idx="3">
                  <c:v>0.12132533378739771</c:v>
                </c:pt>
                <c:pt idx="4">
                  <c:v>0.2148614964962611</c:v>
                </c:pt>
                <c:pt idx="5">
                  <c:v>0.17336822212530892</c:v>
                </c:pt>
                <c:pt idx="6">
                  <c:v>0.16371495760272436</c:v>
                </c:pt>
                <c:pt idx="7">
                  <c:v>0.359005905511811</c:v>
                </c:pt>
                <c:pt idx="8">
                  <c:v>0.35807339627396623</c:v>
                </c:pt>
                <c:pt idx="9">
                  <c:v>0.3262485253637436</c:v>
                </c:pt>
                <c:pt idx="10">
                  <c:v>0.18571348293560108</c:v>
                </c:pt>
                <c:pt idx="11">
                  <c:v>0.14821256608297467</c:v>
                </c:pt>
                <c:pt idx="12">
                  <c:v>0.11874984490930296</c:v>
                </c:pt>
                <c:pt idx="13">
                  <c:v>0.26535114062005177</c:v>
                </c:pt>
                <c:pt idx="14">
                  <c:v>#N/A</c:v>
                </c:pt>
                <c:pt idx="15">
                  <c:v>#N/A</c:v>
                </c:pt>
                <c:pt idx="16">
                  <c:v>#N/A</c:v>
                </c:pt>
                <c:pt idx="17">
                  <c:v>#N/A</c:v>
                </c:pt>
                <c:pt idx="18">
                  <c:v>#N/A</c:v>
                </c:pt>
                <c:pt idx="19">
                  <c:v>#N/A</c:v>
                </c:pt>
                <c:pt idx="20">
                  <c:v>#N/A</c:v>
                </c:pt>
                <c:pt idx="21">
                  <c:v>#N/A</c:v>
                </c:pt>
                <c:pt idx="22">
                  <c:v>0.40337942434339991</c:v>
                </c:pt>
                <c:pt idx="23">
                  <c:v>0.48057218130862606</c:v>
                </c:pt>
                <c:pt idx="24">
                  <c:v>8.1719681066375477E-2</c:v>
                </c:pt>
                <c:pt idx="25">
                  <c:v>#N/A</c:v>
                </c:pt>
                <c:pt idx="26">
                  <c:v>#N/A</c:v>
                </c:pt>
                <c:pt idx="27">
                  <c:v>#N/A</c:v>
                </c:pt>
                <c:pt idx="28">
                  <c:v>#N/A</c:v>
                </c:pt>
                <c:pt idx="29">
                  <c:v>#N/A</c:v>
                </c:pt>
                <c:pt idx="30">
                  <c:v>#N/A</c:v>
                </c:pt>
                <c:pt idx="31">
                  <c:v>#N/A</c:v>
                </c:pt>
                <c:pt idx="32">
                  <c:v>#N/A</c:v>
                </c:pt>
                <c:pt idx="33">
                  <c:v>#N/A</c:v>
                </c:pt>
                <c:pt idx="34">
                  <c:v>0.14244945048272512</c:v>
                </c:pt>
                <c:pt idx="35">
                  <c:v>#N/A</c:v>
                </c:pt>
                <c:pt idx="36">
                  <c:v>#N/A</c:v>
                </c:pt>
                <c:pt idx="37">
                  <c:v>#N/A</c:v>
                </c:pt>
                <c:pt idx="38">
                  <c:v>#N/A</c:v>
                </c:pt>
                <c:pt idx="39">
                  <c:v>#N/A</c:v>
                </c:pt>
                <c:pt idx="40">
                  <c:v>#N/A</c:v>
                </c:pt>
                <c:pt idx="41">
                  <c:v>0.47272657381187294</c:v>
                </c:pt>
                <c:pt idx="42">
                  <c:v>0.62001930605459321</c:v>
                </c:pt>
                <c:pt idx="43">
                  <c:v>0.40657862283907709</c:v>
                </c:pt>
                <c:pt idx="44">
                  <c:v>#N/A</c:v>
                </c:pt>
                <c:pt idx="45">
                  <c:v>#N/A</c:v>
                </c:pt>
                <c:pt idx="46">
                  <c:v>#N/A</c:v>
                </c:pt>
                <c:pt idx="47">
                  <c:v>#N/A</c:v>
                </c:pt>
                <c:pt idx="48">
                  <c:v>#N/A</c:v>
                </c:pt>
                <c:pt idx="49">
                  <c:v>#N/A</c:v>
                </c:pt>
                <c:pt idx="50">
                  <c:v>#N/A</c:v>
                </c:pt>
                <c:pt idx="51">
                  <c:v>#N/A</c:v>
                </c:pt>
              </c:numCache>
            </c:numRef>
          </c:val>
          <c:smooth val="0"/>
          <c:extLst>
            <c:ext xmlns:c16="http://schemas.microsoft.com/office/drawing/2014/chart" uri="{C3380CC4-5D6E-409C-BE32-E72D297353CC}">
              <c16:uniqueId val="{00000001-7281-4004-839E-EC8ADA9B4F03}"/>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44275310024208181"/>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1F997C32-2B90-45F5-BC3F-20EA736BA30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1522-4FFF-9E56-9731F6C7602B}"/>
                </c:ext>
              </c:extLst>
            </c:dLbl>
            <c:dLbl>
              <c:idx val="1"/>
              <c:tx>
                <c:rich>
                  <a:bodyPr/>
                  <a:lstStyle/>
                  <a:p>
                    <a:fld id="{B84ACB84-8D43-4586-9011-72615588679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1522-4FFF-9E56-9731F6C7602B}"/>
                </c:ext>
              </c:extLst>
            </c:dLbl>
            <c:dLbl>
              <c:idx val="2"/>
              <c:tx>
                <c:rich>
                  <a:bodyPr/>
                  <a:lstStyle/>
                  <a:p>
                    <a:fld id="{E36B7852-A363-4A97-B90B-BEECAC41303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1522-4FFF-9E56-9731F6C7602B}"/>
                </c:ext>
              </c:extLst>
            </c:dLbl>
            <c:dLbl>
              <c:idx val="3"/>
              <c:tx>
                <c:rich>
                  <a:bodyPr/>
                  <a:lstStyle/>
                  <a:p>
                    <a:fld id="{C1246EE7-FB05-4659-9B25-01B135C4438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1522-4FFF-9E56-9731F6C7602B}"/>
                </c:ext>
              </c:extLst>
            </c:dLbl>
            <c:dLbl>
              <c:idx val="4"/>
              <c:tx>
                <c:rich>
                  <a:bodyPr/>
                  <a:lstStyle/>
                  <a:p>
                    <a:fld id="{358E648D-8E9B-4956-A076-44F2A7B7BF3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1522-4FFF-9E56-9731F6C7602B}"/>
                </c:ext>
              </c:extLst>
            </c:dLbl>
            <c:dLbl>
              <c:idx val="5"/>
              <c:tx>
                <c:rich>
                  <a:bodyPr/>
                  <a:lstStyle/>
                  <a:p>
                    <a:fld id="{9EEFC47F-8E14-45A8-9405-568C40CF877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1522-4FFF-9E56-9731F6C7602B}"/>
                </c:ext>
              </c:extLst>
            </c:dLbl>
            <c:dLbl>
              <c:idx val="6"/>
              <c:tx>
                <c:rich>
                  <a:bodyPr/>
                  <a:lstStyle/>
                  <a:p>
                    <a:fld id="{FFB9A23C-9464-4330-9119-421E1FB55CD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1522-4FFF-9E56-9731F6C7602B}"/>
                </c:ext>
              </c:extLst>
            </c:dLbl>
            <c:dLbl>
              <c:idx val="7"/>
              <c:tx>
                <c:rich>
                  <a:bodyPr/>
                  <a:lstStyle/>
                  <a:p>
                    <a:fld id="{315C4D06-1C24-494B-9E09-585F78B60AB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1522-4FFF-9E56-9731F6C7602B}"/>
                </c:ext>
              </c:extLst>
            </c:dLbl>
            <c:dLbl>
              <c:idx val="8"/>
              <c:tx>
                <c:rich>
                  <a:bodyPr/>
                  <a:lstStyle/>
                  <a:p>
                    <a:fld id="{27CF11B2-B552-41E1-BD6D-83CA50FFBA1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1522-4FFF-9E56-9731F6C7602B}"/>
                </c:ext>
              </c:extLst>
            </c:dLbl>
            <c:dLbl>
              <c:idx val="9"/>
              <c:tx>
                <c:rich>
                  <a:bodyPr/>
                  <a:lstStyle/>
                  <a:p>
                    <a:fld id="{1BB68B22-B0C0-4006-9056-3748007DE70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1522-4FFF-9E56-9731F6C7602B}"/>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1522-4FFF-9E56-9731F6C7602B}"/>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1522-4FFF-9E56-9731F6C7602B}"/>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1522-4FFF-9E56-9731F6C7602B}"/>
                </c:ext>
              </c:extLst>
            </c:dLbl>
            <c:dLbl>
              <c:idx val="13"/>
              <c:tx>
                <c:rich>
                  <a:bodyPr/>
                  <a:lstStyle/>
                  <a:p>
                    <a:fld id="{1E210589-64EA-4E14-8543-7ECEEEB29C1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1522-4FFF-9E56-9731F6C7602B}"/>
                </c:ext>
              </c:extLst>
            </c:dLbl>
            <c:dLbl>
              <c:idx val="14"/>
              <c:tx>
                <c:rich>
                  <a:bodyPr/>
                  <a:lstStyle/>
                  <a:p>
                    <a:fld id="{2F9C56E2-12F4-4650-B22C-BF3EB2E49A9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1522-4FFF-9E56-9731F6C7602B}"/>
                </c:ext>
              </c:extLst>
            </c:dLbl>
            <c:dLbl>
              <c:idx val="15"/>
              <c:tx>
                <c:rich>
                  <a:bodyPr/>
                  <a:lstStyle/>
                  <a:p>
                    <a:fld id="{CBAD240B-0E21-4A54-83B4-CAAE71F63A7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1522-4FFF-9E56-9731F6C7602B}"/>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1522-4FFF-9E56-9731F6C7602B}"/>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1522-4FFF-9E56-9731F6C7602B}"/>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1522-4FFF-9E56-9731F6C7602B}"/>
                </c:ext>
              </c:extLst>
            </c:dLbl>
            <c:dLbl>
              <c:idx val="19"/>
              <c:tx>
                <c:rich>
                  <a:bodyPr/>
                  <a:lstStyle/>
                  <a:p>
                    <a:fld id="{E20DF19E-09E5-4F33-9097-381B4A54AA7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1522-4FFF-9E56-9731F6C7602B}"/>
                </c:ext>
              </c:extLst>
            </c:dLbl>
            <c:dLbl>
              <c:idx val="20"/>
              <c:tx>
                <c:rich>
                  <a:bodyPr/>
                  <a:lstStyle/>
                  <a:p>
                    <a:fld id="{2CB93E37-BC38-49DD-A172-238742092F2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1522-4FFF-9E56-9731F6C7602B}"/>
                </c:ext>
              </c:extLst>
            </c:dLbl>
            <c:dLbl>
              <c:idx val="21"/>
              <c:tx>
                <c:rich>
                  <a:bodyPr/>
                  <a:lstStyle/>
                  <a:p>
                    <a:fld id="{9F39EEBA-E9DF-46A5-B156-CB3D6EBF230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1522-4FFF-9E56-9731F6C7602B}"/>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1522-4FFF-9E56-9731F6C7602B}"/>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1522-4FFF-9E56-9731F6C7602B}"/>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1522-4FFF-9E56-9731F6C7602B}"/>
                </c:ext>
              </c:extLst>
            </c:dLbl>
            <c:dLbl>
              <c:idx val="25"/>
              <c:tx>
                <c:rich>
                  <a:bodyPr/>
                  <a:lstStyle/>
                  <a:p>
                    <a:fld id="{2CF767F5-A2B9-4DD8-8AC1-CC88E69263E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1522-4FFF-9E56-9731F6C7602B}"/>
                </c:ext>
              </c:extLst>
            </c:dLbl>
            <c:dLbl>
              <c:idx val="26"/>
              <c:tx>
                <c:rich>
                  <a:bodyPr/>
                  <a:lstStyle/>
                  <a:p>
                    <a:fld id="{CA2C7463-43F4-45A8-A092-49A7D02688D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1522-4FFF-9E56-9731F6C7602B}"/>
                </c:ext>
              </c:extLst>
            </c:dLbl>
            <c:dLbl>
              <c:idx val="27"/>
              <c:tx>
                <c:rich>
                  <a:bodyPr/>
                  <a:lstStyle/>
                  <a:p>
                    <a:fld id="{EE4F7404-3338-4CE3-9084-8638192E967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1522-4FFF-9E56-9731F6C7602B}"/>
                </c:ext>
              </c:extLst>
            </c:dLbl>
            <c:dLbl>
              <c:idx val="28"/>
              <c:tx>
                <c:rich>
                  <a:bodyPr/>
                  <a:lstStyle/>
                  <a:p>
                    <a:fld id="{E8C8B36C-705D-49CF-9020-EC3982BD76F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1522-4FFF-9E56-9731F6C7602B}"/>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1522-4FFF-9E56-9731F6C7602B}"/>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1522-4FFF-9E56-9731F6C7602B}"/>
                </c:ext>
              </c:extLst>
            </c:dLbl>
            <c:dLbl>
              <c:idx val="31"/>
              <c:tx>
                <c:rich>
                  <a:bodyPr/>
                  <a:lstStyle/>
                  <a:p>
                    <a:fld id="{9856B1A0-5D4B-4483-AE0C-3E53AEC33A9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1522-4FFF-9E56-9731F6C7602B}"/>
                </c:ext>
              </c:extLst>
            </c:dLbl>
            <c:dLbl>
              <c:idx val="32"/>
              <c:tx>
                <c:rich>
                  <a:bodyPr/>
                  <a:lstStyle/>
                  <a:p>
                    <a:fld id="{1DAA4643-A863-477E-A732-CD6A76DDC35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1522-4FFF-9E56-9731F6C7602B}"/>
                </c:ext>
              </c:extLst>
            </c:dLbl>
            <c:dLbl>
              <c:idx val="33"/>
              <c:tx>
                <c:rich>
                  <a:bodyPr/>
                  <a:lstStyle/>
                  <a:p>
                    <a:fld id="{D80913A4-7758-4487-BA12-D75CA6BD454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1522-4FFF-9E56-9731F6C7602B}"/>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1522-4FFF-9E56-9731F6C7602B}"/>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1522-4FFF-9E56-9731F6C7602B}"/>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1522-4FFF-9E56-9731F6C7602B}"/>
                </c:ext>
              </c:extLst>
            </c:dLbl>
            <c:dLbl>
              <c:idx val="37"/>
              <c:tx>
                <c:rich>
                  <a:bodyPr/>
                  <a:lstStyle/>
                  <a:p>
                    <a:fld id="{5D5099B3-7842-4777-B263-9B6FBB6BFBC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1522-4FFF-9E56-9731F6C7602B}"/>
                </c:ext>
              </c:extLst>
            </c:dLbl>
            <c:dLbl>
              <c:idx val="38"/>
              <c:tx>
                <c:rich>
                  <a:bodyPr/>
                  <a:lstStyle/>
                  <a:p>
                    <a:fld id="{BD014E2B-086B-417A-A073-71D298B184E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1522-4FFF-9E56-9731F6C7602B}"/>
                </c:ext>
              </c:extLst>
            </c:dLbl>
            <c:dLbl>
              <c:idx val="39"/>
              <c:tx>
                <c:rich>
                  <a:bodyPr/>
                  <a:lstStyle/>
                  <a:p>
                    <a:fld id="{3D1AFAD4-8986-47B8-B730-A23BEB9C0CA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1522-4FFF-9E56-9731F6C7602B}"/>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1522-4FFF-9E56-9731F6C7602B}"/>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1522-4FFF-9E56-9731F6C7602B}"/>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1522-4FFF-9E56-9731F6C7602B}"/>
                </c:ext>
              </c:extLst>
            </c:dLbl>
            <c:dLbl>
              <c:idx val="43"/>
              <c:tx>
                <c:rich>
                  <a:bodyPr/>
                  <a:lstStyle/>
                  <a:p>
                    <a:fld id="{06D5F968-1ECD-4DCA-AC93-2691AA9682A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1522-4FFF-9E56-9731F6C7602B}"/>
                </c:ext>
              </c:extLst>
            </c:dLbl>
            <c:dLbl>
              <c:idx val="44"/>
              <c:tx>
                <c:rich>
                  <a:bodyPr/>
                  <a:lstStyle/>
                  <a:p>
                    <a:fld id="{9570DB4B-5BD3-4FFB-B097-FE1D5A138A2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1522-4FFF-9E56-9731F6C7602B}"/>
                </c:ext>
              </c:extLst>
            </c:dLbl>
            <c:dLbl>
              <c:idx val="45"/>
              <c:tx>
                <c:rich>
                  <a:bodyPr/>
                  <a:lstStyle/>
                  <a:p>
                    <a:fld id="{67C4F701-C031-46D1-9BF0-7524FED46DA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1522-4FFF-9E56-9731F6C7602B}"/>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1522-4FFF-9E56-9731F6C7602B}"/>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1522-4FFF-9E56-9731F6C7602B}"/>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1522-4FFF-9E56-9731F6C7602B}"/>
                </c:ext>
              </c:extLst>
            </c:dLbl>
            <c:dLbl>
              <c:idx val="49"/>
              <c:tx>
                <c:rich>
                  <a:bodyPr/>
                  <a:lstStyle/>
                  <a:p>
                    <a:fld id="{A42934A4-4AC2-4CB7-94D0-9439F9581D8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1522-4FFF-9E56-9731F6C7602B}"/>
                </c:ext>
              </c:extLst>
            </c:dLbl>
            <c:dLbl>
              <c:idx val="50"/>
              <c:tx>
                <c:rich>
                  <a:bodyPr/>
                  <a:lstStyle/>
                  <a:p>
                    <a:fld id="{C5A7D7FA-C8BC-4DAF-B538-5C2441CCB39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1522-4FFF-9E56-9731F6C7602B}"/>
                </c:ext>
              </c:extLst>
            </c:dLbl>
            <c:dLbl>
              <c:idx val="51"/>
              <c:tx>
                <c:rich>
                  <a:bodyPr/>
                  <a:lstStyle/>
                  <a:p>
                    <a:fld id="{71DEE16B-83D6-461E-A6B3-6E802E281F5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1522-4FFF-9E56-9731F6C7602B}"/>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1522-4FFF-9E56-9731F6C7602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1522-4FFF-9E56-9731F6C7602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C$2:$C$53</c:f>
              <c:numCache>
                <c:formatCode>General</c:formatCode>
                <c:ptCount val="52"/>
                <c:pt idx="2" formatCode="0%">
                  <c:v>1</c:v>
                </c:pt>
                <c:pt idx="3" formatCode="0%">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22" formatCode="0%">
                  <c:v>1</c:v>
                </c:pt>
                <c:pt idx="23" formatCode="0%">
                  <c:v>1</c:v>
                </c:pt>
                <c:pt idx="24" formatCode="0%">
                  <c:v>1</c:v>
                </c:pt>
                <c:pt idx="34" formatCode="0%">
                  <c:v>1</c:v>
                </c:pt>
                <c:pt idx="39" formatCode="0%">
                  <c:v>1</c:v>
                </c:pt>
                <c:pt idx="40" formatCode="0%">
                  <c:v>1</c:v>
                </c:pt>
                <c:pt idx="41" formatCode="0%">
                  <c:v>1</c:v>
                </c:pt>
                <c:pt idx="42" formatCode="0%">
                  <c:v>1</c:v>
                </c:pt>
                <c:pt idx="43" formatCode="0%">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B$2:$B$53</c:f>
              <c:numCache>
                <c:formatCode>General</c:formatCode>
                <c:ptCount val="52"/>
                <c:pt idx="2" formatCode="0%">
                  <c:v>0.11367872175570121</c:v>
                </c:pt>
                <c:pt idx="3" formatCode="0%">
                  <c:v>0.12132533378739771</c:v>
                </c:pt>
                <c:pt idx="4" formatCode="0%">
                  <c:v>0.2148614964962611</c:v>
                </c:pt>
                <c:pt idx="5" formatCode="0%">
                  <c:v>0.17336822212530892</c:v>
                </c:pt>
                <c:pt idx="6" formatCode="0%">
                  <c:v>0.16371495760272436</c:v>
                </c:pt>
                <c:pt idx="7" formatCode="0%">
                  <c:v>0.359005905511811</c:v>
                </c:pt>
                <c:pt idx="8" formatCode="0%">
                  <c:v>0.35807339627396623</c:v>
                </c:pt>
                <c:pt idx="9" formatCode="0%">
                  <c:v>0.3262485253637436</c:v>
                </c:pt>
                <c:pt idx="10" formatCode="0%">
                  <c:v>0.18571348293560108</c:v>
                </c:pt>
                <c:pt idx="11" formatCode="0%">
                  <c:v>0.14821256608297467</c:v>
                </c:pt>
                <c:pt idx="12" formatCode="0%">
                  <c:v>0.11874984490930296</c:v>
                </c:pt>
                <c:pt idx="13" formatCode="0%">
                  <c:v>0.26535114062005177</c:v>
                </c:pt>
                <c:pt idx="22" formatCode="0%">
                  <c:v>0.40337942434339991</c:v>
                </c:pt>
                <c:pt idx="23" formatCode="0%">
                  <c:v>0.48057218130862606</c:v>
                </c:pt>
                <c:pt idx="24" formatCode="0%">
                  <c:v>8.1719681066375477E-2</c:v>
                </c:pt>
                <c:pt idx="34" formatCode="0%">
                  <c:v>0.14244945048272512</c:v>
                </c:pt>
                <c:pt idx="41" formatCode="0%">
                  <c:v>0.47272657381187294</c:v>
                </c:pt>
                <c:pt idx="42" formatCode="0%">
                  <c:v>0.62001930605459321</c:v>
                </c:pt>
                <c:pt idx="43" formatCode="0%">
                  <c:v>0.40657862283907709</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D7A9765B-DE49-4D4E-8A9D-AB7FEA428BD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0AF523B0-4572-4C2A-A1ED-CB9F9D516D0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065F0049-10CC-421E-A648-8B77B596977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0F0EF904-E9FC-4020-ACE1-725A8D94D31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F9EFDBD2-B033-4168-B241-5D3B095DA11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524BB025-9335-403E-8E4E-811C79A8DE3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D9D5D3CD-A894-4E40-A39A-9ADCB97684D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284323BA-8B40-423D-9F6A-DE589715585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B6BC485E-9277-4C0A-97A4-EB5B988ACE1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ADF2BA13-8F15-4BE4-812E-56DE3A8C691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77E-4F29-87DF-0FE64D0B037A}"/>
                </c:ext>
              </c:extLst>
            </c:dLbl>
            <c:dLbl>
              <c:idx val="13"/>
              <c:tx>
                <c:rich>
                  <a:bodyPr/>
                  <a:lstStyle/>
                  <a:p>
                    <a:fld id="{2E6152AB-2ECD-4B43-83F5-D703B64D31D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7084A2F0-0709-44FE-95B0-EC8057473AE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9E365054-DF27-4A73-8B69-B1DEB532B83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B77E-4F29-87DF-0FE64D0B037A}"/>
                </c:ext>
              </c:extLst>
            </c:dLbl>
            <c:dLbl>
              <c:idx val="19"/>
              <c:tx>
                <c:rich>
                  <a:bodyPr/>
                  <a:lstStyle/>
                  <a:p>
                    <a:fld id="{77EAB735-9B8C-4433-BF64-5C0AABE8891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C801547D-8F3E-4F92-B1AE-A797059D23F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DB5D6EEF-DC08-4FBE-AE8F-E9A40F43C49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77E-4F29-87DF-0FE64D0B037A}"/>
                </c:ext>
              </c:extLst>
            </c:dLbl>
            <c:dLbl>
              <c:idx val="25"/>
              <c:tx>
                <c:rich>
                  <a:bodyPr/>
                  <a:lstStyle/>
                  <a:p>
                    <a:fld id="{4C12A4B8-C398-4C05-8074-A4D91B54874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5A5182B9-2F65-4F8B-AFC9-9EF039CD47D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7A214BCD-7C6A-46E8-94CE-B6B0B343D17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0EF49A0E-B094-4ECB-B0FE-2142E5797E8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B77E-4F29-87DF-0FE64D0B037A}"/>
                </c:ext>
              </c:extLst>
            </c:dLbl>
            <c:dLbl>
              <c:idx val="31"/>
              <c:tx>
                <c:rich>
                  <a:bodyPr/>
                  <a:lstStyle/>
                  <a:p>
                    <a:fld id="{B571E626-80AE-4395-A8E1-42EEE6FA436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355D6ABB-8783-475E-8BA7-26A6A5674D7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1554D22E-4D7B-4E15-A06D-96B79757E41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17C64132-B4E4-4D11-BDC4-1C664B7BE3A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70C4701A-0DD2-4EF0-AAA8-5075D246B91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3B285548-D805-420B-B7E9-35322EEF7E1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B77E-4F29-87DF-0FE64D0B037A}"/>
                </c:ext>
              </c:extLst>
            </c:dLbl>
            <c:dLbl>
              <c:idx val="43"/>
              <c:tx>
                <c:rich>
                  <a:bodyPr/>
                  <a:lstStyle/>
                  <a:p>
                    <a:fld id="{0421CDA7-39EA-41A7-B93B-BF95A0BD821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FE342A75-90E8-4271-8034-AA917B6340D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2258AB6E-06E2-4758-8C86-0959E535528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B77E-4F29-87DF-0FE64D0B037A}"/>
                </c:ext>
              </c:extLst>
            </c:dLbl>
            <c:dLbl>
              <c:idx val="49"/>
              <c:tx>
                <c:rich>
                  <a:bodyPr/>
                  <a:lstStyle/>
                  <a:p>
                    <a:fld id="{94ECE41C-7611-4E15-A23D-B5764D7DF5D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C49B5225-8098-4560-89E4-46C22CDDD1A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20F2B817-E422-4503-883B-D73B3FB0D7E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53849719672747E-4"/>
          <c:y val="6.0063696518519595E-2"/>
          <c:w val="0.95453953634144284"/>
          <c:h val="0.88878250476834464"/>
        </c:manualLayout>
      </c:layout>
      <c:barChart>
        <c:barDir val="col"/>
        <c:grouping val="percentStacked"/>
        <c:varyColors val="0"/>
        <c:ser>
          <c:idx val="1"/>
          <c:order val="1"/>
          <c:tx>
            <c:strRef>
              <c:f>Sheet1!$C$1</c:f>
              <c:strCache>
                <c:ptCount val="1"/>
                <c:pt idx="0">
                  <c:v>bar</c:v>
                </c:pt>
              </c:strCache>
            </c:strRef>
          </c:tx>
          <c:spPr>
            <a:solidFill>
              <a:schemeClr val="bg2"/>
            </a:solidFill>
            <a:ln>
              <a:noFill/>
            </a:ln>
            <a:effectLst/>
          </c:spPr>
          <c:invertIfNegative val="0"/>
          <c:dLbls>
            <c:dLbl>
              <c:idx val="0"/>
              <c:tx>
                <c:rich>
                  <a:bodyPr/>
                  <a:lstStyle/>
                  <a:p>
                    <a:fld id="{84927331-8210-419D-B37C-55469C7E3F7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6F3F-4891-A588-66FCA4279EF0}"/>
                </c:ext>
              </c:extLst>
            </c:dLbl>
            <c:dLbl>
              <c:idx val="1"/>
              <c:tx>
                <c:rich>
                  <a:bodyPr/>
                  <a:lstStyle/>
                  <a:p>
                    <a:fld id="{567601DF-A6F6-4104-A9CB-0D6666FDDCF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6F3F-4891-A588-66FCA4279EF0}"/>
                </c:ext>
              </c:extLst>
            </c:dLbl>
            <c:dLbl>
              <c:idx val="2"/>
              <c:delete val="1"/>
              <c:extLst>
                <c:ext xmlns:c15="http://schemas.microsoft.com/office/drawing/2012/chart" uri="{CE6537A1-D6FC-4f65-9D91-7224C49458BB}"/>
                <c:ext xmlns:c16="http://schemas.microsoft.com/office/drawing/2014/chart" uri="{C3380CC4-5D6E-409C-BE32-E72D297353CC}">
                  <c16:uniqueId val="{00000002-6F3F-4891-A588-66FCA4279EF0}"/>
                </c:ext>
              </c:extLst>
            </c:dLbl>
            <c:dLbl>
              <c:idx val="3"/>
              <c:tx>
                <c:rich>
                  <a:bodyPr/>
                  <a:lstStyle/>
                  <a:p>
                    <a:fld id="{3E01655D-CA1A-41B0-A2CB-B0F401E8B56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6F3F-4891-A588-66FCA4279EF0}"/>
                </c:ext>
              </c:extLst>
            </c:dLbl>
            <c:dLbl>
              <c:idx val="4"/>
              <c:tx>
                <c:rich>
                  <a:bodyPr/>
                  <a:lstStyle/>
                  <a:p>
                    <a:fld id="{D3EFFF15-4224-4A8D-A14F-A3D72057CD7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6F3F-4891-A588-66FCA4279EF0}"/>
                </c:ext>
              </c:extLst>
            </c:dLbl>
            <c:dLbl>
              <c:idx val="5"/>
              <c:tx>
                <c:rich>
                  <a:bodyPr/>
                  <a:lstStyle/>
                  <a:p>
                    <a:fld id="{9984D549-1852-4661-A864-A324BB9C756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6F3F-4891-A588-66FCA4279EF0}"/>
                </c:ext>
              </c:extLst>
            </c:dLbl>
            <c:dLbl>
              <c:idx val="6"/>
              <c:tx>
                <c:rich>
                  <a:bodyPr/>
                  <a:lstStyle/>
                  <a:p>
                    <a:fld id="{28554722-CA6A-4059-AD6E-0695586E02F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6F3F-4891-A588-66FCA4279EF0}"/>
                </c:ext>
              </c:extLst>
            </c:dLbl>
            <c:dLbl>
              <c:idx val="7"/>
              <c:tx>
                <c:rich>
                  <a:bodyPr/>
                  <a:lstStyle/>
                  <a:p>
                    <a:fld id="{11A69635-6B02-4730-A540-EB644DF9B9E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6F3F-4891-A588-66FCA4279EF0}"/>
                </c:ext>
              </c:extLst>
            </c:dLbl>
            <c:dLbl>
              <c:idx val="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6F3F-4891-A588-66FCA4279EF0}"/>
                </c:ext>
              </c:extLst>
            </c:dLbl>
            <c:dLbl>
              <c:idx val="9"/>
              <c:tx>
                <c:rich>
                  <a:bodyPr/>
                  <a:lstStyle/>
                  <a:p>
                    <a:fld id="{9284BABB-F280-4851-A87F-82FA6C43A93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6F3F-4891-A588-66FCA4279EF0}"/>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6F3F-4891-A588-66FCA4279EF0}"/>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6F3F-4891-A588-66FCA4279EF0}"/>
                </c:ext>
              </c:extLst>
            </c:dLbl>
            <c:dLbl>
              <c:idx val="12"/>
              <c:tx>
                <c:rich>
                  <a:bodyPr/>
                  <a:lstStyle/>
                  <a:p>
                    <a:fld id="{FAD833F8-25F5-4A63-AE33-E8519037EBB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6F3F-4891-A588-66FCA4279EF0}"/>
                </c:ext>
              </c:extLst>
            </c:dLbl>
            <c:dLbl>
              <c:idx val="13"/>
              <c:tx>
                <c:rich>
                  <a:bodyPr/>
                  <a:lstStyle/>
                  <a:p>
                    <a:fld id="{CDC413DC-F289-4CB3-9036-CBA4D5D4F37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6F3F-4891-A588-66FCA4279EF0}"/>
                </c:ext>
              </c:extLst>
            </c:dLbl>
            <c:dLbl>
              <c:idx val="1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6F3F-4891-A588-66FCA4279EF0}"/>
                </c:ext>
              </c:extLst>
            </c:dLbl>
            <c:dLbl>
              <c:idx val="15"/>
              <c:tx>
                <c:rich>
                  <a:bodyPr/>
                  <a:lstStyle/>
                  <a:p>
                    <a:fld id="{DB80B546-DA67-47D9-9A9D-722F1C120F0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6F3F-4891-A588-66FCA4279EF0}"/>
                </c:ext>
              </c:extLst>
            </c:dLbl>
            <c:dLbl>
              <c:idx val="16"/>
              <c:tx>
                <c:rich>
                  <a:bodyPr/>
                  <a:lstStyle/>
                  <a:p>
                    <a:fld id="{BF59B6B2-D09D-4D86-8356-55B30AAB540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6F3F-4891-A588-66FCA4279EF0}"/>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6F3F-4891-A588-66FCA4279EF0}"/>
                </c:ext>
              </c:extLst>
            </c:dLbl>
            <c:dLbl>
              <c:idx val="18"/>
              <c:tx>
                <c:rich>
                  <a:bodyPr/>
                  <a:lstStyle/>
                  <a:p>
                    <a:fld id="{0A4C2DD7-3F52-401A-BABB-0944F1D833A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6F3F-4891-A588-66FCA4279EF0}"/>
                </c:ext>
              </c:extLst>
            </c:dLbl>
            <c:dLbl>
              <c:idx val="19"/>
              <c:tx>
                <c:rich>
                  <a:bodyPr/>
                  <a:lstStyle/>
                  <a:p>
                    <a:fld id="{E470DFCC-CC5C-4720-8B11-F45AD8DB91C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6F3F-4891-A588-66FCA4279EF0}"/>
                </c:ext>
              </c:extLst>
            </c:dLbl>
            <c:dLbl>
              <c:idx val="20"/>
              <c:tx>
                <c:rich>
                  <a:bodyPr/>
                  <a:lstStyle/>
                  <a:p>
                    <a:fld id="{1BE784EC-9727-40E5-8630-433C5DE547F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6F3F-4891-A588-66FCA4279EF0}"/>
                </c:ext>
              </c:extLst>
            </c:dLbl>
            <c:dLbl>
              <c:idx val="21"/>
              <c:tx>
                <c:rich>
                  <a:bodyPr/>
                  <a:lstStyle/>
                  <a:p>
                    <a:fld id="{FDCC3B69-0633-4830-A6BD-E14FC8498CD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6F3F-4891-A588-66FCA4279EF0}"/>
                </c:ext>
              </c:extLst>
            </c:dLbl>
            <c:dLbl>
              <c:idx val="22"/>
              <c:tx>
                <c:rich>
                  <a:bodyPr/>
                  <a:lstStyle/>
                  <a:p>
                    <a:fld id="{FFCA29EC-CD41-49C0-8D20-C1CF42EB0E1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6F3F-4891-A588-66FCA4279EF0}"/>
                </c:ext>
              </c:extLst>
            </c:dLbl>
            <c:dLbl>
              <c:idx val="23"/>
              <c:tx>
                <c:rich>
                  <a:bodyPr/>
                  <a:lstStyle/>
                  <a:p>
                    <a:fld id="{29A23ABB-DAED-4E55-A374-CC40EC98537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6F3F-4891-A588-66FCA4279EF0}"/>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6F3F-4891-A588-66FCA4279EF0}"/>
                </c:ext>
              </c:extLst>
            </c:dLbl>
            <c:dLbl>
              <c:idx val="2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6F3F-4891-A588-66FCA4279EF0}"/>
                </c:ext>
              </c:extLst>
            </c:dLbl>
            <c:dLbl>
              <c:idx val="26"/>
              <c:tx>
                <c:rich>
                  <a:bodyPr/>
                  <a:lstStyle/>
                  <a:p>
                    <a:fld id="{A24B552A-F382-47CC-AC87-2E0BD2B5556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6F3F-4891-A588-66FCA4279EF0}"/>
                </c:ext>
              </c:extLst>
            </c:dLbl>
            <c:dLbl>
              <c:idx val="2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6F3F-4891-A588-66FCA4279EF0}"/>
                </c:ext>
              </c:extLst>
            </c:dLbl>
            <c:dLbl>
              <c:idx val="2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6F3F-4891-A588-66FCA4279EF0}"/>
                </c:ext>
              </c:extLst>
            </c:dLbl>
            <c:dLbl>
              <c:idx val="29"/>
              <c:tx>
                <c:rich>
                  <a:bodyPr/>
                  <a:lstStyle/>
                  <a:p>
                    <a:fld id="{BA35FEFB-3667-4165-BAA5-852A11D0C48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6F3F-4891-A588-66FCA4279EF0}"/>
                </c:ext>
              </c:extLst>
            </c:dLbl>
            <c:dLbl>
              <c:idx val="30"/>
              <c:tx>
                <c:rich>
                  <a:bodyPr/>
                  <a:lstStyle/>
                  <a:p>
                    <a:fld id="{FE3F6E5A-D4DC-477E-B994-EAFA60D8CE7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6F3F-4891-A588-66FCA4279EF0}"/>
                </c:ext>
              </c:extLst>
            </c:dLbl>
            <c:dLbl>
              <c:idx val="3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6F3F-4891-A588-66FCA4279EF0}"/>
                </c:ext>
              </c:extLst>
            </c:dLbl>
            <c:dLbl>
              <c:idx val="3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6F3F-4891-A588-66FCA4279EF0}"/>
                </c:ext>
              </c:extLst>
            </c:dLbl>
            <c:dLbl>
              <c:idx val="33"/>
              <c:tx>
                <c:rich>
                  <a:bodyPr/>
                  <a:lstStyle/>
                  <a:p>
                    <a:fld id="{F91EACEE-2958-49C8-AEF9-0D0AC5EF9AA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6F3F-4891-A588-66FCA4279EF0}"/>
                </c:ext>
              </c:extLst>
            </c:dLbl>
            <c:dLbl>
              <c:idx val="34"/>
              <c:tx>
                <c:rich>
                  <a:bodyPr/>
                  <a:lstStyle/>
                  <a:p>
                    <a:fld id="{F0C21F90-E208-46DE-BC86-BF220D2EE94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6F3F-4891-A588-66FCA4279EF0}"/>
                </c:ext>
              </c:extLst>
            </c:dLbl>
            <c:dLbl>
              <c:idx val="35"/>
              <c:tx>
                <c:rich>
                  <a:bodyPr/>
                  <a:lstStyle/>
                  <a:p>
                    <a:fld id="{155E48BA-F2DB-4CE3-A8C2-7785F5EE71D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6F3F-4891-A588-66FCA4279EF0}"/>
                </c:ext>
              </c:extLst>
            </c:dLbl>
            <c:dLbl>
              <c:idx val="36"/>
              <c:tx>
                <c:rich>
                  <a:bodyPr/>
                  <a:lstStyle/>
                  <a:p>
                    <a:fld id="{C684EECF-149C-48A0-8E41-EE3BA78620F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6F3F-4891-A588-66FCA4279EF0}"/>
                </c:ext>
              </c:extLst>
            </c:dLbl>
            <c:dLbl>
              <c:idx val="3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6F3F-4891-A588-66FCA4279EF0}"/>
                </c:ext>
              </c:extLst>
            </c:dLbl>
            <c:dLbl>
              <c:idx val="38"/>
              <c:tx>
                <c:rich>
                  <a:bodyPr/>
                  <a:lstStyle/>
                  <a:p>
                    <a:fld id="{1B260312-D83B-4ACB-935C-A93BCD2A7B8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6F3F-4891-A588-66FCA4279EF0}"/>
                </c:ext>
              </c:extLst>
            </c:dLbl>
            <c:dLbl>
              <c:idx val="3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7-6F3F-4891-A588-66FCA4279EF0}"/>
                </c:ext>
              </c:extLst>
            </c:dLbl>
            <c:dLbl>
              <c:idx val="40"/>
              <c:tx>
                <c:rich>
                  <a:bodyPr/>
                  <a:lstStyle/>
                  <a:p>
                    <a:fld id="{9275B400-20F0-4EAA-A442-E04A14E4648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6F3F-4891-A588-66FCA4279EF0}"/>
                </c:ext>
              </c:extLst>
            </c:dLbl>
            <c:dLbl>
              <c:idx val="41"/>
              <c:tx>
                <c:rich>
                  <a:bodyPr/>
                  <a:lstStyle/>
                  <a:p>
                    <a:fld id="{52BDC1DA-65BF-4E97-9B0F-ECF9D614679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6F3F-4891-A588-66FCA4279EF0}"/>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6F3F-4891-A588-66FCA4279EF0}"/>
                </c:ext>
              </c:extLst>
            </c:dLbl>
            <c:dLbl>
              <c:idx val="4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B-6F3F-4891-A588-66FCA4279EF0}"/>
                </c:ext>
              </c:extLst>
            </c:dLbl>
            <c:dLbl>
              <c:idx val="44"/>
              <c:tx>
                <c:rich>
                  <a:bodyPr/>
                  <a:lstStyle/>
                  <a:p>
                    <a:fld id="{24DB7049-20BB-498C-B342-F086B1F53F1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6F3F-4891-A588-66FCA4279EF0}"/>
                </c:ext>
              </c:extLst>
            </c:dLbl>
            <c:dLbl>
              <c:idx val="45"/>
              <c:tx>
                <c:rich>
                  <a:bodyPr/>
                  <a:lstStyle/>
                  <a:p>
                    <a:fld id="{7EDC5F2D-64A2-4B6E-A916-371C43E30F8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6F3F-4891-A588-66FCA4279EF0}"/>
                </c:ext>
              </c:extLst>
            </c:dLbl>
            <c:dLbl>
              <c:idx val="46"/>
              <c:tx>
                <c:rich>
                  <a:bodyPr/>
                  <a:lstStyle/>
                  <a:p>
                    <a:fld id="{9B651D76-5E1D-40F7-8A19-9DB1B366D4B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6F3F-4891-A588-66FCA4279EF0}"/>
                </c:ext>
              </c:extLst>
            </c:dLbl>
            <c:dLbl>
              <c:idx val="47"/>
              <c:tx>
                <c:rich>
                  <a:bodyPr/>
                  <a:lstStyle/>
                  <a:p>
                    <a:fld id="{463C011F-0DF4-4268-85A1-AB2E69A8B66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6F3F-4891-A588-66FCA4279EF0}"/>
                </c:ext>
              </c:extLst>
            </c:dLbl>
            <c:dLbl>
              <c:idx val="48"/>
              <c:tx>
                <c:rich>
                  <a:bodyPr/>
                  <a:lstStyle/>
                  <a:p>
                    <a:fld id="{3E0968FC-0268-40AA-808A-F2F207EE188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6F3F-4891-A588-66FCA4279EF0}"/>
                </c:ext>
              </c:extLst>
            </c:dLbl>
            <c:dLbl>
              <c:idx val="4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1-6F3F-4891-A588-66FCA4279EF0}"/>
                </c:ext>
              </c:extLst>
            </c:dLbl>
            <c:dLbl>
              <c:idx val="5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2-6F3F-4891-A588-66FCA4279EF0}"/>
                </c:ext>
              </c:extLst>
            </c:dLbl>
            <c:dLbl>
              <c:idx val="51"/>
              <c:tx>
                <c:rich>
                  <a:bodyPr/>
                  <a:lstStyle/>
                  <a:p>
                    <a:fld id="{63004D5C-3364-4224-9AB1-C3C93D6D5C1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6F3F-4891-A588-66FCA4279EF0}"/>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C$2:$C$53</c:f>
              <c:numCache>
                <c:formatCode>0%</c:formatCode>
                <c:ptCount val="52"/>
                <c:pt idx="0">
                  <c:v>1</c:v>
                </c:pt>
                <c:pt idx="1">
                  <c:v>1</c:v>
                </c:pt>
                <c:pt idx="2">
                  <c:v>1</c:v>
                </c:pt>
                <c:pt idx="3">
                  <c:v>1</c:v>
                </c:pt>
                <c:pt idx="4">
                  <c:v>1</c:v>
                </c:pt>
                <c:pt idx="5">
                  <c:v>1</c:v>
                </c:pt>
                <c:pt idx="6">
                  <c:v>1</c:v>
                </c:pt>
                <c:pt idx="7">
                  <c:v>1</c:v>
                </c:pt>
                <c:pt idx="8">
                  <c:v>#N/A</c:v>
                </c:pt>
                <c:pt idx="9">
                  <c:v>1</c:v>
                </c:pt>
                <c:pt idx="10">
                  <c:v>#N/A</c:v>
                </c:pt>
                <c:pt idx="11">
                  <c:v>#N/A</c:v>
                </c:pt>
                <c:pt idx="12">
                  <c:v>1</c:v>
                </c:pt>
                <c:pt idx="13">
                  <c:v>1</c:v>
                </c:pt>
                <c:pt idx="14">
                  <c:v>#N/A</c:v>
                </c:pt>
                <c:pt idx="15">
                  <c:v>1</c:v>
                </c:pt>
                <c:pt idx="16">
                  <c:v>1</c:v>
                </c:pt>
                <c:pt idx="17">
                  <c:v>#N/A</c:v>
                </c:pt>
                <c:pt idx="18">
                  <c:v>1</c:v>
                </c:pt>
                <c:pt idx="19">
                  <c:v>1</c:v>
                </c:pt>
                <c:pt idx="20">
                  <c:v>1</c:v>
                </c:pt>
                <c:pt idx="21">
                  <c:v>1</c:v>
                </c:pt>
                <c:pt idx="22">
                  <c:v>1</c:v>
                </c:pt>
                <c:pt idx="23">
                  <c:v>1</c:v>
                </c:pt>
                <c:pt idx="24">
                  <c:v>#N/A</c:v>
                </c:pt>
                <c:pt idx="25">
                  <c:v>#N/A</c:v>
                </c:pt>
                <c:pt idx="26">
                  <c:v>1</c:v>
                </c:pt>
                <c:pt idx="27">
                  <c:v>#N/A</c:v>
                </c:pt>
                <c:pt idx="28">
                  <c:v>#N/A</c:v>
                </c:pt>
                <c:pt idx="29">
                  <c:v>1</c:v>
                </c:pt>
                <c:pt idx="30">
                  <c:v>1</c:v>
                </c:pt>
                <c:pt idx="31">
                  <c:v>#N/A</c:v>
                </c:pt>
                <c:pt idx="32">
                  <c:v>#N/A</c:v>
                </c:pt>
                <c:pt idx="33">
                  <c:v>1</c:v>
                </c:pt>
                <c:pt idx="34">
                  <c:v>1</c:v>
                </c:pt>
                <c:pt idx="35">
                  <c:v>1</c:v>
                </c:pt>
                <c:pt idx="36">
                  <c:v>1</c:v>
                </c:pt>
                <c:pt idx="37">
                  <c:v>#N/A</c:v>
                </c:pt>
                <c:pt idx="38">
                  <c:v>1</c:v>
                </c:pt>
                <c:pt idx="39">
                  <c:v>#N/A</c:v>
                </c:pt>
                <c:pt idx="40">
                  <c:v>1</c:v>
                </c:pt>
                <c:pt idx="41">
                  <c:v>1</c:v>
                </c:pt>
                <c:pt idx="42">
                  <c:v>#N/A</c:v>
                </c:pt>
                <c:pt idx="43">
                  <c:v>#N/A</c:v>
                </c:pt>
                <c:pt idx="44">
                  <c:v>1</c:v>
                </c:pt>
                <c:pt idx="45">
                  <c:v>1</c:v>
                </c:pt>
                <c:pt idx="46">
                  <c:v>1</c:v>
                </c:pt>
                <c:pt idx="47">
                  <c:v>1</c:v>
                </c:pt>
                <c:pt idx="48">
                  <c:v>1</c:v>
                </c:pt>
                <c:pt idx="49">
                  <c:v>#N/A</c:v>
                </c:pt>
                <c:pt idx="50">
                  <c:v>#N/A</c:v>
                </c:pt>
                <c:pt idx="51">
                  <c:v>1</c:v>
                </c:pt>
              </c:numCache>
            </c:numRef>
          </c:val>
          <c:extLst>
            <c:ext xmlns:c15="http://schemas.microsoft.com/office/drawing/2012/chart" uri="{02D57815-91ED-43cb-92C2-25804820EDAC}">
              <c15:datalabelsRange>
                <c15:f>Sheet1!$G$2:$G$53</c15:f>
                <c15:dlblRangeCache>
                  <c:ptCount val="52"/>
                  <c:pt idx="2">
                    <c:v>244%</c:v>
                  </c:pt>
                  <c:pt idx="45">
                    <c:v>209%</c:v>
                  </c:pt>
                </c15:dlblRangeCache>
              </c15:datalabelsRange>
            </c:ext>
            <c:ext xmlns:c16="http://schemas.microsoft.com/office/drawing/2014/chart" uri="{C3380CC4-5D6E-409C-BE32-E72D297353CC}">
              <c16:uniqueId val="{00000034-6F3F-4891-A588-66FCA4279EF0}"/>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bubble</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B$2:$B$53</c:f>
              <c:numCache>
                <c:formatCode>0%</c:formatCode>
                <c:ptCount val="52"/>
                <c:pt idx="0">
                  <c:v>0.83149283462587276</c:v>
                </c:pt>
                <c:pt idx="1">
                  <c:v>1.6315180743925193</c:v>
                </c:pt>
                <c:pt idx="2">
                  <c:v>2.4439356076015577</c:v>
                </c:pt>
                <c:pt idx="3">
                  <c:v>0.77292587642644184</c:v>
                </c:pt>
                <c:pt idx="4">
                  <c:v>0.74765866355299326</c:v>
                </c:pt>
                <c:pt idx="5">
                  <c:v>0.98081754103558449</c:v>
                </c:pt>
                <c:pt idx="6">
                  <c:v>0.70833026532165033</c:v>
                </c:pt>
                <c:pt idx="7">
                  <c:v>0.84407908755481287</c:v>
                </c:pt>
                <c:pt idx="8">
                  <c:v>#N/A</c:v>
                </c:pt>
                <c:pt idx="9">
                  <c:v>#N/A</c:v>
                </c:pt>
                <c:pt idx="10">
                  <c:v>#N/A</c:v>
                </c:pt>
                <c:pt idx="11">
                  <c:v>#N/A</c:v>
                </c:pt>
                <c:pt idx="12">
                  <c:v>#N/A</c:v>
                </c:pt>
                <c:pt idx="13">
                  <c:v>#N/A</c:v>
                </c:pt>
                <c:pt idx="14">
                  <c:v>#N/A</c:v>
                </c:pt>
                <c:pt idx="15">
                  <c:v>0.8725708042279976</c:v>
                </c:pt>
                <c:pt idx="16">
                  <c:v>0.4577243728236281</c:v>
                </c:pt>
                <c:pt idx="17">
                  <c:v>#N/A</c:v>
                </c:pt>
                <c:pt idx="18">
                  <c:v>0.15218560397131825</c:v>
                </c:pt>
                <c:pt idx="19">
                  <c:v>0.3636835009851706</c:v>
                </c:pt>
                <c:pt idx="20">
                  <c:v>0.23195425066291811</c:v>
                </c:pt>
                <c:pt idx="21">
                  <c:v>0.85483845584879525</c:v>
                </c:pt>
                <c:pt idx="22">
                  <c:v>0.3003459533206646</c:v>
                </c:pt>
                <c:pt idx="23">
                  <c:v>0.33698879958684352</c:v>
                </c:pt>
                <c:pt idx="24">
                  <c:v>#N/A</c:v>
                </c:pt>
                <c:pt idx="25">
                  <c:v>#N/A</c:v>
                </c:pt>
                <c:pt idx="26">
                  <c:v>0.47679126329628302</c:v>
                </c:pt>
                <c:pt idx="27">
                  <c:v>#N/A</c:v>
                </c:pt>
                <c:pt idx="28">
                  <c:v>#N/A</c:v>
                </c:pt>
                <c:pt idx="29">
                  <c:v>0.86927040954705725</c:v>
                </c:pt>
                <c:pt idx="30">
                  <c:v>7.1587946883100939E-2</c:v>
                </c:pt>
                <c:pt idx="31">
                  <c:v>#N/A</c:v>
                </c:pt>
                <c:pt idx="32">
                  <c:v>#N/A</c:v>
                </c:pt>
                <c:pt idx="33">
                  <c:v>0.91374133318774908</c:v>
                </c:pt>
                <c:pt idx="34">
                  <c:v>#N/A</c:v>
                </c:pt>
                <c:pt idx="35">
                  <c:v>#N/A</c:v>
                </c:pt>
                <c:pt idx="36">
                  <c:v>#N/A</c:v>
                </c:pt>
                <c:pt idx="37">
                  <c:v>#N/A</c:v>
                </c:pt>
                <c:pt idx="38">
                  <c:v>0.2039582880232598</c:v>
                </c:pt>
                <c:pt idx="39">
                  <c:v>#N/A</c:v>
                </c:pt>
                <c:pt idx="40">
                  <c:v>0.81834423418520841</c:v>
                </c:pt>
                <c:pt idx="41">
                  <c:v>0.24170478834974729</c:v>
                </c:pt>
                <c:pt idx="42">
                  <c:v>#N/A</c:v>
                </c:pt>
                <c:pt idx="43">
                  <c:v>#N/A</c:v>
                </c:pt>
                <c:pt idx="44">
                  <c:v>0.54761466764778022</c:v>
                </c:pt>
                <c:pt idx="45">
                  <c:v>2.0907701528318849</c:v>
                </c:pt>
                <c:pt idx="46">
                  <c:v>0.32255425519827291</c:v>
                </c:pt>
                <c:pt idx="47">
                  <c:v>0.60169518129022137</c:v>
                </c:pt>
                <c:pt idx="48">
                  <c:v>#N/A</c:v>
                </c:pt>
                <c:pt idx="49">
                  <c:v>#N/A</c:v>
                </c:pt>
                <c:pt idx="50">
                  <c:v>#N/A</c:v>
                </c:pt>
                <c:pt idx="51">
                  <c:v>0.47447486087432045</c:v>
                </c:pt>
              </c:numCache>
            </c:numRef>
          </c:val>
          <c:smooth val="0"/>
          <c:extLst>
            <c:ext xmlns:c16="http://schemas.microsoft.com/office/drawing/2014/chart" uri="{C3380CC4-5D6E-409C-BE32-E72D297353CC}">
              <c16:uniqueId val="{00000035-6F3F-4891-A588-66FCA4279EF0}"/>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N/A</c:v>
                </c:pt>
                <c:pt idx="1">
                  <c:v>#N/A</c:v>
                </c:pt>
                <c:pt idx="2">
                  <c:v>1</c:v>
                </c:pt>
                <c:pt idx="3">
                  <c:v>1</c:v>
                </c:pt>
                <c:pt idx="4">
                  <c:v>1</c:v>
                </c:pt>
                <c:pt idx="5">
                  <c:v>1</c:v>
                </c:pt>
                <c:pt idx="6">
                  <c:v>1</c:v>
                </c:pt>
                <c:pt idx="7">
                  <c:v>1</c:v>
                </c:pt>
                <c:pt idx="8">
                  <c:v>1</c:v>
                </c:pt>
                <c:pt idx="9">
                  <c:v>1</c:v>
                </c:pt>
                <c:pt idx="10">
                  <c:v>1</c:v>
                </c:pt>
                <c:pt idx="11">
                  <c:v>1</c:v>
                </c:pt>
                <c:pt idx="12">
                  <c:v>1</c:v>
                </c:pt>
                <c:pt idx="13">
                  <c:v>1</c:v>
                </c:pt>
                <c:pt idx="14">
                  <c:v>1</c:v>
                </c:pt>
                <c:pt idx="15">
                  <c:v>#N/A</c:v>
                </c:pt>
                <c:pt idx="16">
                  <c:v>#N/A</c:v>
                </c:pt>
                <c:pt idx="17">
                  <c:v>#N/A</c:v>
                </c:pt>
                <c:pt idx="18">
                  <c:v>#N/A</c:v>
                </c:pt>
                <c:pt idx="19">
                  <c:v>#N/A</c:v>
                </c:pt>
                <c:pt idx="20">
                  <c:v>#N/A</c:v>
                </c:pt>
                <c:pt idx="21">
                  <c:v>#N/A</c:v>
                </c:pt>
                <c:pt idx="22">
                  <c:v>1</c:v>
                </c:pt>
                <c:pt idx="23">
                  <c:v>1</c:v>
                </c:pt>
                <c:pt idx="24">
                  <c:v>1</c:v>
                </c:pt>
                <c:pt idx="25">
                  <c:v>#N/A</c:v>
                </c:pt>
                <c:pt idx="26">
                  <c:v>#N/A</c:v>
                </c:pt>
                <c:pt idx="27">
                  <c:v>#N/A</c:v>
                </c:pt>
                <c:pt idx="28">
                  <c:v>#N/A</c:v>
                </c:pt>
                <c:pt idx="29">
                  <c:v>#N/A</c:v>
                </c:pt>
                <c:pt idx="30">
                  <c:v>#N/A</c:v>
                </c:pt>
                <c:pt idx="31">
                  <c:v>#N/A</c:v>
                </c:pt>
                <c:pt idx="32">
                  <c:v>#N/A</c:v>
                </c:pt>
                <c:pt idx="33">
                  <c:v>#N/A</c:v>
                </c:pt>
                <c:pt idx="34">
                  <c:v>1</c:v>
                </c:pt>
                <c:pt idx="35">
                  <c:v>#N/A</c:v>
                </c:pt>
                <c:pt idx="36">
                  <c:v>#N/A</c:v>
                </c:pt>
                <c:pt idx="37">
                  <c:v>#N/A</c:v>
                </c:pt>
                <c:pt idx="38">
                  <c:v>#N/A</c:v>
                </c:pt>
                <c:pt idx="39">
                  <c:v>1</c:v>
                </c:pt>
                <c:pt idx="40">
                  <c:v>1</c:v>
                </c:pt>
                <c:pt idx="41">
                  <c:v>1</c:v>
                </c:pt>
                <c:pt idx="42">
                  <c:v>1</c:v>
                </c:pt>
                <c:pt idx="43">
                  <c:v>1</c:v>
                </c:pt>
                <c:pt idx="44">
                  <c:v>#N/A</c:v>
                </c:pt>
                <c:pt idx="45">
                  <c:v>#N/A</c:v>
                </c:pt>
                <c:pt idx="46">
                  <c:v>#N/A</c:v>
                </c:pt>
                <c:pt idx="47">
                  <c:v>#N/A</c:v>
                </c:pt>
                <c:pt idx="48">
                  <c:v>#N/A</c:v>
                </c:pt>
                <c:pt idx="49">
                  <c:v>#N/A</c:v>
                </c:pt>
                <c:pt idx="50">
                  <c:v>#N/A</c:v>
                </c:pt>
                <c:pt idx="51">
                  <c:v>#N/A</c:v>
                </c:pt>
              </c:numCache>
            </c:numRef>
          </c:val>
          <c:extLst>
            <c:ext xmlns:c16="http://schemas.microsoft.com/office/drawing/2014/chart" uri="{C3380CC4-5D6E-409C-BE32-E72D297353CC}">
              <c16:uniqueId val="{00000000-3553-47F7-9D8D-B7ECA91FF30F}"/>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N/A</c:v>
                </c:pt>
                <c:pt idx="1">
                  <c:v>#N/A</c:v>
                </c:pt>
                <c:pt idx="2">
                  <c:v>0.11367872175570121</c:v>
                </c:pt>
                <c:pt idx="3">
                  <c:v>0.12132533378739771</c:v>
                </c:pt>
                <c:pt idx="4">
                  <c:v>0.2148614964962611</c:v>
                </c:pt>
                <c:pt idx="5">
                  <c:v>0.17336822212530892</c:v>
                </c:pt>
                <c:pt idx="6">
                  <c:v>0.16371495760272436</c:v>
                </c:pt>
                <c:pt idx="7">
                  <c:v>0.359005905511811</c:v>
                </c:pt>
                <c:pt idx="8">
                  <c:v>0.35807339627396623</c:v>
                </c:pt>
                <c:pt idx="9">
                  <c:v>0.3262485253637436</c:v>
                </c:pt>
                <c:pt idx="10">
                  <c:v>0.18571348293560108</c:v>
                </c:pt>
                <c:pt idx="11">
                  <c:v>0.14821256608297467</c:v>
                </c:pt>
                <c:pt idx="12">
                  <c:v>0.11874984490930296</c:v>
                </c:pt>
                <c:pt idx="13">
                  <c:v>0.26535114062005177</c:v>
                </c:pt>
                <c:pt idx="14">
                  <c:v>#N/A</c:v>
                </c:pt>
                <c:pt idx="15">
                  <c:v>#N/A</c:v>
                </c:pt>
                <c:pt idx="16">
                  <c:v>#N/A</c:v>
                </c:pt>
                <c:pt idx="17">
                  <c:v>#N/A</c:v>
                </c:pt>
                <c:pt idx="18">
                  <c:v>#N/A</c:v>
                </c:pt>
                <c:pt idx="19">
                  <c:v>#N/A</c:v>
                </c:pt>
                <c:pt idx="20">
                  <c:v>#N/A</c:v>
                </c:pt>
                <c:pt idx="21">
                  <c:v>#N/A</c:v>
                </c:pt>
                <c:pt idx="22">
                  <c:v>0.40337942434339991</c:v>
                </c:pt>
                <c:pt idx="23">
                  <c:v>0.48057218130862606</c:v>
                </c:pt>
                <c:pt idx="24">
                  <c:v>8.1719681066375477E-2</c:v>
                </c:pt>
                <c:pt idx="25">
                  <c:v>#N/A</c:v>
                </c:pt>
                <c:pt idx="26">
                  <c:v>#N/A</c:v>
                </c:pt>
                <c:pt idx="27">
                  <c:v>#N/A</c:v>
                </c:pt>
                <c:pt idx="28">
                  <c:v>#N/A</c:v>
                </c:pt>
                <c:pt idx="29">
                  <c:v>#N/A</c:v>
                </c:pt>
                <c:pt idx="30">
                  <c:v>#N/A</c:v>
                </c:pt>
                <c:pt idx="31">
                  <c:v>#N/A</c:v>
                </c:pt>
                <c:pt idx="32">
                  <c:v>#N/A</c:v>
                </c:pt>
                <c:pt idx="33">
                  <c:v>#N/A</c:v>
                </c:pt>
                <c:pt idx="34">
                  <c:v>0.14244945048272512</c:v>
                </c:pt>
                <c:pt idx="35">
                  <c:v>#N/A</c:v>
                </c:pt>
                <c:pt idx="36">
                  <c:v>#N/A</c:v>
                </c:pt>
                <c:pt idx="37">
                  <c:v>#N/A</c:v>
                </c:pt>
                <c:pt idx="38">
                  <c:v>#N/A</c:v>
                </c:pt>
                <c:pt idx="39">
                  <c:v>#N/A</c:v>
                </c:pt>
                <c:pt idx="40">
                  <c:v>#N/A</c:v>
                </c:pt>
                <c:pt idx="41">
                  <c:v>0.47272657381187294</c:v>
                </c:pt>
                <c:pt idx="42">
                  <c:v>0.62001930605459321</c:v>
                </c:pt>
                <c:pt idx="43">
                  <c:v>0.40657862283907709</c:v>
                </c:pt>
                <c:pt idx="44">
                  <c:v>#N/A</c:v>
                </c:pt>
                <c:pt idx="45">
                  <c:v>#N/A</c:v>
                </c:pt>
                <c:pt idx="46">
                  <c:v>#N/A</c:v>
                </c:pt>
                <c:pt idx="47">
                  <c:v>#N/A</c:v>
                </c:pt>
                <c:pt idx="48">
                  <c:v>#N/A</c:v>
                </c:pt>
                <c:pt idx="49">
                  <c:v>#N/A</c:v>
                </c:pt>
                <c:pt idx="50">
                  <c:v>#N/A</c:v>
                </c:pt>
                <c:pt idx="51">
                  <c:v>#N/A</c:v>
                </c:pt>
              </c:numCache>
            </c:numRef>
          </c:val>
          <c:smooth val="0"/>
          <c:extLst>
            <c:ext xmlns:c16="http://schemas.microsoft.com/office/drawing/2014/chart" uri="{C3380CC4-5D6E-409C-BE32-E72D297353CC}">
              <c16:uniqueId val="{00000001-3553-47F7-9D8D-B7ECA91FF30F}"/>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392C2EEF-EAEA-49A3-AFC5-F06690E3F40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AFCA-4943-AA4B-9818CF1C0054}"/>
                </c:ext>
              </c:extLst>
            </c:dLbl>
            <c:dLbl>
              <c:idx val="1"/>
              <c:tx>
                <c:rich>
                  <a:bodyPr/>
                  <a:lstStyle/>
                  <a:p>
                    <a:fld id="{224FB2B2-6507-44B6-ADAD-3B457FE6BD7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AFCA-4943-AA4B-9818CF1C0054}"/>
                </c:ext>
              </c:extLst>
            </c:dLbl>
            <c:dLbl>
              <c:idx val="2"/>
              <c:tx>
                <c:rich>
                  <a:bodyPr/>
                  <a:lstStyle/>
                  <a:p>
                    <a:fld id="{28BF1D5C-36CE-4EB0-AD28-F4825991542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AFCA-4943-AA4B-9818CF1C0054}"/>
                </c:ext>
              </c:extLst>
            </c:dLbl>
            <c:dLbl>
              <c:idx val="3"/>
              <c:tx>
                <c:rich>
                  <a:bodyPr/>
                  <a:lstStyle/>
                  <a:p>
                    <a:fld id="{B746766A-B7AC-4EEC-83B3-E78B12FB374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AFCA-4943-AA4B-9818CF1C0054}"/>
                </c:ext>
              </c:extLst>
            </c:dLbl>
            <c:dLbl>
              <c:idx val="4"/>
              <c:tx>
                <c:rich>
                  <a:bodyPr/>
                  <a:lstStyle/>
                  <a:p>
                    <a:fld id="{13B403B7-F2CD-4543-A622-688DA2D764A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AFCA-4943-AA4B-9818CF1C0054}"/>
                </c:ext>
              </c:extLst>
            </c:dLbl>
            <c:dLbl>
              <c:idx val="5"/>
              <c:tx>
                <c:rich>
                  <a:bodyPr/>
                  <a:lstStyle/>
                  <a:p>
                    <a:fld id="{6A9D2CD7-4818-4CCA-ACCC-BC693C5253B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AFCA-4943-AA4B-9818CF1C0054}"/>
                </c:ext>
              </c:extLst>
            </c:dLbl>
            <c:dLbl>
              <c:idx val="6"/>
              <c:tx>
                <c:rich>
                  <a:bodyPr/>
                  <a:lstStyle/>
                  <a:p>
                    <a:fld id="{B9DBA80D-7A7F-4B3E-8D03-921295D9AB1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AFCA-4943-AA4B-9818CF1C0054}"/>
                </c:ext>
              </c:extLst>
            </c:dLbl>
            <c:dLbl>
              <c:idx val="7"/>
              <c:tx>
                <c:rich>
                  <a:bodyPr/>
                  <a:lstStyle/>
                  <a:p>
                    <a:fld id="{365654DF-EC24-4DD8-B3F7-8D4BDC8AC6A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AFCA-4943-AA4B-9818CF1C0054}"/>
                </c:ext>
              </c:extLst>
            </c:dLbl>
            <c:dLbl>
              <c:idx val="8"/>
              <c:tx>
                <c:rich>
                  <a:bodyPr/>
                  <a:lstStyle/>
                  <a:p>
                    <a:fld id="{FF91E436-B367-4EA9-9780-26700CF8993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AFCA-4943-AA4B-9818CF1C0054}"/>
                </c:ext>
              </c:extLst>
            </c:dLbl>
            <c:dLbl>
              <c:idx val="9"/>
              <c:tx>
                <c:rich>
                  <a:bodyPr/>
                  <a:lstStyle/>
                  <a:p>
                    <a:fld id="{F2BDBDDE-69A2-4546-8204-7ED391ED281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AFCA-4943-AA4B-9818CF1C0054}"/>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AFCA-4943-AA4B-9818CF1C0054}"/>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AFCA-4943-AA4B-9818CF1C0054}"/>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AFCA-4943-AA4B-9818CF1C0054}"/>
                </c:ext>
              </c:extLst>
            </c:dLbl>
            <c:dLbl>
              <c:idx val="13"/>
              <c:tx>
                <c:rich>
                  <a:bodyPr/>
                  <a:lstStyle/>
                  <a:p>
                    <a:fld id="{37B7B4DD-79CE-4877-861C-45AE1E8EB16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AFCA-4943-AA4B-9818CF1C0054}"/>
                </c:ext>
              </c:extLst>
            </c:dLbl>
            <c:dLbl>
              <c:idx val="14"/>
              <c:tx>
                <c:rich>
                  <a:bodyPr/>
                  <a:lstStyle/>
                  <a:p>
                    <a:fld id="{33CB8B4E-E8B8-41E1-85CE-CCF39F18188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AFCA-4943-AA4B-9818CF1C0054}"/>
                </c:ext>
              </c:extLst>
            </c:dLbl>
            <c:dLbl>
              <c:idx val="15"/>
              <c:tx>
                <c:rich>
                  <a:bodyPr/>
                  <a:lstStyle/>
                  <a:p>
                    <a:fld id="{42206F57-6DC1-4D73-A68B-5042C27E1F3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AFCA-4943-AA4B-9818CF1C0054}"/>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AFCA-4943-AA4B-9818CF1C0054}"/>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AFCA-4943-AA4B-9818CF1C0054}"/>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AFCA-4943-AA4B-9818CF1C0054}"/>
                </c:ext>
              </c:extLst>
            </c:dLbl>
            <c:dLbl>
              <c:idx val="19"/>
              <c:tx>
                <c:rich>
                  <a:bodyPr/>
                  <a:lstStyle/>
                  <a:p>
                    <a:fld id="{09D578ED-D01B-493F-B1FD-9DC31F60463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AFCA-4943-AA4B-9818CF1C0054}"/>
                </c:ext>
              </c:extLst>
            </c:dLbl>
            <c:dLbl>
              <c:idx val="20"/>
              <c:tx>
                <c:rich>
                  <a:bodyPr/>
                  <a:lstStyle/>
                  <a:p>
                    <a:fld id="{E238C22F-C03A-46FD-918D-3996C7861F1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AFCA-4943-AA4B-9818CF1C0054}"/>
                </c:ext>
              </c:extLst>
            </c:dLbl>
            <c:dLbl>
              <c:idx val="21"/>
              <c:tx>
                <c:rich>
                  <a:bodyPr/>
                  <a:lstStyle/>
                  <a:p>
                    <a:fld id="{7DD18F05-741F-45AF-90AB-2AA9D49E82C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AFCA-4943-AA4B-9818CF1C0054}"/>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AFCA-4943-AA4B-9818CF1C0054}"/>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AFCA-4943-AA4B-9818CF1C0054}"/>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AFCA-4943-AA4B-9818CF1C0054}"/>
                </c:ext>
              </c:extLst>
            </c:dLbl>
            <c:dLbl>
              <c:idx val="25"/>
              <c:tx>
                <c:rich>
                  <a:bodyPr/>
                  <a:lstStyle/>
                  <a:p>
                    <a:fld id="{6E82E8F9-E92C-4B76-A236-651E217DEA7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AFCA-4943-AA4B-9818CF1C0054}"/>
                </c:ext>
              </c:extLst>
            </c:dLbl>
            <c:dLbl>
              <c:idx val="26"/>
              <c:tx>
                <c:rich>
                  <a:bodyPr/>
                  <a:lstStyle/>
                  <a:p>
                    <a:fld id="{125B6EE9-1CDB-4F3A-945A-D8B5F19F15F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AFCA-4943-AA4B-9818CF1C0054}"/>
                </c:ext>
              </c:extLst>
            </c:dLbl>
            <c:dLbl>
              <c:idx val="27"/>
              <c:tx>
                <c:rich>
                  <a:bodyPr/>
                  <a:lstStyle/>
                  <a:p>
                    <a:fld id="{C2EE411E-C325-4224-8F5F-F3D32D7F25D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AFCA-4943-AA4B-9818CF1C0054}"/>
                </c:ext>
              </c:extLst>
            </c:dLbl>
            <c:dLbl>
              <c:idx val="28"/>
              <c:tx>
                <c:rich>
                  <a:bodyPr/>
                  <a:lstStyle/>
                  <a:p>
                    <a:fld id="{BE78A0D3-8016-46AF-A63F-E07A874610A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AFCA-4943-AA4B-9818CF1C0054}"/>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AFCA-4943-AA4B-9818CF1C0054}"/>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AFCA-4943-AA4B-9818CF1C0054}"/>
                </c:ext>
              </c:extLst>
            </c:dLbl>
            <c:dLbl>
              <c:idx val="31"/>
              <c:tx>
                <c:rich>
                  <a:bodyPr/>
                  <a:lstStyle/>
                  <a:p>
                    <a:fld id="{95F194E9-719E-41F7-9FF2-A1A020F72EA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AFCA-4943-AA4B-9818CF1C0054}"/>
                </c:ext>
              </c:extLst>
            </c:dLbl>
            <c:dLbl>
              <c:idx val="32"/>
              <c:tx>
                <c:rich>
                  <a:bodyPr/>
                  <a:lstStyle/>
                  <a:p>
                    <a:fld id="{1476AF14-F6DE-4FF6-9499-105DAD8EA43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AFCA-4943-AA4B-9818CF1C0054}"/>
                </c:ext>
              </c:extLst>
            </c:dLbl>
            <c:dLbl>
              <c:idx val="33"/>
              <c:tx>
                <c:rich>
                  <a:bodyPr/>
                  <a:lstStyle/>
                  <a:p>
                    <a:fld id="{ADB8ACAD-5F3F-484D-8710-65565F5AA87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AFCA-4943-AA4B-9818CF1C0054}"/>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AFCA-4943-AA4B-9818CF1C0054}"/>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AFCA-4943-AA4B-9818CF1C0054}"/>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AFCA-4943-AA4B-9818CF1C0054}"/>
                </c:ext>
              </c:extLst>
            </c:dLbl>
            <c:dLbl>
              <c:idx val="37"/>
              <c:tx>
                <c:rich>
                  <a:bodyPr/>
                  <a:lstStyle/>
                  <a:p>
                    <a:fld id="{A965B768-6650-47C3-AC8A-0646FDEB4D6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AFCA-4943-AA4B-9818CF1C0054}"/>
                </c:ext>
              </c:extLst>
            </c:dLbl>
            <c:dLbl>
              <c:idx val="38"/>
              <c:tx>
                <c:rich>
                  <a:bodyPr/>
                  <a:lstStyle/>
                  <a:p>
                    <a:fld id="{BE1F37CE-A1AF-4DFB-BC5C-40F05EF2576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AFCA-4943-AA4B-9818CF1C0054}"/>
                </c:ext>
              </c:extLst>
            </c:dLbl>
            <c:dLbl>
              <c:idx val="39"/>
              <c:tx>
                <c:rich>
                  <a:bodyPr/>
                  <a:lstStyle/>
                  <a:p>
                    <a:fld id="{F9855D50-0CCE-41F8-82BC-FA5815BB7ED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AFCA-4943-AA4B-9818CF1C0054}"/>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AFCA-4943-AA4B-9818CF1C0054}"/>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AFCA-4943-AA4B-9818CF1C0054}"/>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AFCA-4943-AA4B-9818CF1C0054}"/>
                </c:ext>
              </c:extLst>
            </c:dLbl>
            <c:dLbl>
              <c:idx val="43"/>
              <c:tx>
                <c:rich>
                  <a:bodyPr/>
                  <a:lstStyle/>
                  <a:p>
                    <a:fld id="{4350BF67-8303-4DA5-B7BE-9F7AACB50FE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AFCA-4943-AA4B-9818CF1C0054}"/>
                </c:ext>
              </c:extLst>
            </c:dLbl>
            <c:dLbl>
              <c:idx val="44"/>
              <c:tx>
                <c:rich>
                  <a:bodyPr/>
                  <a:lstStyle/>
                  <a:p>
                    <a:fld id="{6D5CFE62-158C-4D25-BA8C-0CE0AE36BBC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AFCA-4943-AA4B-9818CF1C0054}"/>
                </c:ext>
              </c:extLst>
            </c:dLbl>
            <c:dLbl>
              <c:idx val="45"/>
              <c:tx>
                <c:rich>
                  <a:bodyPr/>
                  <a:lstStyle/>
                  <a:p>
                    <a:fld id="{E96AC004-F8DD-4318-ACA0-17DDC691EC2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AFCA-4943-AA4B-9818CF1C0054}"/>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AFCA-4943-AA4B-9818CF1C0054}"/>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AFCA-4943-AA4B-9818CF1C0054}"/>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AFCA-4943-AA4B-9818CF1C0054}"/>
                </c:ext>
              </c:extLst>
            </c:dLbl>
            <c:dLbl>
              <c:idx val="49"/>
              <c:tx>
                <c:rich>
                  <a:bodyPr/>
                  <a:lstStyle/>
                  <a:p>
                    <a:fld id="{59FC04AF-DBB3-4E5E-940C-6DEAD7A50A7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AFCA-4943-AA4B-9818CF1C0054}"/>
                </c:ext>
              </c:extLst>
            </c:dLbl>
            <c:dLbl>
              <c:idx val="50"/>
              <c:tx>
                <c:rich>
                  <a:bodyPr/>
                  <a:lstStyle/>
                  <a:p>
                    <a:fld id="{7DEF9D1A-F9F7-457A-A19E-D1AF0ADA384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AFCA-4943-AA4B-9818CF1C0054}"/>
                </c:ext>
              </c:extLst>
            </c:dLbl>
            <c:dLbl>
              <c:idx val="51"/>
              <c:tx>
                <c:rich>
                  <a:bodyPr/>
                  <a:lstStyle/>
                  <a:p>
                    <a:fld id="{B3F215BD-D84F-4A99-B3E9-239A111CA0F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AFCA-4943-AA4B-9818CF1C0054}"/>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AFCA-4943-AA4B-9818CF1C0054}"/>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AFCA-4943-AA4B-9818CF1C0054}"/>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chemeClr val="bg2"/>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chemeClr val="bg2"/>
              </a:solidFill>
              <a:ln>
                <a:noFill/>
              </a:ln>
              <a:effectLst/>
            </c:spPr>
            <c:extLst>
              <c:ext xmlns:c16="http://schemas.microsoft.com/office/drawing/2014/chart" uri="{C3380CC4-5D6E-409C-BE32-E72D297353CC}">
                <c16:uniqueId val="{00000005-26FB-4B52-8D72-D56D618E8EAF}"/>
              </c:ext>
            </c:extLst>
          </c:dPt>
          <c:dPt>
            <c:idx val="3"/>
            <c:invertIfNegative val="0"/>
            <c:bubble3D val="0"/>
            <c:extLst>
              <c:ext xmlns:c16="http://schemas.microsoft.com/office/drawing/2014/chart" uri="{C3380CC4-5D6E-409C-BE32-E72D297353CC}">
                <c16:uniqueId val="{00000007-26FB-4B52-8D72-D56D618E8EAF}"/>
              </c:ext>
            </c:extLst>
          </c:dPt>
          <c:dPt>
            <c:idx val="4"/>
            <c:invertIfNegative val="0"/>
            <c:bubble3D val="0"/>
            <c:extLst>
              <c:ext xmlns:c16="http://schemas.microsoft.com/office/drawing/2014/chart" uri="{C3380CC4-5D6E-409C-BE32-E72D297353CC}">
                <c16:uniqueId val="{00000009-26FB-4B52-8D72-D56D618E8EAF}"/>
              </c:ext>
            </c:extLst>
          </c:dPt>
          <c:dPt>
            <c:idx val="5"/>
            <c:invertIfNegative val="0"/>
            <c:bubble3D val="0"/>
            <c:extLst>
              <c:ext xmlns:c16="http://schemas.microsoft.com/office/drawing/2014/chart" uri="{C3380CC4-5D6E-409C-BE32-E72D297353CC}">
                <c16:uniqueId val="{0000000B-26FB-4B52-8D72-D56D618E8EAF}"/>
              </c:ext>
            </c:extLst>
          </c:dPt>
          <c:dPt>
            <c:idx val="6"/>
            <c:invertIfNegative val="0"/>
            <c:bubble3D val="0"/>
            <c:spPr>
              <a:solidFill>
                <a:schemeClr val="bg2"/>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FE704231-6BCE-43A7-A632-E0B6E17F1D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4CFBCFB6-29DA-44C6-9B3F-1CBA35C1A6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40AD51D4-8FBA-47EA-A966-6BB55B2B82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E38C2504-3CFC-4A35-ABF6-001124F3B9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439BBB5C-9F74-4A64-AFF9-01F8438DEC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71E71E03-8536-4911-A0BD-8A8C553154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8602F20D-3584-4DD7-BBA3-D4A4A71C60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2E711FCD-7576-4E92-98D9-2D828AEDB8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D1DBF317-B2B4-484F-B681-B10C60E3F4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247F082B-5240-41DD-8DC2-4C5B1AB346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AECAD46D-DA8D-4D57-80DE-CA85D7D24A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995780F8-669F-4CB6-8CDC-B91D84DCB3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26FB-4B52-8D72-D56D618E8EAF}"/>
                </c:ext>
              </c:extLst>
            </c:dLbl>
            <c:dLbl>
              <c:idx val="12"/>
              <c:tx>
                <c:rich>
                  <a:bodyPr/>
                  <a:lstStyle/>
                  <a:p>
                    <a:fld id="{150ACA02-2DDB-4C76-808D-6F8EC0B7AD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B2D-4A32-96D2-9C641BCDE5CC}"/>
                </c:ext>
              </c:extLst>
            </c:dLbl>
            <c:dLbl>
              <c:idx val="13"/>
              <c:tx>
                <c:rich>
                  <a:bodyPr/>
                  <a:lstStyle/>
                  <a:p>
                    <a:fld id="{15556575-D923-4B0D-9435-8247EED674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26FB-4B52-8D72-D56D618E8EAF}"/>
                </c:ext>
              </c:extLst>
            </c:dLbl>
            <c:dLbl>
              <c:idx val="14"/>
              <c:tx>
                <c:rich>
                  <a:bodyPr/>
                  <a:lstStyle/>
                  <a:p>
                    <a:fld id="{BC651DDA-DB2D-4461-A41D-1B141FED8A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26FB-4B52-8D72-D56D618E8EAF}"/>
                </c:ext>
              </c:extLst>
            </c:dLbl>
            <c:dLbl>
              <c:idx val="15"/>
              <c:tx>
                <c:rich>
                  <a:bodyPr/>
                  <a:lstStyle/>
                  <a:p>
                    <a:fld id="{D0E6726F-3F43-45F4-AD76-4656A13698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26FB-4B52-8D72-D56D618E8EAF}"/>
                </c:ext>
              </c:extLst>
            </c:dLbl>
            <c:dLbl>
              <c:idx val="16"/>
              <c:tx>
                <c:rich>
                  <a:bodyPr/>
                  <a:lstStyle/>
                  <a:p>
                    <a:fld id="{9C096F33-71D1-42D5-B2AA-70CDDFB01C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A6E-4C83-9A06-9C3309B2855E}"/>
                </c:ext>
              </c:extLst>
            </c:dLbl>
            <c:dLbl>
              <c:idx val="17"/>
              <c:tx>
                <c:rich>
                  <a:bodyPr/>
                  <a:lstStyle/>
                  <a:p>
                    <a:fld id="{7DA85509-A81D-460D-9968-091F44DA12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0A6E-4C83-9A06-9C3309B2855E}"/>
                </c:ext>
              </c:extLst>
            </c:dLbl>
            <c:dLbl>
              <c:idx val="18"/>
              <c:tx>
                <c:rich>
                  <a:bodyPr/>
                  <a:lstStyle/>
                  <a:p>
                    <a:fld id="{F29D2271-93FC-44BC-8FBA-6EEE1B84ED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A6E-4C83-9A06-9C3309B2855E}"/>
                </c:ext>
              </c:extLst>
            </c:dLbl>
            <c:dLbl>
              <c:idx val="19"/>
              <c:tx>
                <c:rich>
                  <a:bodyPr/>
                  <a:lstStyle/>
                  <a:p>
                    <a:fld id="{35A64601-6024-439A-84CE-63025EAD8C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A6E-4C83-9A06-9C3309B2855E}"/>
                </c:ext>
              </c:extLst>
            </c:dLbl>
            <c:dLbl>
              <c:idx val="20"/>
              <c:tx>
                <c:rich>
                  <a:bodyPr/>
                  <a:lstStyle/>
                  <a:p>
                    <a:fld id="{93DBA090-5274-4311-9352-34633FA263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C5AD-4BCF-9CB2-60EDA2D7DB42}"/>
                </c:ext>
              </c:extLst>
            </c:dLbl>
            <c:dLbl>
              <c:idx val="21"/>
              <c:tx>
                <c:rich>
                  <a:bodyPr/>
                  <a:lstStyle/>
                  <a:p>
                    <a:fld id="{7F0A4574-C489-4450-8019-41C5876A87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5AD-4BCF-9CB2-60EDA2D7DB42}"/>
                </c:ext>
              </c:extLst>
            </c:dLbl>
            <c:dLbl>
              <c:idx val="22"/>
              <c:tx>
                <c:rich>
                  <a:bodyPr/>
                  <a:lstStyle/>
                  <a:p>
                    <a:fld id="{2BF4B07F-E20F-4D28-BA4E-2901069F82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5AD-4BCF-9CB2-60EDA2D7DB42}"/>
                </c:ext>
              </c:extLst>
            </c:dLbl>
            <c:dLbl>
              <c:idx val="23"/>
              <c:tx>
                <c:rich>
                  <a:bodyPr/>
                  <a:lstStyle/>
                  <a:p>
                    <a:fld id="{75A73F1D-F38F-40D2-9D79-75D4F8C947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5AD-4BCF-9CB2-60EDA2D7DB42}"/>
                </c:ext>
              </c:extLst>
            </c:dLbl>
            <c:dLbl>
              <c:idx val="24"/>
              <c:tx>
                <c:rich>
                  <a:bodyPr/>
                  <a:lstStyle/>
                  <a:p>
                    <a:fld id="{2AE3D6C2-3306-4E84-8384-D305532765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A6E-4C83-9A06-9C3309B2855E}"/>
                </c:ext>
              </c:extLst>
            </c:dLbl>
            <c:dLbl>
              <c:idx val="25"/>
              <c:tx>
                <c:rich>
                  <a:bodyPr/>
                  <a:lstStyle/>
                  <a:p>
                    <a:fld id="{4AB31AA0-DD1E-4E48-87B2-2696DB89B2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D12-44DE-B956-CABCB15EBC04}"/>
                </c:ext>
              </c:extLst>
            </c:dLbl>
            <c:dLbl>
              <c:idx val="26"/>
              <c:tx>
                <c:rich>
                  <a:bodyPr/>
                  <a:lstStyle/>
                  <a:p>
                    <a:fld id="{173C8A48-A4FA-4DC7-9331-9B6B67494F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D12-44DE-B956-CABCB15EBC04}"/>
                </c:ext>
              </c:extLst>
            </c:dLbl>
            <c:dLbl>
              <c:idx val="27"/>
              <c:tx>
                <c:rich>
                  <a:bodyPr/>
                  <a:lstStyle/>
                  <a:p>
                    <a:fld id="{B0EEF9F1-F469-4475-8670-2A951F4EE3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D12-44DE-B956-CABCB15EBC04}"/>
                </c:ext>
              </c:extLst>
            </c:dLbl>
            <c:dLbl>
              <c:idx val="28"/>
              <c:tx>
                <c:rich>
                  <a:bodyPr/>
                  <a:lstStyle/>
                  <a:p>
                    <a:fld id="{C8D7B458-5A63-49E9-A61B-0B8EE16669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D12-44DE-B956-CABCB15EBC04}"/>
                </c:ext>
              </c:extLst>
            </c:dLbl>
            <c:dLbl>
              <c:idx val="29"/>
              <c:tx>
                <c:rich>
                  <a:bodyPr/>
                  <a:lstStyle/>
                  <a:p>
                    <a:fld id="{934F8700-ED05-4FB4-8AE4-95CA00EF42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47-486F-B734-6012CEA493B3}"/>
                </c:ext>
              </c:extLst>
            </c:dLbl>
            <c:dLbl>
              <c:idx val="30"/>
              <c:tx>
                <c:rich>
                  <a:bodyPr/>
                  <a:lstStyle/>
                  <a:p>
                    <a:fld id="{24575B7D-FAD7-4EDF-8C3F-46C0280725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D12-44DE-B956-CABCB15EBC04}"/>
                </c:ext>
              </c:extLst>
            </c:dLbl>
            <c:dLbl>
              <c:idx val="31"/>
              <c:tx>
                <c:rich>
                  <a:bodyPr/>
                  <a:lstStyle/>
                  <a:p>
                    <a:fld id="{86650B71-6470-4E6E-8463-49D8BE529A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D12-44DE-B956-CABCB15EBC04}"/>
                </c:ext>
              </c:extLst>
            </c:dLbl>
            <c:dLbl>
              <c:idx val="32"/>
              <c:tx>
                <c:rich>
                  <a:bodyPr/>
                  <a:lstStyle/>
                  <a:p>
                    <a:fld id="{A0E8D6C7-FED7-403C-BC82-34D9812739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D12-44DE-B956-CABCB15EBC04}"/>
                </c:ext>
              </c:extLst>
            </c:dLbl>
            <c:dLbl>
              <c:idx val="33"/>
              <c:tx>
                <c:rich>
                  <a:bodyPr/>
                  <a:lstStyle/>
                  <a:p>
                    <a:fld id="{F254C5C0-38B2-4259-9B44-56DDE89FFD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D12-44DE-B956-CABCB15EBC04}"/>
                </c:ext>
              </c:extLst>
            </c:dLbl>
            <c:dLbl>
              <c:idx val="34"/>
              <c:tx>
                <c:rich>
                  <a:bodyPr/>
                  <a:lstStyle/>
                  <a:p>
                    <a:fld id="{75889C05-6E50-4E10-B15D-BA94E433CB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D12-44DE-B956-CABCB15EBC04}"/>
                </c:ext>
              </c:extLst>
            </c:dLbl>
            <c:dLbl>
              <c:idx val="35"/>
              <c:tx>
                <c:rich>
                  <a:bodyPr/>
                  <a:lstStyle/>
                  <a:p>
                    <a:fld id="{E5D320B0-B73E-4B28-9B3F-F8CD0C9D99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D12-44DE-B956-CABCB15EBC04}"/>
                </c:ext>
              </c:extLst>
            </c:dLbl>
            <c:dLbl>
              <c:idx val="36"/>
              <c:tx>
                <c:rich>
                  <a:bodyPr/>
                  <a:lstStyle/>
                  <a:p>
                    <a:fld id="{79C4BE6F-AAE4-466B-86FE-96D6E239FC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D12-44DE-B956-CABCB15EBC04}"/>
                </c:ext>
              </c:extLst>
            </c:dLbl>
            <c:dLbl>
              <c:idx val="37"/>
              <c:tx>
                <c:rich>
                  <a:bodyPr/>
                  <a:lstStyle/>
                  <a:p>
                    <a:fld id="{1B91F335-C20E-4FCE-A7CD-9E0BE97D6A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D12-44DE-B956-CABCB15EBC04}"/>
                </c:ext>
              </c:extLst>
            </c:dLbl>
            <c:dLbl>
              <c:idx val="38"/>
              <c:tx>
                <c:rich>
                  <a:bodyPr/>
                  <a:lstStyle/>
                  <a:p>
                    <a:fld id="{2B94D12D-EA4C-4799-8ABC-4F81E8B788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D12-44DE-B956-CABCB15EBC04}"/>
                </c:ext>
              </c:extLst>
            </c:dLbl>
            <c:dLbl>
              <c:idx val="39"/>
              <c:tx>
                <c:rich>
                  <a:bodyPr/>
                  <a:lstStyle/>
                  <a:p>
                    <a:fld id="{92AF152F-A071-44D0-8FFB-50AB57FDBE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D12-44DE-B956-CABCB15EBC04}"/>
                </c:ext>
              </c:extLst>
            </c:dLbl>
            <c:dLbl>
              <c:idx val="40"/>
              <c:tx>
                <c:rich>
                  <a:bodyPr/>
                  <a:lstStyle/>
                  <a:p>
                    <a:fld id="{5030068C-A222-479F-AC36-92EAA599A0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D12-44DE-B956-CABCB15EBC04}"/>
                </c:ext>
              </c:extLst>
            </c:dLbl>
            <c:dLbl>
              <c:idx val="41"/>
              <c:tx>
                <c:rich>
                  <a:bodyPr/>
                  <a:lstStyle/>
                  <a:p>
                    <a:fld id="{F3D17A48-127D-492B-977B-BB75C73D66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D12-44DE-B956-CABCB15EBC04}"/>
                </c:ext>
              </c:extLst>
            </c:dLbl>
            <c:dLbl>
              <c:idx val="42"/>
              <c:tx>
                <c:rich>
                  <a:bodyPr/>
                  <a:lstStyle/>
                  <a:p>
                    <a:fld id="{8294B623-40CE-4887-A2C4-EA86001304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D12-44DE-B956-CABCB15EBC04}"/>
                </c:ext>
              </c:extLst>
            </c:dLbl>
            <c:dLbl>
              <c:idx val="43"/>
              <c:tx>
                <c:rich>
                  <a:bodyPr/>
                  <a:lstStyle/>
                  <a:p>
                    <a:fld id="{382AFF8E-FBC5-4D05-95F3-B1B13F7FAE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D12-44DE-B956-CABCB15EBC04}"/>
                </c:ext>
              </c:extLst>
            </c:dLbl>
            <c:dLbl>
              <c:idx val="44"/>
              <c:tx>
                <c:rich>
                  <a:bodyPr/>
                  <a:lstStyle/>
                  <a:p>
                    <a:fld id="{5A53B4D5-3126-46B0-85AB-E953406589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D12-44DE-B956-CABCB15EBC04}"/>
                </c:ext>
              </c:extLst>
            </c:dLbl>
            <c:dLbl>
              <c:idx val="45"/>
              <c:tx>
                <c:rich>
                  <a:bodyPr/>
                  <a:lstStyle/>
                  <a:p>
                    <a:fld id="{001A2071-F677-46CD-AA4E-0AFAF76944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D12-44DE-B956-CABCB15EBC04}"/>
                </c:ext>
              </c:extLst>
            </c:dLbl>
            <c:dLbl>
              <c:idx val="46"/>
              <c:tx>
                <c:rich>
                  <a:bodyPr/>
                  <a:lstStyle/>
                  <a:p>
                    <a:fld id="{A5F0E0A5-A296-4260-9685-3F54EAA7A7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D12-44DE-B956-CABCB15EBC04}"/>
                </c:ext>
              </c:extLst>
            </c:dLbl>
            <c:dLbl>
              <c:idx val="47"/>
              <c:tx>
                <c:rich>
                  <a:bodyPr/>
                  <a:lstStyle/>
                  <a:p>
                    <a:fld id="{125EC5D2-A1B0-4632-ADA0-76165A6D3F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D12-44DE-B956-CABCB15EBC04}"/>
                </c:ext>
              </c:extLst>
            </c:dLbl>
            <c:dLbl>
              <c:idx val="48"/>
              <c:tx>
                <c:rich>
                  <a:bodyPr/>
                  <a:lstStyle/>
                  <a:p>
                    <a:fld id="{7E45E3E9-EE80-47E8-AF7E-B2A94A57F0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D12-44DE-B956-CABCB15EBC04}"/>
                </c:ext>
              </c:extLst>
            </c:dLbl>
            <c:dLbl>
              <c:idx val="49"/>
              <c:tx>
                <c:rich>
                  <a:bodyPr/>
                  <a:lstStyle/>
                  <a:p>
                    <a:fld id="{9A5F7634-2C99-4D70-AE47-03B5273036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D12-44DE-B956-CABCB15EBC04}"/>
                </c:ext>
              </c:extLst>
            </c:dLbl>
            <c:dLbl>
              <c:idx val="50"/>
              <c:tx>
                <c:rich>
                  <a:bodyPr/>
                  <a:lstStyle/>
                  <a:p>
                    <a:fld id="{0A70CBC9-BBC9-48A0-9D9C-91A8510C2F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D12-44DE-B956-CABCB15EBC04}"/>
                </c:ext>
              </c:extLst>
            </c:dLbl>
            <c:dLbl>
              <c:idx val="51"/>
              <c:tx>
                <c:rich>
                  <a:bodyPr/>
                  <a:lstStyle/>
                  <a:p>
                    <a:fld id="{F073CDF3-C429-4308-B323-B9FA76A024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D12-44DE-B956-CABCB15EBC04}"/>
                </c:ext>
              </c:extLst>
            </c:dLbl>
            <c:dLbl>
              <c:idx val="52"/>
              <c:tx>
                <c:rich>
                  <a:bodyPr/>
                  <a:lstStyle/>
                  <a:p>
                    <a:fld id="{1F647978-91F0-4B76-AE34-D30759A877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D12-44DE-B956-CABCB15EBC04}"/>
                </c:ext>
              </c:extLst>
            </c:dLbl>
            <c:dLbl>
              <c:idx val="53"/>
              <c:tx>
                <c:rich>
                  <a:bodyPr/>
                  <a:lstStyle/>
                  <a:p>
                    <a:fld id="{D51C3F4E-7A60-479B-ACF6-797092C08C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D12-44DE-B956-CABCB15EBC04}"/>
                </c:ext>
              </c:extLst>
            </c:dLbl>
            <c:dLbl>
              <c:idx val="54"/>
              <c:tx>
                <c:rich>
                  <a:bodyPr/>
                  <a:lstStyle/>
                  <a:p>
                    <a:fld id="{70D8DF4A-2A78-4AF1-BE7D-30368854A9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D12-44DE-B956-CABCB15EBC04}"/>
                </c:ext>
              </c:extLst>
            </c:dLbl>
            <c:dLbl>
              <c:idx val="55"/>
              <c:tx>
                <c:rich>
                  <a:bodyPr/>
                  <a:lstStyle/>
                  <a:p>
                    <a:fld id="{2D4DF7AE-A9A5-470B-9A2C-D3464EB70E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D12-44DE-B956-CABCB15EBC04}"/>
                </c:ext>
              </c:extLst>
            </c:dLbl>
            <c:dLbl>
              <c:idx val="56"/>
              <c:tx>
                <c:rich>
                  <a:bodyPr/>
                  <a:lstStyle/>
                  <a:p>
                    <a:fld id="{CB35799A-FB32-4C3B-B617-41F479C1B6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8E3F-4D1B-A313-C02BEC0FDBD1}"/>
                </c:ext>
              </c:extLst>
            </c:dLbl>
            <c:dLbl>
              <c:idx val="57"/>
              <c:tx>
                <c:rich>
                  <a:bodyPr/>
                  <a:lstStyle/>
                  <a:p>
                    <a:fld id="{B674D9A2-6CAE-431F-9227-84BA2B87CA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8E3F-4D1B-A313-C02BEC0FDBD1}"/>
                </c:ext>
              </c:extLst>
            </c:dLbl>
            <c:dLbl>
              <c:idx val="58"/>
              <c:tx>
                <c:rich>
                  <a:bodyPr/>
                  <a:lstStyle/>
                  <a:p>
                    <a:fld id="{7E7A25EB-0B1E-4EF2-BA12-BFB20EDD3F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8E3F-4D1B-A313-C02BEC0FDBD1}"/>
                </c:ext>
              </c:extLst>
            </c:dLbl>
            <c:dLbl>
              <c:idx val="59"/>
              <c:tx>
                <c:rich>
                  <a:bodyPr/>
                  <a:lstStyle/>
                  <a:p>
                    <a:fld id="{B7D4DC6B-CE66-430E-92AC-BC1647BD32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8E3F-4D1B-A313-C02BEC0FDBD1}"/>
                </c:ext>
              </c:extLst>
            </c:dLbl>
            <c:dLbl>
              <c:idx val="60"/>
              <c:tx>
                <c:rich>
                  <a:bodyPr/>
                  <a:lstStyle/>
                  <a:p>
                    <a:fld id="{42FA398F-6841-4644-96AB-7B21894EE4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8E3F-4D1B-A313-C02BEC0FDBD1}"/>
                </c:ext>
              </c:extLst>
            </c:dLbl>
            <c:dLbl>
              <c:idx val="61"/>
              <c:tx>
                <c:rich>
                  <a:bodyPr/>
                  <a:lstStyle/>
                  <a:p>
                    <a:fld id="{5B06B41E-43FB-4EF3-B025-A9F0657828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8E3F-4D1B-A313-C02BEC0FDBD1}"/>
                </c:ext>
              </c:extLst>
            </c:dLbl>
            <c:dLbl>
              <c:idx val="62"/>
              <c:tx>
                <c:rich>
                  <a:bodyPr/>
                  <a:lstStyle/>
                  <a:p>
                    <a:fld id="{269D6227-E198-4A0C-B866-B4F4CE540A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8E3F-4D1B-A313-C02BEC0FDBD1}"/>
                </c:ext>
              </c:extLst>
            </c:dLbl>
            <c:dLbl>
              <c:idx val="63"/>
              <c:tx>
                <c:rich>
                  <a:bodyPr/>
                  <a:lstStyle/>
                  <a:p>
                    <a:fld id="{17D4115F-988D-420F-B539-1274DA1DC5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8E3F-4D1B-A313-C02BEC0FDBD1}"/>
                </c:ext>
              </c:extLst>
            </c:dLbl>
            <c:dLbl>
              <c:idx val="64"/>
              <c:tx>
                <c:rich>
                  <a:bodyPr/>
                  <a:lstStyle/>
                  <a:p>
                    <a:fld id="{63EE26B6-B3AA-4423-BF63-324818ED35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8E3F-4D1B-A313-C02BEC0FDBD1}"/>
                </c:ext>
              </c:extLst>
            </c:dLbl>
            <c:dLbl>
              <c:idx val="65"/>
              <c:tx>
                <c:rich>
                  <a:bodyPr/>
                  <a:lstStyle/>
                  <a:p>
                    <a:fld id="{1F1A5354-9F43-47D9-98C6-A0F827F598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8E3F-4D1B-A313-C02BEC0FDBD1}"/>
                </c:ext>
              </c:extLst>
            </c:dLbl>
            <c:dLbl>
              <c:idx val="66"/>
              <c:tx>
                <c:rich>
                  <a:bodyPr/>
                  <a:lstStyle/>
                  <a:p>
                    <a:fld id="{2ED41F5A-C919-4E7B-AF81-40C1FA5203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8E3F-4D1B-A313-C02BEC0FDBD1}"/>
                </c:ext>
              </c:extLst>
            </c:dLbl>
            <c:dLbl>
              <c:idx val="67"/>
              <c:tx>
                <c:rich>
                  <a:bodyPr/>
                  <a:lstStyle/>
                  <a:p>
                    <a:fld id="{6A62F77A-292C-493E-ACCE-75087D0F04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8E3F-4D1B-A313-C02BEC0FDBD1}"/>
                </c:ext>
              </c:extLst>
            </c:dLbl>
            <c:dLbl>
              <c:idx val="68"/>
              <c:tx>
                <c:rich>
                  <a:bodyPr/>
                  <a:lstStyle/>
                  <a:p>
                    <a:fld id="{57165B78-71A3-4109-A95D-0220A39ACF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8E3F-4D1B-A313-C02BEC0FDBD1}"/>
                </c:ext>
              </c:extLst>
            </c:dLbl>
            <c:dLbl>
              <c:idx val="69"/>
              <c:tx>
                <c:rich>
                  <a:bodyPr/>
                  <a:lstStyle/>
                  <a:p>
                    <a:fld id="{4597217E-F2DB-4B28-A76A-6E19DE96BA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8E3F-4D1B-A313-C02BEC0FDBD1}"/>
                </c:ext>
              </c:extLst>
            </c:dLbl>
            <c:dLbl>
              <c:idx val="70"/>
              <c:tx>
                <c:rich>
                  <a:bodyPr/>
                  <a:lstStyle/>
                  <a:p>
                    <a:fld id="{C8B69210-77CF-46E0-BA87-422DD46DD1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8E3F-4D1B-A313-C02BEC0FDBD1}"/>
                </c:ext>
              </c:extLst>
            </c:dLbl>
            <c:dLbl>
              <c:idx val="71"/>
              <c:tx>
                <c:rich>
                  <a:bodyPr/>
                  <a:lstStyle/>
                  <a:p>
                    <a:fld id="{4A465EE9-D758-455B-8D45-7DD9548B8E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8E3F-4D1B-A313-C02BEC0FDBD1}"/>
                </c:ext>
              </c:extLst>
            </c:dLbl>
            <c:dLbl>
              <c:idx val="72"/>
              <c:tx>
                <c:rich>
                  <a:bodyPr/>
                  <a:lstStyle/>
                  <a:p>
                    <a:fld id="{01AD9963-356B-4E54-8D02-85495CC056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8E3F-4D1B-A313-C02BEC0FDBD1}"/>
                </c:ext>
              </c:extLst>
            </c:dLbl>
            <c:dLbl>
              <c:idx val="73"/>
              <c:tx>
                <c:rich>
                  <a:bodyPr/>
                  <a:lstStyle/>
                  <a:p>
                    <a:fld id="{4266BDF1-4F88-4027-B374-2C9CDF7D18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8E3F-4D1B-A313-C02BEC0FDBD1}"/>
                </c:ext>
              </c:extLst>
            </c:dLbl>
            <c:dLbl>
              <c:idx val="74"/>
              <c:tx>
                <c:rich>
                  <a:bodyPr/>
                  <a:lstStyle/>
                  <a:p>
                    <a:fld id="{F1972AE5-2DF3-4C2A-A3BF-B64F01A129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8E3F-4D1B-A313-C02BEC0FDBD1}"/>
                </c:ext>
              </c:extLst>
            </c:dLbl>
            <c:dLbl>
              <c:idx val="75"/>
              <c:tx>
                <c:rich>
                  <a:bodyPr/>
                  <a:lstStyle/>
                  <a:p>
                    <a:fld id="{1929339C-FF03-4474-A1DB-BDF745F06E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8E3F-4D1B-A313-C02BEC0FDBD1}"/>
                </c:ext>
              </c:extLst>
            </c:dLbl>
            <c:dLbl>
              <c:idx val="76"/>
              <c:tx>
                <c:rich>
                  <a:bodyPr/>
                  <a:lstStyle/>
                  <a:p>
                    <a:fld id="{8DBD6E15-87E9-447F-A87D-4CD34AF1D8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8E3F-4D1B-A313-C02BEC0FDBD1}"/>
                </c:ext>
              </c:extLst>
            </c:dLbl>
            <c:dLbl>
              <c:idx val="77"/>
              <c:tx>
                <c:rich>
                  <a:bodyPr/>
                  <a:lstStyle/>
                  <a:p>
                    <a:fld id="{84626DC7-AED8-48B6-821A-1AF3A9A94A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8E3F-4D1B-A313-C02BEC0FDBD1}"/>
                </c:ext>
              </c:extLst>
            </c:dLbl>
            <c:dLbl>
              <c:idx val="78"/>
              <c:tx>
                <c:rich>
                  <a:bodyPr/>
                  <a:lstStyle/>
                  <a:p>
                    <a:fld id="{E3CB22DF-6DEC-414E-8A95-E9F6247463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8E3F-4D1B-A313-C02BEC0FDBD1}"/>
                </c:ext>
              </c:extLst>
            </c:dLbl>
            <c:dLbl>
              <c:idx val="79"/>
              <c:tx>
                <c:rich>
                  <a:bodyPr/>
                  <a:lstStyle/>
                  <a:p>
                    <a:fld id="{D72974D7-2183-4DA0-A21E-F2A984CB3C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8E3F-4D1B-A313-C02BEC0FDBD1}"/>
                </c:ext>
              </c:extLst>
            </c:dLbl>
            <c:dLbl>
              <c:idx val="80"/>
              <c:tx>
                <c:rich>
                  <a:bodyPr/>
                  <a:lstStyle/>
                  <a:p>
                    <a:fld id="{8E06B266-6E01-40F3-AE59-6A60D659D6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8E3F-4D1B-A313-C02BEC0FDBD1}"/>
                </c:ext>
              </c:extLst>
            </c:dLbl>
            <c:dLbl>
              <c:idx val="81"/>
              <c:tx>
                <c:rich>
                  <a:bodyPr/>
                  <a:lstStyle/>
                  <a:p>
                    <a:fld id="{B4675F80-B881-4E09-9615-DD47A33D48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9-8E3F-4D1B-A313-C02BEC0FDBD1}"/>
                </c:ext>
              </c:extLst>
            </c:dLbl>
            <c:dLbl>
              <c:idx val="82"/>
              <c:tx>
                <c:rich>
                  <a:bodyPr/>
                  <a:lstStyle/>
                  <a:p>
                    <a:fld id="{BC0BB791-517D-4132-86C8-EC714A1850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A-8E3F-4D1B-A313-C02BEC0FDBD1}"/>
                </c:ext>
              </c:extLst>
            </c:dLbl>
            <c:dLbl>
              <c:idx val="83"/>
              <c:tx>
                <c:rich>
                  <a:bodyPr/>
                  <a:lstStyle/>
                  <a:p>
                    <a:fld id="{8372B6D7-2CF7-40C7-A94A-2F419940FA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B-8E3F-4D1B-A313-C02BEC0FDBD1}"/>
                </c:ext>
              </c:extLst>
            </c:dLbl>
            <c:dLbl>
              <c:idx val="84"/>
              <c:tx>
                <c:rich>
                  <a:bodyPr/>
                  <a:lstStyle/>
                  <a:p>
                    <a:fld id="{E689ED6B-8F2A-4BC3-B5D7-0FC062F2E6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C-8E3F-4D1B-A313-C02BEC0FDBD1}"/>
                </c:ext>
              </c:extLst>
            </c:dLbl>
            <c:dLbl>
              <c:idx val="85"/>
              <c:tx>
                <c:rich>
                  <a:bodyPr/>
                  <a:lstStyle/>
                  <a:p>
                    <a:fld id="{D2300CB0-0604-4241-8D0C-B9D3B75580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D-8E3F-4D1B-A313-C02BEC0FDBD1}"/>
                </c:ext>
              </c:extLst>
            </c:dLbl>
            <c:dLbl>
              <c:idx val="86"/>
              <c:tx>
                <c:rich>
                  <a:bodyPr/>
                  <a:lstStyle/>
                  <a:p>
                    <a:fld id="{03AAA7F6-3125-4608-B0D4-4A02DAA560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E-8E3F-4D1B-A313-C02BEC0FDBD1}"/>
                </c:ext>
              </c:extLst>
            </c:dLbl>
            <c:dLbl>
              <c:idx val="87"/>
              <c:tx>
                <c:rich>
                  <a:bodyPr/>
                  <a:lstStyle/>
                  <a:p>
                    <a:fld id="{CE124ED4-A804-42F0-971C-680E88160F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F-8E3F-4D1B-A313-C02BEC0FDBD1}"/>
                </c:ext>
              </c:extLst>
            </c:dLbl>
            <c:dLbl>
              <c:idx val="88"/>
              <c:tx>
                <c:rich>
                  <a:bodyPr/>
                  <a:lstStyle/>
                  <a:p>
                    <a:fld id="{0DDDF5E1-85A5-41F4-82CB-6F02A020AA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0-8E3F-4D1B-A313-C02BEC0FDBD1}"/>
                </c:ext>
              </c:extLst>
            </c:dLbl>
            <c:dLbl>
              <c:idx val="89"/>
              <c:tx>
                <c:rich>
                  <a:bodyPr/>
                  <a:lstStyle/>
                  <a:p>
                    <a:fld id="{423C0789-C807-4C0B-B20D-B62122AB2A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1-8E3F-4D1B-A313-C02BEC0FDBD1}"/>
                </c:ext>
              </c:extLst>
            </c:dLbl>
            <c:dLbl>
              <c:idx val="90"/>
              <c:tx>
                <c:rich>
                  <a:bodyPr/>
                  <a:lstStyle/>
                  <a:p>
                    <a:fld id="{28929FAB-D644-4F98-ACAF-020CE08799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2-8E3F-4D1B-A313-C02BEC0FDBD1}"/>
                </c:ext>
              </c:extLst>
            </c:dLbl>
            <c:dLbl>
              <c:idx val="91"/>
              <c:tx>
                <c:rich>
                  <a:bodyPr/>
                  <a:lstStyle/>
                  <a:p>
                    <a:fld id="{09D9E224-E890-49B6-A88C-E09959B842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3-8E3F-4D1B-A313-C02BEC0FDBD1}"/>
                </c:ext>
              </c:extLst>
            </c:dLbl>
            <c:dLbl>
              <c:idx val="92"/>
              <c:tx>
                <c:rich>
                  <a:bodyPr/>
                  <a:lstStyle/>
                  <a:p>
                    <a:fld id="{F835985B-8878-48F2-A966-48EDB50E4C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4-8E3F-4D1B-A313-C02BEC0FDBD1}"/>
                </c:ext>
              </c:extLst>
            </c:dLbl>
            <c:dLbl>
              <c:idx val="93"/>
              <c:tx>
                <c:rich>
                  <a:bodyPr/>
                  <a:lstStyle/>
                  <a:p>
                    <a:fld id="{AA731E17-0481-4674-8800-920EF24FD5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5-8E3F-4D1B-A313-C02BEC0FDBD1}"/>
                </c:ext>
              </c:extLst>
            </c:dLbl>
            <c:dLbl>
              <c:idx val="94"/>
              <c:tx>
                <c:rich>
                  <a:bodyPr/>
                  <a:lstStyle/>
                  <a:p>
                    <a:fld id="{FF729349-151C-4B36-B3A6-C7F7024690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6-8E3F-4D1B-A313-C02BEC0FDBD1}"/>
                </c:ext>
              </c:extLst>
            </c:dLbl>
            <c:dLbl>
              <c:idx val="95"/>
              <c:tx>
                <c:rich>
                  <a:bodyPr/>
                  <a:lstStyle/>
                  <a:p>
                    <a:fld id="{A12E4422-A3F9-49DD-B08B-63C68F4043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7-8E3F-4D1B-A313-C02BEC0FDBD1}"/>
                </c:ext>
              </c:extLst>
            </c:dLbl>
            <c:dLbl>
              <c:idx val="96"/>
              <c:tx>
                <c:rich>
                  <a:bodyPr/>
                  <a:lstStyle/>
                  <a:p>
                    <a:fld id="{CFF087A1-D57F-4F53-BAF0-A225F6A722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8-8E3F-4D1B-A313-C02BEC0FDBD1}"/>
                </c:ext>
              </c:extLst>
            </c:dLbl>
            <c:dLbl>
              <c:idx val="97"/>
              <c:tx>
                <c:rich>
                  <a:bodyPr/>
                  <a:lstStyle/>
                  <a:p>
                    <a:fld id="{46F498A4-8830-4746-9869-1488C2CB55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9-8E3F-4D1B-A313-C02BEC0FDBD1}"/>
                </c:ext>
              </c:extLst>
            </c:dLbl>
            <c:dLbl>
              <c:idx val="98"/>
              <c:tx>
                <c:rich>
                  <a:bodyPr/>
                  <a:lstStyle/>
                  <a:p>
                    <a:fld id="{F822D40F-6855-4623-BFB7-1EF7F7CFE7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A-8E3F-4D1B-A313-C02BEC0FDBD1}"/>
                </c:ext>
              </c:extLst>
            </c:dLbl>
            <c:dLbl>
              <c:idx val="99"/>
              <c:tx>
                <c:rich>
                  <a:bodyPr/>
                  <a:lstStyle/>
                  <a:p>
                    <a:fld id="{BCDB403B-54A3-4DA4-B0CF-7C45F15A00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B-8E3F-4D1B-A313-C02BEC0FDBD1}"/>
                </c:ext>
              </c:extLst>
            </c:dLbl>
            <c:dLbl>
              <c:idx val="100"/>
              <c:tx>
                <c:rich>
                  <a:bodyPr/>
                  <a:lstStyle/>
                  <a:p>
                    <a:fld id="{99BC89F7-5BC9-455B-8112-C7F20BE16D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C-8E3F-4D1B-A313-C02BEC0FDBD1}"/>
                </c:ext>
              </c:extLst>
            </c:dLbl>
            <c:dLbl>
              <c:idx val="101"/>
              <c:tx>
                <c:rich>
                  <a:bodyPr/>
                  <a:lstStyle/>
                  <a:p>
                    <a:fld id="{6E00715D-0FF1-48C1-A911-0A8249B482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D-8E3F-4D1B-A313-C02BEC0FDBD1}"/>
                </c:ext>
              </c:extLst>
            </c:dLbl>
            <c:dLbl>
              <c:idx val="102"/>
              <c:tx>
                <c:rich>
                  <a:bodyPr/>
                  <a:lstStyle/>
                  <a:p>
                    <a:fld id="{19096756-27E2-41E4-BB47-79BBFF7E91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E-8E3F-4D1B-A313-C02BEC0FDBD1}"/>
                </c:ext>
              </c:extLst>
            </c:dLbl>
            <c:dLbl>
              <c:idx val="103"/>
              <c:tx>
                <c:rich>
                  <a:bodyPr/>
                  <a:lstStyle/>
                  <a:p>
                    <a:fld id="{2D623CAC-4D06-4FAE-898A-0E0145511F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F-8E3F-4D1B-A313-C02BEC0FDBD1}"/>
                </c:ext>
              </c:extLst>
            </c:dLbl>
            <c:dLbl>
              <c:idx val="104"/>
              <c:tx>
                <c:rich>
                  <a:bodyPr/>
                  <a:lstStyle/>
                  <a:p>
                    <a:fld id="{78730D22-64E9-4EBC-AEA2-E26CD5A3A9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0-8E3F-4D1B-A313-C02BEC0FDBD1}"/>
                </c:ext>
              </c:extLst>
            </c:dLbl>
            <c:dLbl>
              <c:idx val="105"/>
              <c:tx>
                <c:rich>
                  <a:bodyPr/>
                  <a:lstStyle/>
                  <a:p>
                    <a:fld id="{65C1B970-0E3D-4403-A7EA-048AF75091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1-8E3F-4D1B-A313-C02BEC0FDBD1}"/>
                </c:ext>
              </c:extLst>
            </c:dLbl>
            <c:dLbl>
              <c:idx val="106"/>
              <c:tx>
                <c:rich>
                  <a:bodyPr/>
                  <a:lstStyle/>
                  <a:p>
                    <a:fld id="{E1DDF137-DB75-4B71-99DF-9CB0230AF6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2-8E3F-4D1B-A313-C02BEC0FDBD1}"/>
                </c:ext>
              </c:extLst>
            </c:dLbl>
            <c:dLbl>
              <c:idx val="107"/>
              <c:tx>
                <c:rich>
                  <a:bodyPr/>
                  <a:lstStyle/>
                  <a:p>
                    <a:fld id="{9EF63E02-733A-4461-831E-03075C5ED9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3-8E3F-4D1B-A313-C02BEC0FDBD1}"/>
                </c:ext>
              </c:extLst>
            </c:dLbl>
            <c:dLbl>
              <c:idx val="108"/>
              <c:tx>
                <c:rich>
                  <a:bodyPr/>
                  <a:lstStyle/>
                  <a:p>
                    <a:fld id="{31C90367-F598-49B9-A78E-F8DDE53595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4-8E3F-4D1B-A313-C02BEC0FDBD1}"/>
                </c:ext>
              </c:extLst>
            </c:dLbl>
            <c:dLbl>
              <c:idx val="109"/>
              <c:tx>
                <c:rich>
                  <a:bodyPr/>
                  <a:lstStyle/>
                  <a:p>
                    <a:fld id="{CF325944-3280-4916-B102-DDAD533F92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5-8E3F-4D1B-A313-C02BEC0FDBD1}"/>
                </c:ext>
              </c:extLst>
            </c:dLbl>
            <c:dLbl>
              <c:idx val="110"/>
              <c:tx>
                <c:rich>
                  <a:bodyPr/>
                  <a:lstStyle/>
                  <a:p>
                    <a:fld id="{68F5E013-9246-40AC-A7D8-FD49A47AEC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6-8E3F-4D1B-A313-C02BEC0FDBD1}"/>
                </c:ext>
              </c:extLst>
            </c:dLbl>
            <c:dLbl>
              <c:idx val="111"/>
              <c:tx>
                <c:rich>
                  <a:bodyPr/>
                  <a:lstStyle/>
                  <a:p>
                    <a:fld id="{8ADE135F-4138-4E71-A3A0-250E269BFD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7-8E3F-4D1B-A313-C02BEC0FDBD1}"/>
                </c:ext>
              </c:extLst>
            </c:dLbl>
            <c:dLbl>
              <c:idx val="112"/>
              <c:tx>
                <c:rich>
                  <a:bodyPr/>
                  <a:lstStyle/>
                  <a:p>
                    <a:fld id="{F660F3E1-0491-48AA-8DD3-0FA711626B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8-8E3F-4D1B-A313-C02BEC0FDBD1}"/>
                </c:ext>
              </c:extLst>
            </c:dLbl>
            <c:dLbl>
              <c:idx val="113"/>
              <c:tx>
                <c:rich>
                  <a:bodyPr/>
                  <a:lstStyle/>
                  <a:p>
                    <a:fld id="{C08C5961-194B-4ADD-86A2-B455BF161C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9-8E3F-4D1B-A313-C02BEC0FDBD1}"/>
                </c:ext>
              </c:extLst>
            </c:dLbl>
            <c:dLbl>
              <c:idx val="114"/>
              <c:tx>
                <c:rich>
                  <a:bodyPr/>
                  <a:lstStyle/>
                  <a:p>
                    <a:fld id="{01C600DA-40A0-4A53-B9DB-23FE47A24A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A-8E3F-4D1B-A313-C02BEC0FDBD1}"/>
                </c:ext>
              </c:extLst>
            </c:dLbl>
            <c:dLbl>
              <c:idx val="115"/>
              <c:tx>
                <c:rich>
                  <a:bodyPr/>
                  <a:lstStyle/>
                  <a:p>
                    <a:fld id="{8DAD48AA-1611-4625-B1AC-AD7490FDE9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D$2:$D$117</c:f>
              <c:numCache>
                <c:formatCode>General</c:formatCode>
                <c:ptCount val="116"/>
                <c:pt idx="0">
                  <c:v>1</c:v>
                </c:pt>
                <c:pt idx="1">
                  <c:v>1</c:v>
                </c:pt>
                <c:pt idx="2">
                  <c:v>1</c:v>
                </c:pt>
                <c:pt idx="3">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15" formatCode="0">
                  <c:v>1</c:v>
                </c:pt>
                <c:pt idx="16" formatCode="0">
                  <c:v>1</c:v>
                </c:pt>
                <c:pt idx="17" formatCode="0">
                  <c:v>2</c:v>
                </c:pt>
                <c:pt idx="18" formatCode="0">
                  <c:v>1</c:v>
                </c:pt>
                <c:pt idx="19" formatCode="0">
                  <c:v>2</c:v>
                </c:pt>
                <c:pt idx="20" formatCode="0">
                  <c:v>2</c:v>
                </c:pt>
                <c:pt idx="21" formatCode="0">
                  <c:v>2</c:v>
                </c:pt>
                <c:pt idx="22" formatCode="0">
                  <c:v>2</c:v>
                </c:pt>
                <c:pt idx="23" formatCode="0">
                  <c:v>2</c:v>
                </c:pt>
                <c:pt idx="24" formatCode="0">
                  <c:v>2</c:v>
                </c:pt>
                <c:pt idx="25" formatCode="0">
                  <c:v>2</c:v>
                </c:pt>
                <c:pt idx="26" formatCode="0">
                  <c:v>2</c:v>
                </c:pt>
                <c:pt idx="27">
                  <c:v>2</c:v>
                </c:pt>
                <c:pt idx="28">
                  <c:v>2</c:v>
                </c:pt>
                <c:pt idx="29">
                  <c:v>2</c:v>
                </c:pt>
                <c:pt idx="30">
                  <c:v>2</c:v>
                </c:pt>
                <c:pt idx="31">
                  <c:v>3</c:v>
                </c:pt>
                <c:pt idx="32">
                  <c:v>3</c:v>
                </c:pt>
                <c:pt idx="33">
                  <c:v>3</c:v>
                </c:pt>
                <c:pt idx="34">
                  <c:v>3</c:v>
                </c:pt>
                <c:pt idx="35">
                  <c:v>3</c:v>
                </c:pt>
                <c:pt idx="36">
                  <c:v>3</c:v>
                </c:pt>
                <c:pt idx="37">
                  <c:v>3</c:v>
                </c:pt>
                <c:pt idx="38">
                  <c:v>3</c:v>
                </c:pt>
                <c:pt idx="39">
                  <c:v>3</c:v>
                </c:pt>
                <c:pt idx="40">
                  <c:v>3</c:v>
                </c:pt>
                <c:pt idx="41">
                  <c:v>3</c:v>
                </c:pt>
                <c:pt idx="42">
                  <c:v>3</c:v>
                </c:pt>
                <c:pt idx="43">
                  <c:v>3</c:v>
                </c:pt>
                <c:pt idx="44">
                  <c:v>4</c:v>
                </c:pt>
                <c:pt idx="45">
                  <c:v>4</c:v>
                </c:pt>
                <c:pt idx="46">
                  <c:v>4</c:v>
                </c:pt>
                <c:pt idx="47">
                  <c:v>4</c:v>
                </c:pt>
                <c:pt idx="48">
                  <c:v>4</c:v>
                </c:pt>
                <c:pt idx="49">
                  <c:v>4</c:v>
                </c:pt>
                <c:pt idx="50">
                  <c:v>4</c:v>
                </c:pt>
                <c:pt idx="51">
                  <c:v>4</c:v>
                </c:pt>
                <c:pt idx="52">
                  <c:v>4</c:v>
                </c:pt>
                <c:pt idx="53">
                  <c:v>4</c:v>
                </c:pt>
                <c:pt idx="54">
                  <c:v>4</c:v>
                </c:pt>
                <c:pt idx="55">
                  <c:v>4</c:v>
                </c:pt>
                <c:pt idx="56">
                  <c:v>4</c:v>
                </c:pt>
                <c:pt idx="57">
                  <c:v>4</c:v>
                </c:pt>
                <c:pt idx="58">
                  <c:v>4</c:v>
                </c:pt>
                <c:pt idx="59">
                  <c:v>4</c:v>
                </c:pt>
                <c:pt idx="60">
                  <c:v>4</c:v>
                </c:pt>
                <c:pt idx="61">
                  <c:v>4</c:v>
                </c:pt>
                <c:pt idx="62">
                  <c:v>4</c:v>
                </c:pt>
                <c:pt idx="63">
                  <c:v>4</c:v>
                </c:pt>
                <c:pt idx="64">
                  <c:v>4</c:v>
                </c:pt>
                <c:pt idx="65">
                  <c:v>4</c:v>
                </c:pt>
                <c:pt idx="66">
                  <c:v>4</c:v>
                </c:pt>
                <c:pt idx="67">
                  <c:v>4</c:v>
                </c:pt>
                <c:pt idx="68">
                  <c:v>5</c:v>
                </c:pt>
                <c:pt idx="69">
                  <c:v>5</c:v>
                </c:pt>
                <c:pt idx="70">
                  <c:v>5</c:v>
                </c:pt>
                <c:pt idx="71">
                  <c:v>5</c:v>
                </c:pt>
                <c:pt idx="72">
                  <c:v>5</c:v>
                </c:pt>
                <c:pt idx="73">
                  <c:v>5</c:v>
                </c:pt>
                <c:pt idx="74">
                  <c:v>5</c:v>
                </c:pt>
                <c:pt idx="75">
                  <c:v>5</c:v>
                </c:pt>
                <c:pt idx="76">
                  <c:v>5</c:v>
                </c:pt>
                <c:pt idx="77">
                  <c:v>5</c:v>
                </c:pt>
                <c:pt idx="78">
                  <c:v>5</c:v>
                </c:pt>
                <c:pt idx="79">
                  <c:v>5</c:v>
                </c:pt>
                <c:pt idx="80">
                  <c:v>6</c:v>
                </c:pt>
                <c:pt idx="81">
                  <c:v>6</c:v>
                </c:pt>
                <c:pt idx="82">
                  <c:v>6</c:v>
                </c:pt>
                <c:pt idx="83">
                  <c:v>6</c:v>
                </c:pt>
                <c:pt idx="84">
                  <c:v>6</c:v>
                </c:pt>
                <c:pt idx="85">
                  <c:v>6</c:v>
                </c:pt>
                <c:pt idx="86">
                  <c:v>6</c:v>
                </c:pt>
                <c:pt idx="87">
                  <c:v>6</c:v>
                </c:pt>
                <c:pt idx="88">
                  <c:v>6</c:v>
                </c:pt>
                <c:pt idx="89">
                  <c:v>6</c:v>
                </c:pt>
                <c:pt idx="90">
                  <c:v>6</c:v>
                </c:pt>
                <c:pt idx="91">
                  <c:v>6</c:v>
                </c:pt>
                <c:pt idx="92">
                  <c:v>6</c:v>
                </c:pt>
                <c:pt idx="93">
                  <c:v>7</c:v>
                </c:pt>
                <c:pt idx="94">
                  <c:v>7</c:v>
                </c:pt>
                <c:pt idx="95">
                  <c:v>7</c:v>
                </c:pt>
                <c:pt idx="96">
                  <c:v>7</c:v>
                </c:pt>
                <c:pt idx="97">
                  <c:v>7</c:v>
                </c:pt>
                <c:pt idx="98">
                  <c:v>7</c:v>
                </c:pt>
                <c:pt idx="99">
                  <c:v>7</c:v>
                </c:pt>
                <c:pt idx="100">
                  <c:v>7</c:v>
                </c:pt>
                <c:pt idx="101">
                  <c:v>7</c:v>
                </c:pt>
                <c:pt idx="102">
                  <c:v>7</c:v>
                </c:pt>
                <c:pt idx="103">
                  <c:v>7</c:v>
                </c:pt>
                <c:pt idx="104">
                  <c:v>7</c:v>
                </c:pt>
                <c:pt idx="105">
                  <c:v>8</c:v>
                </c:pt>
                <c:pt idx="106">
                  <c:v>8</c:v>
                </c:pt>
                <c:pt idx="107">
                  <c:v>8</c:v>
                </c:pt>
                <c:pt idx="108">
                  <c:v>8</c:v>
                </c:pt>
                <c:pt idx="109">
                  <c:v>8</c:v>
                </c:pt>
                <c:pt idx="110">
                  <c:v>8</c:v>
                </c:pt>
                <c:pt idx="111">
                  <c:v>8</c:v>
                </c:pt>
                <c:pt idx="112">
                  <c:v>8</c:v>
                </c:pt>
                <c:pt idx="113">
                  <c:v>8</c:v>
                </c:pt>
                <c:pt idx="114">
                  <c:v>8</c:v>
                </c:pt>
                <c:pt idx="115">
                  <c:v>8</c:v>
                </c:pt>
              </c:numCache>
            </c:numRef>
          </c:xVal>
          <c:yVal>
            <c:numRef>
              <c:f>Sheet1!$B$2:$B$117</c:f>
              <c:numCache>
                <c:formatCode>0%;\-0%;0%</c:formatCode>
                <c:ptCount val="116"/>
                <c:pt idx="0">
                  <c:v>0.33537119853666614</c:v>
                </c:pt>
                <c:pt idx="1">
                  <c:v>1.3110575620733895</c:v>
                </c:pt>
                <c:pt idx="2">
                  <c:v>0.12281129115912857</c:v>
                </c:pt>
                <c:pt idx="3">
                  <c:v>0.52740423038450002</c:v>
                </c:pt>
                <c:pt idx="4">
                  <c:v>0.23394614817291179</c:v>
                </c:pt>
                <c:pt idx="5">
                  <c:v>0.40424723346828612</c:v>
                </c:pt>
                <c:pt idx="6">
                  <c:v>1.0381094546405629</c:v>
                </c:pt>
                <c:pt idx="7">
                  <c:v>0.39464140468177511</c:v>
                </c:pt>
                <c:pt idx="8">
                  <c:v>1.0804710500490677</c:v>
                </c:pt>
                <c:pt idx="9">
                  <c:v>0.29756844074137051</c:v>
                </c:pt>
                <c:pt idx="10">
                  <c:v>0.34245897269923464</c:v>
                </c:pt>
                <c:pt idx="11">
                  <c:v>0.64309733708988459</c:v>
                </c:pt>
                <c:pt idx="12">
                  <c:v>7.6182838813151563E-3</c:v>
                </c:pt>
                <c:pt idx="13">
                  <c:v>7.2727272727272724E-2</c:v>
                </c:pt>
                <c:pt idx="14">
                  <c:v>9.4564818215203822E-2</c:v>
                </c:pt>
                <c:pt idx="15">
                  <c:v>0.97732228521587439</c:v>
                </c:pt>
                <c:pt idx="16">
                  <c:v>0.12916246215943492</c:v>
                </c:pt>
                <c:pt idx="17">
                  <c:v>0</c:v>
                </c:pt>
                <c:pt idx="18">
                  <c:v>0</c:v>
                </c:pt>
                <c:pt idx="19">
                  <c:v>0.67651164854893464</c:v>
                </c:pt>
                <c:pt idx="20">
                  <c:v>1.189595592135231</c:v>
                </c:pt>
                <c:pt idx="21">
                  <c:v>0.17901899226560691</c:v>
                </c:pt>
                <c:pt idx="22">
                  <c:v>1.1122736936699982</c:v>
                </c:pt>
                <c:pt idx="23">
                  <c:v>0.85910295216250121</c:v>
                </c:pt>
                <c:pt idx="24">
                  <c:v>0.98060814099444116</c:v>
                </c:pt>
                <c:pt idx="25">
                  <c:v>0.54450632951838152</c:v>
                </c:pt>
                <c:pt idx="26">
                  <c:v>0.56422668334309645</c:v>
                </c:pt>
                <c:pt idx="27">
                  <c:v>0.30859076520030565</c:v>
                </c:pt>
                <c:pt idx="28">
                  <c:v>-5.088408644400786E-2</c:v>
                </c:pt>
                <c:pt idx="29">
                  <c:v>0.48655046266408436</c:v>
                </c:pt>
                <c:pt idx="30">
                  <c:v>5.8252427184466021E-2</c:v>
                </c:pt>
                <c:pt idx="31">
                  <c:v>0.57528207397007924</c:v>
                </c:pt>
                <c:pt idx="32">
                  <c:v>0</c:v>
                </c:pt>
                <c:pt idx="33">
                  <c:v>0.34969330141134647</c:v>
                </c:pt>
                <c:pt idx="34">
                  <c:v>9.3618913842698215E-2</c:v>
                </c:pt>
                <c:pt idx="35">
                  <c:v>0.39086369781125707</c:v>
                </c:pt>
                <c:pt idx="36">
                  <c:v>0.53102946813067886</c:v>
                </c:pt>
                <c:pt idx="37">
                  <c:v>0.30671829359418518</c:v>
                </c:pt>
                <c:pt idx="38">
                  <c:v>4.7373658397896083E-2</c:v>
                </c:pt>
                <c:pt idx="39">
                  <c:v>9.8011706773204491E-2</c:v>
                </c:pt>
                <c:pt idx="40">
                  <c:v>5.9622372365136428E-2</c:v>
                </c:pt>
                <c:pt idx="41">
                  <c:v>0.3325076129317282</c:v>
                </c:pt>
                <c:pt idx="42">
                  <c:v>1.6811941832822908E-2</c:v>
                </c:pt>
                <c:pt idx="43">
                  <c:v>0.13383247543284979</c:v>
                </c:pt>
                <c:pt idx="44">
                  <c:v>0.18520227334689512</c:v>
                </c:pt>
                <c:pt idx="45">
                  <c:v>0.15534287581423784</c:v>
                </c:pt>
                <c:pt idx="46">
                  <c:v>0.27216813979063992</c:v>
                </c:pt>
                <c:pt idx="47">
                  <c:v>0.14428544647878522</c:v>
                </c:pt>
                <c:pt idx="48">
                  <c:v>8.9574245868403263E-2</c:v>
                </c:pt>
                <c:pt idx="49">
                  <c:v>0.29961779961779961</c:v>
                </c:pt>
                <c:pt idx="50">
                  <c:v>0.32942695401728078</c:v>
                </c:pt>
                <c:pt idx="51">
                  <c:v>0.79519295870006768</c:v>
                </c:pt>
                <c:pt idx="52">
                  <c:v>5.1974626560261916E-2</c:v>
                </c:pt>
                <c:pt idx="53">
                  <c:v>-2.5057825751734774E-2</c:v>
                </c:pt>
                <c:pt idx="54">
                  <c:v>-0.28899835796387519</c:v>
                </c:pt>
                <c:pt idx="55">
                  <c:v>0</c:v>
                </c:pt>
                <c:pt idx="56" formatCode="0.00%">
                  <c:v>0.18520227334689512</c:v>
                </c:pt>
                <c:pt idx="57" formatCode="0.00%">
                  <c:v>0.15534287581423784</c:v>
                </c:pt>
                <c:pt idx="58" formatCode="0.00%">
                  <c:v>0.27216813979063992</c:v>
                </c:pt>
                <c:pt idx="59" formatCode="0.00%">
                  <c:v>0.14428544647878522</c:v>
                </c:pt>
                <c:pt idx="60" formatCode="0.00%">
                  <c:v>8.9574245868403263E-2</c:v>
                </c:pt>
                <c:pt idx="61" formatCode="0.00%">
                  <c:v>0.29961779961779961</c:v>
                </c:pt>
                <c:pt idx="62" formatCode="0.00%">
                  <c:v>0.32942695401728078</c:v>
                </c:pt>
                <c:pt idx="63" formatCode="0.00%">
                  <c:v>0.79519295870006768</c:v>
                </c:pt>
                <c:pt idx="64" formatCode="0.00%">
                  <c:v>5.1974626560261916E-2</c:v>
                </c:pt>
                <c:pt idx="65" formatCode="0.00%">
                  <c:v>-2.5057825751734774E-2</c:v>
                </c:pt>
                <c:pt idx="66" formatCode="0.00%">
                  <c:v>-0.28899835796387519</c:v>
                </c:pt>
                <c:pt idx="67" formatCode="0.00%">
                  <c:v>0</c:v>
                </c:pt>
                <c:pt idx="68" formatCode="General">
                  <c:v>0.18520227334689512</c:v>
                </c:pt>
                <c:pt idx="69" formatCode="General">
                  <c:v>0.15534287581423784</c:v>
                </c:pt>
                <c:pt idx="70" formatCode="General">
                  <c:v>0.27216813979063992</c:v>
                </c:pt>
                <c:pt idx="71" formatCode="General">
                  <c:v>0.14428544647878522</c:v>
                </c:pt>
                <c:pt idx="72" formatCode="General">
                  <c:v>8.9574245868403263E-2</c:v>
                </c:pt>
                <c:pt idx="73" formatCode="General">
                  <c:v>0.29961779961779961</c:v>
                </c:pt>
                <c:pt idx="74" formatCode="General">
                  <c:v>0.32942695401728078</c:v>
                </c:pt>
                <c:pt idx="75" formatCode="General">
                  <c:v>0.79519295870006768</c:v>
                </c:pt>
                <c:pt idx="76" formatCode="General">
                  <c:v>5.1974626560261916E-2</c:v>
                </c:pt>
                <c:pt idx="77" formatCode="General">
                  <c:v>-2.5057825751734774E-2</c:v>
                </c:pt>
                <c:pt idx="78" formatCode="General">
                  <c:v>-0.28899835796387519</c:v>
                </c:pt>
                <c:pt idx="79" formatCode="General">
                  <c:v>0</c:v>
                </c:pt>
                <c:pt idx="80" formatCode="General">
                  <c:v>0</c:v>
                </c:pt>
                <c:pt idx="81" formatCode="General">
                  <c:v>0.18520227334689512</c:v>
                </c:pt>
                <c:pt idx="82" formatCode="General">
                  <c:v>0.15534287581423784</c:v>
                </c:pt>
                <c:pt idx="83" formatCode="General">
                  <c:v>0.27216813979063992</c:v>
                </c:pt>
                <c:pt idx="84" formatCode="General">
                  <c:v>0.14428544647878522</c:v>
                </c:pt>
                <c:pt idx="85" formatCode="General">
                  <c:v>8.9574245868403263E-2</c:v>
                </c:pt>
                <c:pt idx="86" formatCode="General">
                  <c:v>0.29961779961779961</c:v>
                </c:pt>
                <c:pt idx="87" formatCode="General">
                  <c:v>0.32942695401728078</c:v>
                </c:pt>
                <c:pt idx="88" formatCode="General">
                  <c:v>0.79519295870006768</c:v>
                </c:pt>
                <c:pt idx="89" formatCode="General">
                  <c:v>5.1974626560261916E-2</c:v>
                </c:pt>
                <c:pt idx="90" formatCode="General">
                  <c:v>-2.5057825751734774E-2</c:v>
                </c:pt>
                <c:pt idx="91" formatCode="General">
                  <c:v>-0.28899835796387519</c:v>
                </c:pt>
                <c:pt idx="92" formatCode="General">
                  <c:v>0</c:v>
                </c:pt>
                <c:pt idx="93" formatCode="General">
                  <c:v>0.18520227334689512</c:v>
                </c:pt>
                <c:pt idx="94" formatCode="General">
                  <c:v>0.15534287581423784</c:v>
                </c:pt>
                <c:pt idx="95" formatCode="General">
                  <c:v>0.27216813979063992</c:v>
                </c:pt>
                <c:pt idx="96" formatCode="General">
                  <c:v>0.14428544647878522</c:v>
                </c:pt>
                <c:pt idx="97" formatCode="General">
                  <c:v>8.9574245868403263E-2</c:v>
                </c:pt>
                <c:pt idx="98" formatCode="General">
                  <c:v>0.29961779961779961</c:v>
                </c:pt>
                <c:pt idx="99" formatCode="General">
                  <c:v>0.32942695401728078</c:v>
                </c:pt>
                <c:pt idx="100" formatCode="General">
                  <c:v>0.79519295870006768</c:v>
                </c:pt>
                <c:pt idx="101" formatCode="General">
                  <c:v>5.1974626560261916E-2</c:v>
                </c:pt>
                <c:pt idx="102" formatCode="General">
                  <c:v>-2.5057825751734774E-2</c:v>
                </c:pt>
                <c:pt idx="103" formatCode="General">
                  <c:v>-0.28899835796387519</c:v>
                </c:pt>
                <c:pt idx="104" formatCode="General">
                  <c:v>0</c:v>
                </c:pt>
                <c:pt idx="105" formatCode="General">
                  <c:v>0.15534287581423784</c:v>
                </c:pt>
                <c:pt idx="106" formatCode="General">
                  <c:v>0.27216813979063992</c:v>
                </c:pt>
                <c:pt idx="107" formatCode="General">
                  <c:v>0.14428544647878522</c:v>
                </c:pt>
                <c:pt idx="108" formatCode="General">
                  <c:v>8.9574245868403263E-2</c:v>
                </c:pt>
                <c:pt idx="109" formatCode="General">
                  <c:v>0.29961779961779961</c:v>
                </c:pt>
                <c:pt idx="110" formatCode="General">
                  <c:v>0.32942695401728078</c:v>
                </c:pt>
                <c:pt idx="111" formatCode="General">
                  <c:v>0.79519295870006768</c:v>
                </c:pt>
                <c:pt idx="112" formatCode="General">
                  <c:v>5.1974626560261916E-2</c:v>
                </c:pt>
                <c:pt idx="113" formatCode="General">
                  <c:v>-2.5057825751734774E-2</c:v>
                </c:pt>
                <c:pt idx="114" formatCode="General">
                  <c:v>-0.28899835796387519</c:v>
                </c:pt>
                <c:pt idx="115" formatCode="General">
                  <c:v>0</c:v>
                </c:pt>
              </c:numCache>
            </c:numRef>
          </c:yVal>
          <c:bubbleSize>
            <c:numRef>
              <c:f>Sheet1!$C$2:$C$117</c:f>
              <c:numCache>
                <c:formatCode>0%;\-0%;0%</c:formatCode>
                <c:ptCount val="116"/>
                <c:pt idx="0">
                  <c:v>4111084</c:v>
                </c:pt>
                <c:pt idx="1">
                  <c:v>1160533</c:v>
                </c:pt>
                <c:pt idx="2">
                  <c:v>1117212</c:v>
                </c:pt>
                <c:pt idx="3">
                  <c:v>504428</c:v>
                </c:pt>
                <c:pt idx="4">
                  <c:v>459435</c:v>
                </c:pt>
                <c:pt idx="5">
                  <c:v>386077</c:v>
                </c:pt>
                <c:pt idx="6">
                  <c:v>277647</c:v>
                </c:pt>
                <c:pt idx="7">
                  <c:v>222216</c:v>
                </c:pt>
                <c:pt idx="8">
                  <c:v>108739</c:v>
                </c:pt>
                <c:pt idx="9">
                  <c:v>100141</c:v>
                </c:pt>
                <c:pt idx="10">
                  <c:v>18851</c:v>
                </c:pt>
                <c:pt idx="11">
                  <c:v>13981</c:v>
                </c:pt>
                <c:pt idx="12">
                  <c:v>10864</c:v>
                </c:pt>
                <c:pt idx="13">
                  <c:v>7717</c:v>
                </c:pt>
                <c:pt idx="14">
                  <c:v>7439</c:v>
                </c:pt>
                <c:pt idx="15">
                  <c:v>4428</c:v>
                </c:pt>
                <c:pt idx="16">
                  <c:v>1120</c:v>
                </c:pt>
                <c:pt idx="17">
                  <c:v>21</c:v>
                </c:pt>
                <c:pt idx="18">
                  <c:v>0</c:v>
                </c:pt>
                <c:pt idx="19">
                  <c:v>12037304</c:v>
                </c:pt>
                <c:pt idx="20">
                  <c:v>5124041</c:v>
                </c:pt>
                <c:pt idx="21">
                  <c:v>4271666</c:v>
                </c:pt>
                <c:pt idx="22">
                  <c:v>1061364</c:v>
                </c:pt>
                <c:pt idx="23">
                  <c:v>786468</c:v>
                </c:pt>
                <c:pt idx="24">
                  <c:v>606283</c:v>
                </c:pt>
                <c:pt idx="25">
                  <c:v>479058</c:v>
                </c:pt>
                <c:pt idx="26">
                  <c:v>306437</c:v>
                </c:pt>
                <c:pt idx="27">
                  <c:v>83930</c:v>
                </c:pt>
                <c:pt idx="28">
                  <c:v>32553</c:v>
                </c:pt>
                <c:pt idx="29">
                  <c:v>24613</c:v>
                </c:pt>
                <c:pt idx="30">
                  <c:v>42</c:v>
                </c:pt>
                <c:pt idx="31">
                  <c:v>16067456</c:v>
                </c:pt>
                <c:pt idx="32">
                  <c:v>0</c:v>
                </c:pt>
                <c:pt idx="33">
                  <c:v>2257543</c:v>
                </c:pt>
                <c:pt idx="34">
                  <c:v>350113</c:v>
                </c:pt>
                <c:pt idx="35">
                  <c:v>238922</c:v>
                </c:pt>
                <c:pt idx="36">
                  <c:v>178620</c:v>
                </c:pt>
                <c:pt idx="37">
                  <c:v>98148</c:v>
                </c:pt>
                <c:pt idx="38">
                  <c:v>76752</c:v>
                </c:pt>
                <c:pt idx="39">
                  <c:v>59927</c:v>
                </c:pt>
                <c:pt idx="40">
                  <c:v>59154</c:v>
                </c:pt>
                <c:pt idx="41">
                  <c:v>58860</c:v>
                </c:pt>
                <c:pt idx="42">
                  <c:v>53214</c:v>
                </c:pt>
                <c:pt idx="43">
                  <c:v>45806</c:v>
                </c:pt>
                <c:pt idx="44">
                  <c:v>33868</c:v>
                </c:pt>
                <c:pt idx="45">
                  <c:v>28590</c:v>
                </c:pt>
                <c:pt idx="46">
                  <c:v>26827</c:v>
                </c:pt>
                <c:pt idx="47">
                  <c:v>15746</c:v>
                </c:pt>
                <c:pt idx="48">
                  <c:v>10871</c:v>
                </c:pt>
                <c:pt idx="49">
                  <c:v>10018</c:v>
                </c:pt>
                <c:pt idx="50">
                  <c:v>4962</c:v>
                </c:pt>
                <c:pt idx="51">
                  <c:v>4865</c:v>
                </c:pt>
                <c:pt idx="52">
                  <c:v>3900</c:v>
                </c:pt>
                <c:pt idx="53">
                  <c:v>1677</c:v>
                </c:pt>
                <c:pt idx="54">
                  <c:v>297</c:v>
                </c:pt>
                <c:pt idx="55">
                  <c:v>0</c:v>
                </c:pt>
                <c:pt idx="56" formatCode="General">
                  <c:v>33868</c:v>
                </c:pt>
                <c:pt idx="57" formatCode="General">
                  <c:v>28590</c:v>
                </c:pt>
                <c:pt idx="58" formatCode="General">
                  <c:v>26827</c:v>
                </c:pt>
                <c:pt idx="59" formatCode="General">
                  <c:v>15746</c:v>
                </c:pt>
                <c:pt idx="60" formatCode="General">
                  <c:v>10871</c:v>
                </c:pt>
                <c:pt idx="61" formatCode="General">
                  <c:v>10018</c:v>
                </c:pt>
                <c:pt idx="62" formatCode="General">
                  <c:v>4962</c:v>
                </c:pt>
                <c:pt idx="63" formatCode="General">
                  <c:v>4865</c:v>
                </c:pt>
                <c:pt idx="64" formatCode="General">
                  <c:v>3900</c:v>
                </c:pt>
                <c:pt idx="65" formatCode="General">
                  <c:v>1677</c:v>
                </c:pt>
                <c:pt idx="66" formatCode="General">
                  <c:v>297</c:v>
                </c:pt>
                <c:pt idx="67" formatCode="General">
                  <c:v>0</c:v>
                </c:pt>
                <c:pt idx="68" formatCode="General">
                  <c:v>33868</c:v>
                </c:pt>
                <c:pt idx="69" formatCode="General">
                  <c:v>28590</c:v>
                </c:pt>
                <c:pt idx="70" formatCode="General">
                  <c:v>26827</c:v>
                </c:pt>
                <c:pt idx="71" formatCode="General">
                  <c:v>15746</c:v>
                </c:pt>
                <c:pt idx="72" formatCode="General">
                  <c:v>10871</c:v>
                </c:pt>
                <c:pt idx="73" formatCode="General">
                  <c:v>10018</c:v>
                </c:pt>
                <c:pt idx="74" formatCode="General">
                  <c:v>4962</c:v>
                </c:pt>
                <c:pt idx="75" formatCode="General">
                  <c:v>4865</c:v>
                </c:pt>
                <c:pt idx="76" formatCode="General">
                  <c:v>3900</c:v>
                </c:pt>
                <c:pt idx="77" formatCode="General">
                  <c:v>1677</c:v>
                </c:pt>
                <c:pt idx="78" formatCode="General">
                  <c:v>297</c:v>
                </c:pt>
                <c:pt idx="79" formatCode="General">
                  <c:v>0</c:v>
                </c:pt>
                <c:pt idx="80" formatCode="General">
                  <c:v>0</c:v>
                </c:pt>
                <c:pt idx="81" formatCode="General">
                  <c:v>33868</c:v>
                </c:pt>
                <c:pt idx="82" formatCode="General">
                  <c:v>28590</c:v>
                </c:pt>
                <c:pt idx="83" formatCode="General">
                  <c:v>26827</c:v>
                </c:pt>
                <c:pt idx="84" formatCode="General">
                  <c:v>15746</c:v>
                </c:pt>
                <c:pt idx="85" formatCode="General">
                  <c:v>10871</c:v>
                </c:pt>
                <c:pt idx="86" formatCode="General">
                  <c:v>10018</c:v>
                </c:pt>
                <c:pt idx="87" formatCode="General">
                  <c:v>4962</c:v>
                </c:pt>
                <c:pt idx="88" formatCode="General">
                  <c:v>4865</c:v>
                </c:pt>
                <c:pt idx="89" formatCode="General">
                  <c:v>3900</c:v>
                </c:pt>
                <c:pt idx="90" formatCode="General">
                  <c:v>1677</c:v>
                </c:pt>
                <c:pt idx="91" formatCode="General">
                  <c:v>297</c:v>
                </c:pt>
                <c:pt idx="92" formatCode="General">
                  <c:v>0</c:v>
                </c:pt>
                <c:pt idx="93" formatCode="General">
                  <c:v>33868</c:v>
                </c:pt>
                <c:pt idx="94" formatCode="General">
                  <c:v>28590</c:v>
                </c:pt>
                <c:pt idx="95" formatCode="General">
                  <c:v>26827</c:v>
                </c:pt>
                <c:pt idx="96" formatCode="General">
                  <c:v>15746</c:v>
                </c:pt>
                <c:pt idx="97" formatCode="General">
                  <c:v>10871</c:v>
                </c:pt>
                <c:pt idx="98" formatCode="General">
                  <c:v>10018</c:v>
                </c:pt>
                <c:pt idx="99" formatCode="General">
                  <c:v>4962</c:v>
                </c:pt>
                <c:pt idx="100" formatCode="General">
                  <c:v>4865</c:v>
                </c:pt>
                <c:pt idx="101" formatCode="General">
                  <c:v>3900</c:v>
                </c:pt>
                <c:pt idx="102" formatCode="General">
                  <c:v>1677</c:v>
                </c:pt>
                <c:pt idx="103" formatCode="General">
                  <c:v>297</c:v>
                </c:pt>
                <c:pt idx="104" formatCode="General">
                  <c:v>0</c:v>
                </c:pt>
                <c:pt idx="105" formatCode="General">
                  <c:v>28590</c:v>
                </c:pt>
                <c:pt idx="106" formatCode="General">
                  <c:v>26827</c:v>
                </c:pt>
                <c:pt idx="107" formatCode="General">
                  <c:v>15746</c:v>
                </c:pt>
                <c:pt idx="108" formatCode="General">
                  <c:v>10871</c:v>
                </c:pt>
                <c:pt idx="109" formatCode="General">
                  <c:v>10018</c:v>
                </c:pt>
                <c:pt idx="110" formatCode="General">
                  <c:v>4962</c:v>
                </c:pt>
                <c:pt idx="111" formatCode="General">
                  <c:v>4865</c:v>
                </c:pt>
                <c:pt idx="112" formatCode="General">
                  <c:v>3900</c:v>
                </c:pt>
                <c:pt idx="113" formatCode="General">
                  <c:v>1677</c:v>
                </c:pt>
                <c:pt idx="114" formatCode="General">
                  <c:v>297</c:v>
                </c:pt>
                <c:pt idx="115" formatCode="General">
                  <c:v>0</c:v>
                </c:pt>
              </c:numCache>
            </c:numRef>
          </c:bubbleSize>
          <c:bubble3D val="0"/>
          <c:extLst>
            <c:ext xmlns:c15="http://schemas.microsoft.com/office/drawing/2012/chart" uri="{02D57815-91ED-43cb-92C2-25804820EDAC}">
              <c15:datalabelsRange>
                <c15:f>Sheet1!$E$2:$E$150</c15:f>
                <c15:dlblRangeCache>
                  <c:ptCount val="149"/>
                  <c:pt idx="0">
                    <c:v>Findus</c:v>
                  </c:pt>
                  <c:pt idx="1">
                    <c:v>Pescanova S.A.</c:v>
                  </c:pt>
                  <c:pt idx="2">
                    <c:v>Private Label</c:v>
                  </c:pt>
                  <c:pt idx="3">
                    <c:v>Frosta</c:v>
                  </c:pt>
                  <c:pt idx="4">
                    <c:v>Panapesca</c:v>
                  </c:pt>
                  <c:pt idx="5">
                    <c:v>Other</c:v>
                  </c:pt>
                  <c:pt idx="6">
                    <c:v>Esca Srl</c:v>
                  </c:pt>
                  <c:pt idx="7">
                    <c:v>Arbi Dario Spa</c:v>
                  </c:pt>
                  <c:pt idx="8">
                    <c:v>Krusta Group</c:v>
                  </c:pt>
                  <c:pt idx="9">
                    <c:v>Fandicosta</c:v>
                  </c:pt>
                  <c:pt idx="10">
                    <c:v>Green Ice</c:v>
                  </c:pt>
                  <c:pt idx="11">
                    <c:v>Alpe Srl - Roma</c:v>
                  </c:pt>
                  <c:pt idx="12">
                    <c:v>Conserviera Adriatica Spa</c:v>
                  </c:pt>
                  <c:pt idx="13">
                    <c:v>New Food</c:v>
                  </c:pt>
                  <c:pt idx="14">
                    <c:v>Agras 1947</c:v>
                  </c:pt>
                  <c:pt idx="15">
                    <c:v>Garbo Snc Di Comanducci Andrea</c:v>
                  </c:pt>
                  <c:pt idx="16">
                    <c:v>Vis Industrie Alimentari</c:v>
                  </c:pt>
                  <c:pt idx="17">
                    <c:v>Buitoni</c:v>
                  </c:pt>
                  <c:pt idx="18">
                    <c:v>Mittico</c:v>
                  </c:pt>
                  <c:pt idx="19">
                    <c:v>Findus</c:v>
                  </c:pt>
                  <c:pt idx="20">
                    <c:v>Frosta</c:v>
                  </c:pt>
                  <c:pt idx="21">
                    <c:v>Private Label</c:v>
                  </c:pt>
                  <c:pt idx="22">
                    <c:v>Krusta Group</c:v>
                  </c:pt>
                  <c:pt idx="23">
                    <c:v>Pescanova S.A.</c:v>
                  </c:pt>
                  <c:pt idx="24">
                    <c:v>Esca Srl</c:v>
                  </c:pt>
                  <c:pt idx="25">
                    <c:v>Arbi Dario Spa</c:v>
                  </c:pt>
                  <c:pt idx="26">
                    <c:v>Emme Gel</c:v>
                  </c:pt>
                  <c:pt idx="27">
                    <c:v>Green Ice</c:v>
                  </c:pt>
                  <c:pt idx="28">
                    <c:v>Other</c:v>
                  </c:pt>
                  <c:pt idx="29">
                    <c:v>Soavegel</c:v>
                  </c:pt>
                  <c:pt idx="30">
                    <c:v>Buitoni</c:v>
                  </c:pt>
                  <c:pt idx="31">
                    <c:v>Findus</c:v>
                  </c:pt>
                  <c:pt idx="32">
                    <c:v>Other</c:v>
                  </c:pt>
                  <c:pt idx="33">
                    <c:v>Findus</c:v>
                  </c:pt>
                  <c:pt idx="34">
                    <c:v>Private Label</c:v>
                  </c:pt>
                  <c:pt idx="35">
                    <c:v>Esca Srl</c:v>
                  </c:pt>
                  <c:pt idx="36">
                    <c:v>Agras 1947</c:v>
                  </c:pt>
                  <c:pt idx="37">
                    <c:v>Frosta</c:v>
                  </c:pt>
                  <c:pt idx="38">
                    <c:v>Other</c:v>
                  </c:pt>
                  <c:pt idx="39">
                    <c:v>New Food</c:v>
                  </c:pt>
                  <c:pt idx="40">
                    <c:v>Noriberica</c:v>
                  </c:pt>
                  <c:pt idx="41">
                    <c:v>Krusta Group</c:v>
                  </c:pt>
                  <c:pt idx="42">
                    <c:v>Nai Prodotti Ittici</c:v>
                  </c:pt>
                  <c:pt idx="43">
                    <c:v>Green Ice</c:v>
                  </c:pt>
                  <c:pt idx="44">
                    <c:v>Pescanova S.A.</c:v>
                  </c:pt>
                  <c:pt idx="45">
                    <c:v>Alpe Srl - Roma</c:v>
                  </c:pt>
                  <c:pt idx="46">
                    <c:v>Appetais Italia Spa</c:v>
                  </c:pt>
                  <c:pt idx="47">
                    <c:v>Royal Greenland</c:v>
                  </c:pt>
                  <c:pt idx="48">
                    <c:v>Panapesca</c:v>
                  </c:pt>
                  <c:pt idx="49">
                    <c:v>Conserviera Adriatica Spa</c:v>
                  </c:pt>
                  <c:pt idx="50">
                    <c:v>Gerfrio</c:v>
                  </c:pt>
                  <c:pt idx="51">
                    <c:v>Garbo Snc Di Comanducci Andrea</c:v>
                  </c:pt>
                  <c:pt idx="52">
                    <c:v>Vis Industrie Alimentari</c:v>
                  </c:pt>
                  <c:pt idx="53">
                    <c:v>Soavegel</c:v>
                  </c:pt>
                  <c:pt idx="54">
                    <c:v>Nettuno Alimentari Srl</c:v>
                  </c:pt>
                  <c:pt idx="55">
                    <c:v>Buitoni</c:v>
                  </c:pt>
                  <c:pt idx="56">
                    <c:v>Pescanova S.A.</c:v>
                  </c:pt>
                  <c:pt idx="57">
                    <c:v>Alpe Srl - Roma</c:v>
                  </c:pt>
                  <c:pt idx="58">
                    <c:v>Appetais Italia Spa</c:v>
                  </c:pt>
                  <c:pt idx="59">
                    <c:v>Royal Greenland</c:v>
                  </c:pt>
                  <c:pt idx="60">
                    <c:v>Panapesca</c:v>
                  </c:pt>
                  <c:pt idx="61">
                    <c:v>Conserviera Adriatica Spa</c:v>
                  </c:pt>
                  <c:pt idx="62">
                    <c:v>Gerfrio</c:v>
                  </c:pt>
                  <c:pt idx="63">
                    <c:v>Garbo Snc Di Comanducci Andrea</c:v>
                  </c:pt>
                  <c:pt idx="64">
                    <c:v>Vis Industrie Alimentari</c:v>
                  </c:pt>
                  <c:pt idx="65">
                    <c:v>Soavegel</c:v>
                  </c:pt>
                  <c:pt idx="66">
                    <c:v>Nettuno Alimentari Srl</c:v>
                  </c:pt>
                  <c:pt idx="67">
                    <c:v>Buitoni</c:v>
                  </c:pt>
                  <c:pt idx="68">
                    <c:v>Pescanova S.A.</c:v>
                  </c:pt>
                  <c:pt idx="69">
                    <c:v>Alpe Srl - Roma</c:v>
                  </c:pt>
                  <c:pt idx="70">
                    <c:v>Appetais Italia Spa</c:v>
                  </c:pt>
                  <c:pt idx="71">
                    <c:v>Royal Greenland</c:v>
                  </c:pt>
                  <c:pt idx="72">
                    <c:v>Panapesca</c:v>
                  </c:pt>
                  <c:pt idx="73">
                    <c:v>Conserviera Adriatica Spa</c:v>
                  </c:pt>
                  <c:pt idx="74">
                    <c:v>Gerfrio</c:v>
                  </c:pt>
                  <c:pt idx="75">
                    <c:v>Garbo Snc Di Comanducci Andrea</c:v>
                  </c:pt>
                  <c:pt idx="76">
                    <c:v>Vis Industrie Alimentari</c:v>
                  </c:pt>
                  <c:pt idx="77">
                    <c:v>Soavegel</c:v>
                  </c:pt>
                  <c:pt idx="78">
                    <c:v>Nettuno Alimentari Srl</c:v>
                  </c:pt>
                  <c:pt idx="79">
                    <c:v>Buitoni</c:v>
                  </c:pt>
                  <c:pt idx="80">
                    <c:v>Buitoni</c:v>
                  </c:pt>
                  <c:pt idx="81">
                    <c:v>Pescanova S.A.</c:v>
                  </c:pt>
                  <c:pt idx="82">
                    <c:v>Alpe Srl - Roma</c:v>
                  </c:pt>
                  <c:pt idx="83">
                    <c:v>Appetais Italia Spa</c:v>
                  </c:pt>
                  <c:pt idx="84">
                    <c:v>Royal Greenland</c:v>
                  </c:pt>
                  <c:pt idx="85">
                    <c:v>Panapesca</c:v>
                  </c:pt>
                  <c:pt idx="86">
                    <c:v>Conserviera Adriatica Spa</c:v>
                  </c:pt>
                  <c:pt idx="87">
                    <c:v>Gerfrio</c:v>
                  </c:pt>
                  <c:pt idx="88">
                    <c:v>Garbo Snc Di Comanducci Andrea</c:v>
                  </c:pt>
                  <c:pt idx="89">
                    <c:v>Vis Industrie Alimentari</c:v>
                  </c:pt>
                  <c:pt idx="90">
                    <c:v>Soavegel</c:v>
                  </c:pt>
                  <c:pt idx="91">
                    <c:v>Nettuno Alimentari Srl</c:v>
                  </c:pt>
                  <c:pt idx="92">
                    <c:v>Buitoni</c:v>
                  </c:pt>
                  <c:pt idx="93">
                    <c:v>Pescanova S.A.</c:v>
                  </c:pt>
                  <c:pt idx="94">
                    <c:v>Alpe Srl - Roma</c:v>
                  </c:pt>
                  <c:pt idx="95">
                    <c:v>Appetais Italia Spa</c:v>
                  </c:pt>
                  <c:pt idx="96">
                    <c:v>Royal Greenland</c:v>
                  </c:pt>
                  <c:pt idx="97">
                    <c:v>Panapesca</c:v>
                  </c:pt>
                  <c:pt idx="98">
                    <c:v>Conserviera Adriatica Spa</c:v>
                  </c:pt>
                  <c:pt idx="99">
                    <c:v>Gerfrio</c:v>
                  </c:pt>
                  <c:pt idx="100">
                    <c:v>Garbo Snc Di Comanducci Andrea</c:v>
                  </c:pt>
                  <c:pt idx="101">
                    <c:v>Vis Industrie Alimentari</c:v>
                  </c:pt>
                  <c:pt idx="102">
                    <c:v>Soavegel</c:v>
                  </c:pt>
                  <c:pt idx="103">
                    <c:v>Nettuno Alimentari Srl</c:v>
                  </c:pt>
                  <c:pt idx="104">
                    <c:v>Buitoni</c:v>
                  </c:pt>
                  <c:pt idx="105">
                    <c:v>Alpe Srl - Roma</c:v>
                  </c:pt>
                  <c:pt idx="106">
                    <c:v>Appetais Italia Spa</c:v>
                  </c:pt>
                  <c:pt idx="107">
                    <c:v>Royal Greenland</c:v>
                  </c:pt>
                  <c:pt idx="108">
                    <c:v>Panapesca</c:v>
                  </c:pt>
                  <c:pt idx="109">
                    <c:v>Conserviera Adriatica Spa</c:v>
                  </c:pt>
                  <c:pt idx="110">
                    <c:v>Gerfrio</c:v>
                  </c:pt>
                  <c:pt idx="111">
                    <c:v>Garbo Snc Di Comanducci Andrea</c:v>
                  </c:pt>
                  <c:pt idx="112">
                    <c:v>Vis Industrie Alimentari</c:v>
                  </c:pt>
                  <c:pt idx="113">
                    <c:v>Soavegel</c:v>
                  </c:pt>
                  <c:pt idx="114">
                    <c:v>Nettuno Alimentari Srl</c:v>
                  </c:pt>
                  <c:pt idx="115">
                    <c:v>Buitoni</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5"/>
          <c:min val="0.5"/>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67511865139668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C$2:$C$53</c:f>
              <c:numCache>
                <c:formatCode>General</c:formatCode>
                <c:ptCount val="52"/>
                <c:pt idx="2" formatCode="0%">
                  <c:v>1</c:v>
                </c:pt>
                <c:pt idx="3" formatCode="0%">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22" formatCode="0%">
                  <c:v>1</c:v>
                </c:pt>
                <c:pt idx="23" formatCode="0%">
                  <c:v>1</c:v>
                </c:pt>
                <c:pt idx="24" formatCode="0%">
                  <c:v>1</c:v>
                </c:pt>
                <c:pt idx="34" formatCode="0%">
                  <c:v>1</c:v>
                </c:pt>
                <c:pt idx="39" formatCode="0%">
                  <c:v>1</c:v>
                </c:pt>
                <c:pt idx="40" formatCode="0%">
                  <c:v>1</c:v>
                </c:pt>
                <c:pt idx="41" formatCode="0%">
                  <c:v>1</c:v>
                </c:pt>
                <c:pt idx="42" formatCode="0%">
                  <c:v>1</c:v>
                </c:pt>
                <c:pt idx="43" formatCode="0%">
                  <c:v>1</c:v>
                </c:pt>
              </c:numCache>
            </c:numRef>
          </c:val>
          <c:extLst>
            <c:ext xmlns:c16="http://schemas.microsoft.com/office/drawing/2014/chart" uri="{C3380CC4-5D6E-409C-BE32-E72D297353CC}">
              <c16:uniqueId val="{00000000-6B0A-4292-A357-CC7FA9851ABC}"/>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B$2:$B$53</c:f>
              <c:numCache>
                <c:formatCode>General</c:formatCode>
                <c:ptCount val="52"/>
                <c:pt idx="2" formatCode="0%">
                  <c:v>0.11367872175570121</c:v>
                </c:pt>
                <c:pt idx="3" formatCode="0%">
                  <c:v>0.12132533378739771</c:v>
                </c:pt>
                <c:pt idx="4" formatCode="0%">
                  <c:v>0.2148614964962611</c:v>
                </c:pt>
                <c:pt idx="5" formatCode="0%">
                  <c:v>0.17336822212530892</c:v>
                </c:pt>
                <c:pt idx="6" formatCode="0%">
                  <c:v>0.16371495760272436</c:v>
                </c:pt>
                <c:pt idx="7" formatCode="0%">
                  <c:v>0.359005905511811</c:v>
                </c:pt>
                <c:pt idx="8" formatCode="0%">
                  <c:v>0.35807339627396623</c:v>
                </c:pt>
                <c:pt idx="9" formatCode="0%">
                  <c:v>0.3262485253637436</c:v>
                </c:pt>
                <c:pt idx="10" formatCode="0%">
                  <c:v>0.18571348293560108</c:v>
                </c:pt>
                <c:pt idx="11" formatCode="0%">
                  <c:v>0.14821256608297467</c:v>
                </c:pt>
                <c:pt idx="12" formatCode="0%">
                  <c:v>0.11874984490930296</c:v>
                </c:pt>
                <c:pt idx="13" formatCode="0%">
                  <c:v>0.26535114062005177</c:v>
                </c:pt>
                <c:pt idx="22" formatCode="0%">
                  <c:v>0.40337942434339991</c:v>
                </c:pt>
                <c:pt idx="23" formatCode="0%">
                  <c:v>0.48057218130862606</c:v>
                </c:pt>
                <c:pt idx="24" formatCode="0%">
                  <c:v>8.1719681066375477E-2</c:v>
                </c:pt>
                <c:pt idx="34" formatCode="0%">
                  <c:v>0.14244945048272512</c:v>
                </c:pt>
                <c:pt idx="41" formatCode="0%">
                  <c:v>0.47272657381187294</c:v>
                </c:pt>
                <c:pt idx="42" formatCode="0%">
                  <c:v>0.62001930605459321</c:v>
                </c:pt>
                <c:pt idx="43" formatCode="0%">
                  <c:v>0.40657862283907709</c:v>
                </c:pt>
              </c:numCache>
            </c:numRef>
          </c:val>
          <c:smooth val="0"/>
          <c:extLst>
            <c:ext xmlns:c16="http://schemas.microsoft.com/office/drawing/2014/chart" uri="{C3380CC4-5D6E-409C-BE32-E72D297353CC}">
              <c16:uniqueId val="{00000001-6B0A-4292-A357-CC7FA9851ABC}"/>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3BAF3010-D946-4F59-BFBA-F6B5DBCEEB0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77E-4F29-87DF-0FE64D0B037A}"/>
                </c:ext>
              </c:extLst>
            </c:dLbl>
            <c:dLbl>
              <c:idx val="1"/>
              <c:tx>
                <c:rich>
                  <a:bodyPr/>
                  <a:lstStyle/>
                  <a:p>
                    <a:fld id="{9BA6DF1B-B118-4D60-AAE3-695236F2380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77E-4F29-87DF-0FE64D0B037A}"/>
                </c:ext>
              </c:extLst>
            </c:dLbl>
            <c:dLbl>
              <c:idx val="2"/>
              <c:tx>
                <c:rich>
                  <a:bodyPr/>
                  <a:lstStyle/>
                  <a:p>
                    <a:fld id="{DDC0DEC0-B4A6-4ED3-9133-DC3C79F64C9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77E-4F29-87DF-0FE64D0B037A}"/>
                </c:ext>
              </c:extLst>
            </c:dLbl>
            <c:dLbl>
              <c:idx val="3"/>
              <c:tx>
                <c:rich>
                  <a:bodyPr/>
                  <a:lstStyle/>
                  <a:p>
                    <a:fld id="{2C964736-2DE4-4927-BF6B-A316C17B831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77E-4F29-87DF-0FE64D0B037A}"/>
                </c:ext>
              </c:extLst>
            </c:dLbl>
            <c:dLbl>
              <c:idx val="4"/>
              <c:tx>
                <c:rich>
                  <a:bodyPr/>
                  <a:lstStyle/>
                  <a:p>
                    <a:fld id="{003DA6DF-D2E1-49CB-B739-F703614E512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77E-4F29-87DF-0FE64D0B037A}"/>
                </c:ext>
              </c:extLst>
            </c:dLbl>
            <c:dLbl>
              <c:idx val="5"/>
              <c:tx>
                <c:rich>
                  <a:bodyPr/>
                  <a:lstStyle/>
                  <a:p>
                    <a:fld id="{70EF9BF4-9E7B-4DE1-B847-0C3211232BE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77E-4F29-87DF-0FE64D0B037A}"/>
                </c:ext>
              </c:extLst>
            </c:dLbl>
            <c:dLbl>
              <c:idx val="6"/>
              <c:tx>
                <c:rich>
                  <a:bodyPr/>
                  <a:lstStyle/>
                  <a:p>
                    <a:fld id="{1F6E9658-130C-43B5-9922-BE7BCDFEA27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77E-4F29-87DF-0FE64D0B037A}"/>
                </c:ext>
              </c:extLst>
            </c:dLbl>
            <c:dLbl>
              <c:idx val="7"/>
              <c:tx>
                <c:rich>
                  <a:bodyPr/>
                  <a:lstStyle/>
                  <a:p>
                    <a:fld id="{E327C290-352E-4F89-8569-A3CE859F3AB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77E-4F29-87DF-0FE64D0B037A}"/>
                </c:ext>
              </c:extLst>
            </c:dLbl>
            <c:dLbl>
              <c:idx val="8"/>
              <c:tx>
                <c:rich>
                  <a:bodyPr/>
                  <a:lstStyle/>
                  <a:p>
                    <a:fld id="{7C052048-A7EB-4D8F-9C61-6199961CEDD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77E-4F29-87DF-0FE64D0B037A}"/>
                </c:ext>
              </c:extLst>
            </c:dLbl>
            <c:dLbl>
              <c:idx val="9"/>
              <c:tx>
                <c:rich>
                  <a:bodyPr/>
                  <a:lstStyle/>
                  <a:p>
                    <a:fld id="{1D1744DA-A233-42EB-9C49-F7DD2CAEC6D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77E-4F29-87DF-0FE64D0B037A}"/>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B77E-4F29-87DF-0FE64D0B037A}"/>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B77E-4F29-87DF-0FE64D0B037A}"/>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B77E-4F29-87DF-0FE64D0B037A}"/>
                </c:ext>
              </c:extLst>
            </c:dLbl>
            <c:dLbl>
              <c:idx val="13"/>
              <c:tx>
                <c:rich>
                  <a:bodyPr/>
                  <a:lstStyle/>
                  <a:p>
                    <a:fld id="{DA2C36F8-F8A6-4110-9633-75B2CF70F42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77E-4F29-87DF-0FE64D0B037A}"/>
                </c:ext>
              </c:extLst>
            </c:dLbl>
            <c:dLbl>
              <c:idx val="14"/>
              <c:tx>
                <c:rich>
                  <a:bodyPr/>
                  <a:lstStyle/>
                  <a:p>
                    <a:fld id="{FC1F3A5C-8AA0-4E02-8E6F-FA5F03F2F90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B77E-4F29-87DF-0FE64D0B037A}"/>
                </c:ext>
              </c:extLst>
            </c:dLbl>
            <c:dLbl>
              <c:idx val="15"/>
              <c:tx>
                <c:rich>
                  <a:bodyPr/>
                  <a:lstStyle/>
                  <a:p>
                    <a:fld id="{7E7E5F0F-AC23-4DA8-9FAF-66460D68AD1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77E-4F29-87DF-0FE64D0B037A}"/>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B77E-4F29-87DF-0FE64D0B037A}"/>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B77E-4F29-87DF-0FE64D0B037A}"/>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B77E-4F29-87DF-0FE64D0B037A}"/>
                </c:ext>
              </c:extLst>
            </c:dLbl>
            <c:dLbl>
              <c:idx val="19"/>
              <c:tx>
                <c:rich>
                  <a:bodyPr/>
                  <a:lstStyle/>
                  <a:p>
                    <a:fld id="{55C4A7AA-E4A9-42F5-B9FE-7EA8D717AFC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77E-4F29-87DF-0FE64D0B037A}"/>
                </c:ext>
              </c:extLst>
            </c:dLbl>
            <c:dLbl>
              <c:idx val="20"/>
              <c:tx>
                <c:rich>
                  <a:bodyPr/>
                  <a:lstStyle/>
                  <a:p>
                    <a:fld id="{DB26CC1E-9469-4016-9B04-9F8E4188220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77E-4F29-87DF-0FE64D0B037A}"/>
                </c:ext>
              </c:extLst>
            </c:dLbl>
            <c:dLbl>
              <c:idx val="21"/>
              <c:tx>
                <c:rich>
                  <a:bodyPr/>
                  <a:lstStyle/>
                  <a:p>
                    <a:fld id="{DC0BF99E-4800-47F0-A706-07C58D70055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77E-4F29-87DF-0FE64D0B037A}"/>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B77E-4F29-87DF-0FE64D0B037A}"/>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B77E-4F29-87DF-0FE64D0B037A}"/>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B77E-4F29-87DF-0FE64D0B037A}"/>
                </c:ext>
              </c:extLst>
            </c:dLbl>
            <c:dLbl>
              <c:idx val="25"/>
              <c:tx>
                <c:rich>
                  <a:bodyPr/>
                  <a:lstStyle/>
                  <a:p>
                    <a:fld id="{76342C08-E2D8-4ADE-9F46-36A9C91EDFF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77E-4F29-87DF-0FE64D0B037A}"/>
                </c:ext>
              </c:extLst>
            </c:dLbl>
            <c:dLbl>
              <c:idx val="26"/>
              <c:tx>
                <c:rich>
                  <a:bodyPr/>
                  <a:lstStyle/>
                  <a:p>
                    <a:fld id="{76B0457E-B203-468B-9494-CC9D9DE8B16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77E-4F29-87DF-0FE64D0B037A}"/>
                </c:ext>
              </c:extLst>
            </c:dLbl>
            <c:dLbl>
              <c:idx val="27"/>
              <c:tx>
                <c:rich>
                  <a:bodyPr/>
                  <a:lstStyle/>
                  <a:p>
                    <a:fld id="{65EF7072-F8E2-45BB-B17B-E09571ED09C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77E-4F29-87DF-0FE64D0B037A}"/>
                </c:ext>
              </c:extLst>
            </c:dLbl>
            <c:dLbl>
              <c:idx val="28"/>
              <c:tx>
                <c:rich>
                  <a:bodyPr/>
                  <a:lstStyle/>
                  <a:p>
                    <a:fld id="{4F82F0F1-CCB0-4D58-90AB-8D17802E119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77E-4F29-87DF-0FE64D0B037A}"/>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B77E-4F29-87DF-0FE64D0B037A}"/>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B77E-4F29-87DF-0FE64D0B037A}"/>
                </c:ext>
              </c:extLst>
            </c:dLbl>
            <c:dLbl>
              <c:idx val="31"/>
              <c:tx>
                <c:rich>
                  <a:bodyPr/>
                  <a:lstStyle/>
                  <a:p>
                    <a:fld id="{E283EA04-A402-4695-8B5B-F482E7B428C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77E-4F29-87DF-0FE64D0B037A}"/>
                </c:ext>
              </c:extLst>
            </c:dLbl>
            <c:dLbl>
              <c:idx val="32"/>
              <c:tx>
                <c:rich>
                  <a:bodyPr/>
                  <a:lstStyle/>
                  <a:p>
                    <a:fld id="{EC68219B-2D4B-44B2-B659-89C05E32A4A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77E-4F29-87DF-0FE64D0B037A}"/>
                </c:ext>
              </c:extLst>
            </c:dLbl>
            <c:dLbl>
              <c:idx val="33"/>
              <c:tx>
                <c:rich>
                  <a:bodyPr/>
                  <a:lstStyle/>
                  <a:p>
                    <a:fld id="{90A783EF-0894-45CA-B00A-ED3DF047224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77E-4F29-87DF-0FE64D0B037A}"/>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B77E-4F29-87DF-0FE64D0B037A}"/>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B77E-4F29-87DF-0FE64D0B037A}"/>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B77E-4F29-87DF-0FE64D0B037A}"/>
                </c:ext>
              </c:extLst>
            </c:dLbl>
            <c:dLbl>
              <c:idx val="37"/>
              <c:tx>
                <c:rich>
                  <a:bodyPr/>
                  <a:lstStyle/>
                  <a:p>
                    <a:fld id="{FB686BCA-45B5-49F1-ABB8-1116C3862F5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77E-4F29-87DF-0FE64D0B037A}"/>
                </c:ext>
              </c:extLst>
            </c:dLbl>
            <c:dLbl>
              <c:idx val="38"/>
              <c:tx>
                <c:rich>
                  <a:bodyPr/>
                  <a:lstStyle/>
                  <a:p>
                    <a:fld id="{52307A4B-9AD1-4FED-9239-A7DADF88F49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77E-4F29-87DF-0FE64D0B037A}"/>
                </c:ext>
              </c:extLst>
            </c:dLbl>
            <c:dLbl>
              <c:idx val="39"/>
              <c:tx>
                <c:rich>
                  <a:bodyPr/>
                  <a:lstStyle/>
                  <a:p>
                    <a:fld id="{B925F505-8A8D-4B8A-B2F3-0AEA604E556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77E-4F29-87DF-0FE64D0B037A}"/>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B77E-4F29-87DF-0FE64D0B037A}"/>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B77E-4F29-87DF-0FE64D0B037A}"/>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B77E-4F29-87DF-0FE64D0B037A}"/>
                </c:ext>
              </c:extLst>
            </c:dLbl>
            <c:dLbl>
              <c:idx val="43"/>
              <c:tx>
                <c:rich>
                  <a:bodyPr/>
                  <a:lstStyle/>
                  <a:p>
                    <a:fld id="{FCCDE135-2D06-4288-999E-2EA4E6E4185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77E-4F29-87DF-0FE64D0B037A}"/>
                </c:ext>
              </c:extLst>
            </c:dLbl>
            <c:dLbl>
              <c:idx val="44"/>
              <c:tx>
                <c:rich>
                  <a:bodyPr/>
                  <a:lstStyle/>
                  <a:p>
                    <a:fld id="{F01F61AD-92BB-4659-A623-9FF7958D9A3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77E-4F29-87DF-0FE64D0B037A}"/>
                </c:ext>
              </c:extLst>
            </c:dLbl>
            <c:dLbl>
              <c:idx val="45"/>
              <c:tx>
                <c:rich>
                  <a:bodyPr/>
                  <a:lstStyle/>
                  <a:p>
                    <a:fld id="{4375E81B-0516-4247-937C-04FE136EFEB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77E-4F29-87DF-0FE64D0B037A}"/>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B77E-4F29-87DF-0FE64D0B037A}"/>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B77E-4F29-87DF-0FE64D0B037A}"/>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B77E-4F29-87DF-0FE64D0B037A}"/>
                </c:ext>
              </c:extLst>
            </c:dLbl>
            <c:dLbl>
              <c:idx val="49"/>
              <c:tx>
                <c:rich>
                  <a:bodyPr/>
                  <a:lstStyle/>
                  <a:p>
                    <a:fld id="{7A34603E-5212-4D58-8CE0-2801D4192BF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77E-4F29-87DF-0FE64D0B037A}"/>
                </c:ext>
              </c:extLst>
            </c:dLbl>
            <c:dLbl>
              <c:idx val="50"/>
              <c:tx>
                <c:rich>
                  <a:bodyPr/>
                  <a:lstStyle/>
                  <a:p>
                    <a:fld id="{B6073CA5-F79C-4669-9500-7AE7DA6B40C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77E-4F29-87DF-0FE64D0B037A}"/>
                </c:ext>
              </c:extLst>
            </c:dLbl>
            <c:dLbl>
              <c:idx val="51"/>
              <c:tx>
                <c:rich>
                  <a:bodyPr/>
                  <a:lstStyle/>
                  <a:p>
                    <a:fld id="{0C584A37-1D35-4D1D-84B7-3B65C4655CC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77E-4F29-87DF-0FE64D0B037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B77E-4F29-87DF-0FE64D0B037A}"/>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B77E-4F29-87DF-0FE64D0B037A}"/>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53849719672747E-4"/>
          <c:y val="6.0063696518519595E-2"/>
          <c:w val="0.95453953634144284"/>
          <c:h val="0.88878250476834464"/>
        </c:manualLayout>
      </c:layout>
      <c:barChart>
        <c:barDir val="col"/>
        <c:grouping val="percentStacked"/>
        <c:varyColors val="0"/>
        <c:ser>
          <c:idx val="1"/>
          <c:order val="1"/>
          <c:tx>
            <c:strRef>
              <c:f>Sheet1!$C$1</c:f>
              <c:strCache>
                <c:ptCount val="1"/>
                <c:pt idx="0">
                  <c:v>bar</c:v>
                </c:pt>
              </c:strCache>
            </c:strRef>
          </c:tx>
          <c:spPr>
            <a:solidFill>
              <a:schemeClr val="bg2"/>
            </a:solidFill>
            <a:ln>
              <a:noFill/>
            </a:ln>
            <a:effectLst/>
          </c:spPr>
          <c:invertIfNegative val="0"/>
          <c:dLbls>
            <c:dLbl>
              <c:idx val="0"/>
              <c:tx>
                <c:rich>
                  <a:bodyPr/>
                  <a:lstStyle/>
                  <a:p>
                    <a:fld id="{98AC64B5-75A9-427F-AD9F-048D55B2D0D9}"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6F3F-4891-A588-66FCA4279EF0}"/>
                </c:ext>
              </c:extLst>
            </c:dLbl>
            <c:dLbl>
              <c:idx val="1"/>
              <c:tx>
                <c:rich>
                  <a:bodyPr/>
                  <a:lstStyle/>
                  <a:p>
                    <a:fld id="{2DBBE188-7F6B-45A7-939F-169EA7EE9B9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6F3F-4891-A588-66FCA4279EF0}"/>
                </c:ext>
              </c:extLst>
            </c:dLbl>
            <c:dLbl>
              <c:idx val="2"/>
              <c:delete val="1"/>
              <c:extLst>
                <c:ext xmlns:c15="http://schemas.microsoft.com/office/drawing/2012/chart" uri="{CE6537A1-D6FC-4f65-9D91-7224C49458BB}"/>
                <c:ext xmlns:c16="http://schemas.microsoft.com/office/drawing/2014/chart" uri="{C3380CC4-5D6E-409C-BE32-E72D297353CC}">
                  <c16:uniqueId val="{00000002-6F3F-4891-A588-66FCA4279EF0}"/>
                </c:ext>
              </c:extLst>
            </c:dLbl>
            <c:dLbl>
              <c:idx val="3"/>
              <c:tx>
                <c:rich>
                  <a:bodyPr/>
                  <a:lstStyle/>
                  <a:p>
                    <a:fld id="{F224E463-D3E6-4530-A658-B4B762C2880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6F3F-4891-A588-66FCA4279EF0}"/>
                </c:ext>
              </c:extLst>
            </c:dLbl>
            <c:dLbl>
              <c:idx val="4"/>
              <c:tx>
                <c:rich>
                  <a:bodyPr/>
                  <a:lstStyle/>
                  <a:p>
                    <a:fld id="{701832B4-A1F9-44E7-8A25-D2F5743E409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6F3F-4891-A588-66FCA4279EF0}"/>
                </c:ext>
              </c:extLst>
            </c:dLbl>
            <c:dLbl>
              <c:idx val="5"/>
              <c:tx>
                <c:rich>
                  <a:bodyPr/>
                  <a:lstStyle/>
                  <a:p>
                    <a:fld id="{7B6B85BB-2843-4AD5-9EE1-50E944E0147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6F3F-4891-A588-66FCA4279EF0}"/>
                </c:ext>
              </c:extLst>
            </c:dLbl>
            <c:dLbl>
              <c:idx val="6"/>
              <c:tx>
                <c:rich>
                  <a:bodyPr/>
                  <a:lstStyle/>
                  <a:p>
                    <a:fld id="{BECE9205-0F42-4975-A63E-0077F15E112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6F3F-4891-A588-66FCA4279EF0}"/>
                </c:ext>
              </c:extLst>
            </c:dLbl>
            <c:dLbl>
              <c:idx val="7"/>
              <c:tx>
                <c:rich>
                  <a:bodyPr/>
                  <a:lstStyle/>
                  <a:p>
                    <a:fld id="{6653C725-A8F9-4EBD-8596-C5CC4369B06D}"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6F3F-4891-A588-66FCA4279EF0}"/>
                </c:ext>
              </c:extLst>
            </c:dLbl>
            <c:dLbl>
              <c:idx val="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6F3F-4891-A588-66FCA4279EF0}"/>
                </c:ext>
              </c:extLst>
            </c:dLbl>
            <c:dLbl>
              <c:idx val="9"/>
              <c:tx>
                <c:rich>
                  <a:bodyPr/>
                  <a:lstStyle/>
                  <a:p>
                    <a:fld id="{BEE0081C-6445-46CB-B359-A40FBDA235A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6F3F-4891-A588-66FCA4279EF0}"/>
                </c:ext>
              </c:extLst>
            </c:dLbl>
            <c:dLbl>
              <c:idx val="1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6F3F-4891-A588-66FCA4279EF0}"/>
                </c:ext>
              </c:extLst>
            </c:dLbl>
            <c:dLbl>
              <c:idx val="1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6F3F-4891-A588-66FCA4279EF0}"/>
                </c:ext>
              </c:extLst>
            </c:dLbl>
            <c:dLbl>
              <c:idx val="12"/>
              <c:tx>
                <c:rich>
                  <a:bodyPr/>
                  <a:lstStyle/>
                  <a:p>
                    <a:fld id="{B76E81EA-D9B7-4469-9B2A-650F12D104E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6F3F-4891-A588-66FCA4279EF0}"/>
                </c:ext>
              </c:extLst>
            </c:dLbl>
            <c:dLbl>
              <c:idx val="13"/>
              <c:tx>
                <c:rich>
                  <a:bodyPr/>
                  <a:lstStyle/>
                  <a:p>
                    <a:fld id="{E04AFBE8-65C0-4F2B-91DC-C8E66234F1F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6F3F-4891-A588-66FCA4279EF0}"/>
                </c:ext>
              </c:extLst>
            </c:dLbl>
            <c:dLbl>
              <c:idx val="1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6F3F-4891-A588-66FCA4279EF0}"/>
                </c:ext>
              </c:extLst>
            </c:dLbl>
            <c:dLbl>
              <c:idx val="15"/>
              <c:tx>
                <c:rich>
                  <a:bodyPr/>
                  <a:lstStyle/>
                  <a:p>
                    <a:fld id="{55BCBE44-239A-490C-A0E6-0EDEAF0981A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6F3F-4891-A588-66FCA4279EF0}"/>
                </c:ext>
              </c:extLst>
            </c:dLbl>
            <c:dLbl>
              <c:idx val="16"/>
              <c:tx>
                <c:rich>
                  <a:bodyPr/>
                  <a:lstStyle/>
                  <a:p>
                    <a:fld id="{421CB4CB-B3C7-4074-9573-A50B4C345618}"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6F3F-4891-A588-66FCA4279EF0}"/>
                </c:ext>
              </c:extLst>
            </c:dLbl>
            <c:dLbl>
              <c:idx val="1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6F3F-4891-A588-66FCA4279EF0}"/>
                </c:ext>
              </c:extLst>
            </c:dLbl>
            <c:dLbl>
              <c:idx val="18"/>
              <c:tx>
                <c:rich>
                  <a:bodyPr/>
                  <a:lstStyle/>
                  <a:p>
                    <a:fld id="{E9AB0BA9-7DEE-43DF-9C7A-837B6965A57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6F3F-4891-A588-66FCA4279EF0}"/>
                </c:ext>
              </c:extLst>
            </c:dLbl>
            <c:dLbl>
              <c:idx val="19"/>
              <c:tx>
                <c:rich>
                  <a:bodyPr/>
                  <a:lstStyle/>
                  <a:p>
                    <a:fld id="{8FFCDD51-F805-440B-8B51-F65C437EE27B}"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6F3F-4891-A588-66FCA4279EF0}"/>
                </c:ext>
              </c:extLst>
            </c:dLbl>
            <c:dLbl>
              <c:idx val="20"/>
              <c:tx>
                <c:rich>
                  <a:bodyPr/>
                  <a:lstStyle/>
                  <a:p>
                    <a:fld id="{5FED8466-4B3D-4BD6-987B-C3477C5BD3DA}"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6F3F-4891-A588-66FCA4279EF0}"/>
                </c:ext>
              </c:extLst>
            </c:dLbl>
            <c:dLbl>
              <c:idx val="21"/>
              <c:tx>
                <c:rich>
                  <a:bodyPr/>
                  <a:lstStyle/>
                  <a:p>
                    <a:fld id="{C02DD486-D050-4C9F-9D08-39F914B9E63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6F3F-4891-A588-66FCA4279EF0}"/>
                </c:ext>
              </c:extLst>
            </c:dLbl>
            <c:dLbl>
              <c:idx val="22"/>
              <c:tx>
                <c:rich>
                  <a:bodyPr/>
                  <a:lstStyle/>
                  <a:p>
                    <a:fld id="{9C7A6B9F-34C3-42ED-A24B-68525C8FA97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6F3F-4891-A588-66FCA4279EF0}"/>
                </c:ext>
              </c:extLst>
            </c:dLbl>
            <c:dLbl>
              <c:idx val="23"/>
              <c:tx>
                <c:rich>
                  <a:bodyPr/>
                  <a:lstStyle/>
                  <a:p>
                    <a:fld id="{4E132DA1-7484-4EFE-8432-F9C603B1FC9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6F3F-4891-A588-66FCA4279EF0}"/>
                </c:ext>
              </c:extLst>
            </c:dLbl>
            <c:dLbl>
              <c:idx val="24"/>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6F3F-4891-A588-66FCA4279EF0}"/>
                </c:ext>
              </c:extLst>
            </c:dLbl>
            <c:dLbl>
              <c:idx val="25"/>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6F3F-4891-A588-66FCA4279EF0}"/>
                </c:ext>
              </c:extLst>
            </c:dLbl>
            <c:dLbl>
              <c:idx val="26"/>
              <c:tx>
                <c:rich>
                  <a:bodyPr/>
                  <a:lstStyle/>
                  <a:p>
                    <a:fld id="{306F207C-5385-4601-A723-B1FC3A8E2FAE}"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6F3F-4891-A588-66FCA4279EF0}"/>
                </c:ext>
              </c:extLst>
            </c:dLbl>
            <c:dLbl>
              <c:idx val="2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6F3F-4891-A588-66FCA4279EF0}"/>
                </c:ext>
              </c:extLst>
            </c:dLbl>
            <c:dLbl>
              <c:idx val="28"/>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6F3F-4891-A588-66FCA4279EF0}"/>
                </c:ext>
              </c:extLst>
            </c:dLbl>
            <c:dLbl>
              <c:idx val="29"/>
              <c:tx>
                <c:rich>
                  <a:bodyPr/>
                  <a:lstStyle/>
                  <a:p>
                    <a:fld id="{B1563FA4-C8C2-4C9F-B46A-6AEDDB8313F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6F3F-4891-A588-66FCA4279EF0}"/>
                </c:ext>
              </c:extLst>
            </c:dLbl>
            <c:dLbl>
              <c:idx val="30"/>
              <c:tx>
                <c:rich>
                  <a:bodyPr/>
                  <a:lstStyle/>
                  <a:p>
                    <a:fld id="{FF05720B-8DF4-4C71-AD93-09DF8FAD33AC}"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6F3F-4891-A588-66FCA4279EF0}"/>
                </c:ext>
              </c:extLst>
            </c:dLbl>
            <c:dLbl>
              <c:idx val="31"/>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6F3F-4891-A588-66FCA4279EF0}"/>
                </c:ext>
              </c:extLst>
            </c:dLbl>
            <c:dLbl>
              <c:idx val="3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6F3F-4891-A588-66FCA4279EF0}"/>
                </c:ext>
              </c:extLst>
            </c:dLbl>
            <c:dLbl>
              <c:idx val="33"/>
              <c:tx>
                <c:rich>
                  <a:bodyPr/>
                  <a:lstStyle/>
                  <a:p>
                    <a:fld id="{6B61A363-52E5-4753-8447-52834508252F}"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6F3F-4891-A588-66FCA4279EF0}"/>
                </c:ext>
              </c:extLst>
            </c:dLbl>
            <c:dLbl>
              <c:idx val="34"/>
              <c:tx>
                <c:rich>
                  <a:bodyPr/>
                  <a:lstStyle/>
                  <a:p>
                    <a:fld id="{3BE75850-EE1D-414E-826B-C1205793535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6F3F-4891-A588-66FCA4279EF0}"/>
                </c:ext>
              </c:extLst>
            </c:dLbl>
            <c:dLbl>
              <c:idx val="35"/>
              <c:tx>
                <c:rich>
                  <a:bodyPr/>
                  <a:lstStyle/>
                  <a:p>
                    <a:fld id="{EFD0667C-B44F-4F61-B00F-62DA282B169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6F3F-4891-A588-66FCA4279EF0}"/>
                </c:ext>
              </c:extLst>
            </c:dLbl>
            <c:dLbl>
              <c:idx val="36"/>
              <c:tx>
                <c:rich>
                  <a:bodyPr/>
                  <a:lstStyle/>
                  <a:p>
                    <a:fld id="{CEC60770-4887-434E-BBEC-78BDAFC1C3E7}"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6F3F-4891-A588-66FCA4279EF0}"/>
                </c:ext>
              </c:extLst>
            </c:dLbl>
            <c:dLbl>
              <c:idx val="37"/>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6F3F-4891-A588-66FCA4279EF0}"/>
                </c:ext>
              </c:extLst>
            </c:dLbl>
            <c:dLbl>
              <c:idx val="38"/>
              <c:tx>
                <c:rich>
                  <a:bodyPr/>
                  <a:lstStyle/>
                  <a:p>
                    <a:fld id="{D9EFD8B3-CFCA-4723-9AA7-A80496BB22E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6F3F-4891-A588-66FCA4279EF0}"/>
                </c:ext>
              </c:extLst>
            </c:dLbl>
            <c:dLbl>
              <c:idx val="3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7-6F3F-4891-A588-66FCA4279EF0}"/>
                </c:ext>
              </c:extLst>
            </c:dLbl>
            <c:dLbl>
              <c:idx val="40"/>
              <c:tx>
                <c:rich>
                  <a:bodyPr/>
                  <a:lstStyle/>
                  <a:p>
                    <a:fld id="{8F339B04-4033-45B8-B5F8-1529C195BFB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6F3F-4891-A588-66FCA4279EF0}"/>
                </c:ext>
              </c:extLst>
            </c:dLbl>
            <c:dLbl>
              <c:idx val="41"/>
              <c:tx>
                <c:rich>
                  <a:bodyPr/>
                  <a:lstStyle/>
                  <a:p>
                    <a:fld id="{12F2FF17-FBEE-4037-A3E6-969D777FCD25}"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6F3F-4891-A588-66FCA4279EF0}"/>
                </c:ext>
              </c:extLst>
            </c:dLbl>
            <c:dLbl>
              <c:idx val="4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6F3F-4891-A588-66FCA4279EF0}"/>
                </c:ext>
              </c:extLst>
            </c:dLbl>
            <c:dLbl>
              <c:idx val="43"/>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B-6F3F-4891-A588-66FCA4279EF0}"/>
                </c:ext>
              </c:extLst>
            </c:dLbl>
            <c:dLbl>
              <c:idx val="44"/>
              <c:tx>
                <c:rich>
                  <a:bodyPr/>
                  <a:lstStyle/>
                  <a:p>
                    <a:fld id="{75AB8CE2-EB2D-41A4-90BF-69D32DA9A421}"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6F3F-4891-A588-66FCA4279EF0}"/>
                </c:ext>
              </c:extLst>
            </c:dLbl>
            <c:dLbl>
              <c:idx val="45"/>
              <c:tx>
                <c:rich>
                  <a:bodyPr/>
                  <a:lstStyle/>
                  <a:p>
                    <a:fld id="{89D5E6F8-934C-4B79-871D-2AE055F29800}"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6F3F-4891-A588-66FCA4279EF0}"/>
                </c:ext>
              </c:extLst>
            </c:dLbl>
            <c:dLbl>
              <c:idx val="46"/>
              <c:tx>
                <c:rich>
                  <a:bodyPr/>
                  <a:lstStyle/>
                  <a:p>
                    <a:fld id="{E8F5DA3A-506E-4262-B20A-60541318C114}"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6F3F-4891-A588-66FCA4279EF0}"/>
                </c:ext>
              </c:extLst>
            </c:dLbl>
            <c:dLbl>
              <c:idx val="47"/>
              <c:tx>
                <c:rich>
                  <a:bodyPr/>
                  <a:lstStyle/>
                  <a:p>
                    <a:fld id="{0778AFE6-20D6-4F0A-A7EF-0228C298C672}"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6F3F-4891-A588-66FCA4279EF0}"/>
                </c:ext>
              </c:extLst>
            </c:dLbl>
            <c:dLbl>
              <c:idx val="48"/>
              <c:tx>
                <c:rich>
                  <a:bodyPr/>
                  <a:lstStyle/>
                  <a:p>
                    <a:fld id="{6BD8EAC6-98B9-49CE-8B7A-EDFB7B1AD1D3}"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6F3F-4891-A588-66FCA4279EF0}"/>
                </c:ext>
              </c:extLst>
            </c:dLbl>
            <c:dLbl>
              <c:idx val="49"/>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1-6F3F-4891-A588-66FCA4279EF0}"/>
                </c:ext>
              </c:extLst>
            </c:dLbl>
            <c:dLbl>
              <c:idx val="5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2-6F3F-4891-A588-66FCA4279EF0}"/>
                </c:ext>
              </c:extLst>
            </c:dLbl>
            <c:dLbl>
              <c:idx val="51"/>
              <c:tx>
                <c:rich>
                  <a:bodyPr/>
                  <a:lstStyle/>
                  <a:p>
                    <a:fld id="{2C116CA8-72AE-4ADB-8C20-FC0454AA7216}" type="CELLRANGE">
                      <a:rPr lang="en-US"/>
                      <a:pPr/>
                      <a:t>[CELLRANGE]</a:t>
                    </a:fld>
                    <a:endParaRPr lang="en-US"/>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6F3F-4891-A588-66FCA4279EF0}"/>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C$2:$C$53</c:f>
              <c:numCache>
                <c:formatCode>0%</c:formatCode>
                <c:ptCount val="52"/>
                <c:pt idx="0">
                  <c:v>1</c:v>
                </c:pt>
                <c:pt idx="1">
                  <c:v>1</c:v>
                </c:pt>
                <c:pt idx="2">
                  <c:v>1</c:v>
                </c:pt>
                <c:pt idx="3">
                  <c:v>1</c:v>
                </c:pt>
                <c:pt idx="4">
                  <c:v>1</c:v>
                </c:pt>
                <c:pt idx="5">
                  <c:v>1</c:v>
                </c:pt>
                <c:pt idx="6">
                  <c:v>1</c:v>
                </c:pt>
                <c:pt idx="7">
                  <c:v>1</c:v>
                </c:pt>
                <c:pt idx="8">
                  <c:v>#N/A</c:v>
                </c:pt>
                <c:pt idx="9">
                  <c:v>1</c:v>
                </c:pt>
                <c:pt idx="10">
                  <c:v>#N/A</c:v>
                </c:pt>
                <c:pt idx="11">
                  <c:v>#N/A</c:v>
                </c:pt>
                <c:pt idx="12">
                  <c:v>1</c:v>
                </c:pt>
                <c:pt idx="13">
                  <c:v>1</c:v>
                </c:pt>
                <c:pt idx="14">
                  <c:v>#N/A</c:v>
                </c:pt>
                <c:pt idx="15">
                  <c:v>1</c:v>
                </c:pt>
                <c:pt idx="16">
                  <c:v>1</c:v>
                </c:pt>
                <c:pt idx="17">
                  <c:v>#N/A</c:v>
                </c:pt>
                <c:pt idx="18">
                  <c:v>1</c:v>
                </c:pt>
                <c:pt idx="19">
                  <c:v>1</c:v>
                </c:pt>
                <c:pt idx="20">
                  <c:v>1</c:v>
                </c:pt>
                <c:pt idx="21">
                  <c:v>1</c:v>
                </c:pt>
                <c:pt idx="22">
                  <c:v>1</c:v>
                </c:pt>
                <c:pt idx="23">
                  <c:v>1</c:v>
                </c:pt>
                <c:pt idx="24">
                  <c:v>#N/A</c:v>
                </c:pt>
                <c:pt idx="25">
                  <c:v>#N/A</c:v>
                </c:pt>
                <c:pt idx="26">
                  <c:v>1</c:v>
                </c:pt>
                <c:pt idx="27">
                  <c:v>#N/A</c:v>
                </c:pt>
                <c:pt idx="28">
                  <c:v>#N/A</c:v>
                </c:pt>
                <c:pt idx="29">
                  <c:v>1</c:v>
                </c:pt>
                <c:pt idx="30">
                  <c:v>1</c:v>
                </c:pt>
                <c:pt idx="31">
                  <c:v>#N/A</c:v>
                </c:pt>
                <c:pt idx="32">
                  <c:v>#N/A</c:v>
                </c:pt>
                <c:pt idx="33">
                  <c:v>1</c:v>
                </c:pt>
                <c:pt idx="34">
                  <c:v>1</c:v>
                </c:pt>
                <c:pt idx="35">
                  <c:v>1</c:v>
                </c:pt>
                <c:pt idx="36">
                  <c:v>1</c:v>
                </c:pt>
                <c:pt idx="37">
                  <c:v>#N/A</c:v>
                </c:pt>
                <c:pt idx="38">
                  <c:v>1</c:v>
                </c:pt>
                <c:pt idx="39">
                  <c:v>#N/A</c:v>
                </c:pt>
                <c:pt idx="40">
                  <c:v>1</c:v>
                </c:pt>
                <c:pt idx="41">
                  <c:v>1</c:v>
                </c:pt>
                <c:pt idx="42">
                  <c:v>#N/A</c:v>
                </c:pt>
                <c:pt idx="43">
                  <c:v>#N/A</c:v>
                </c:pt>
                <c:pt idx="44">
                  <c:v>1</c:v>
                </c:pt>
                <c:pt idx="45">
                  <c:v>1</c:v>
                </c:pt>
                <c:pt idx="46">
                  <c:v>1</c:v>
                </c:pt>
                <c:pt idx="47">
                  <c:v>1</c:v>
                </c:pt>
                <c:pt idx="48">
                  <c:v>1</c:v>
                </c:pt>
                <c:pt idx="49">
                  <c:v>#N/A</c:v>
                </c:pt>
                <c:pt idx="50">
                  <c:v>#N/A</c:v>
                </c:pt>
                <c:pt idx="51">
                  <c:v>1</c:v>
                </c:pt>
              </c:numCache>
            </c:numRef>
          </c:val>
          <c:extLst>
            <c:ext xmlns:c15="http://schemas.microsoft.com/office/drawing/2012/chart" uri="{02D57815-91ED-43cb-92C2-25804820EDAC}">
              <c15:datalabelsRange>
                <c15:f>Sheet1!$G$2:$G$53</c15:f>
                <c15:dlblRangeCache>
                  <c:ptCount val="52"/>
                  <c:pt idx="2">
                    <c:v>244%</c:v>
                  </c:pt>
                  <c:pt idx="45">
                    <c:v>209%</c:v>
                  </c:pt>
                </c15:dlblRangeCache>
              </c15:datalabelsRange>
            </c:ext>
            <c:ext xmlns:c16="http://schemas.microsoft.com/office/drawing/2014/chart" uri="{C3380CC4-5D6E-409C-BE32-E72D297353CC}">
              <c16:uniqueId val="{00000034-6F3F-4891-A588-66FCA4279EF0}"/>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bubble</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7/5/2023</c:v>
                </c:pt>
                <c:pt idx="1">
                  <c:v>5/14/2023</c:v>
                </c:pt>
                <c:pt idx="2">
                  <c:v>5/21/2023</c:v>
                </c:pt>
                <c:pt idx="3">
                  <c:v>5/28/2023</c:v>
                </c:pt>
                <c:pt idx="4">
                  <c:v>4/6/2023</c:v>
                </c:pt>
                <c:pt idx="5">
                  <c:v>11/6/2023</c:v>
                </c:pt>
                <c:pt idx="6">
                  <c:v>6/18/2023</c:v>
                </c:pt>
                <c:pt idx="7">
                  <c:v>6/25/2023</c:v>
                </c:pt>
                <c:pt idx="8">
                  <c:v>2/7/2023</c:v>
                </c:pt>
                <c:pt idx="9">
                  <c:v>9/7/2023</c:v>
                </c:pt>
                <c:pt idx="10">
                  <c:v>7/16/2023</c:v>
                </c:pt>
                <c:pt idx="11">
                  <c:v>7/23/2023</c:v>
                </c:pt>
                <c:pt idx="12">
                  <c:v>7/30/2023</c:v>
                </c:pt>
                <c:pt idx="13">
                  <c:v>6/8/2023</c:v>
                </c:pt>
                <c:pt idx="14">
                  <c:v>8/13/2023</c:v>
                </c:pt>
                <c:pt idx="15">
                  <c:v>8/20/2023</c:v>
                </c:pt>
                <c:pt idx="16">
                  <c:v>8/27/2023</c:v>
                </c:pt>
                <c:pt idx="17">
                  <c:v>3/9/2023</c:v>
                </c:pt>
                <c:pt idx="18">
                  <c:v>10/9/2023</c:v>
                </c:pt>
                <c:pt idx="19">
                  <c:v>9/17/2023</c:v>
                </c:pt>
                <c:pt idx="20">
                  <c:v>9/24/2023</c:v>
                </c:pt>
                <c:pt idx="21">
                  <c:v>1/10/2023</c:v>
                </c:pt>
                <c:pt idx="22">
                  <c:v>8/10/2023</c:v>
                </c:pt>
                <c:pt idx="23">
                  <c:v>10/15/2023</c:v>
                </c:pt>
                <c:pt idx="24">
                  <c:v>10/22/2023</c:v>
                </c:pt>
                <c:pt idx="25">
                  <c:v>10/29/2023</c:v>
                </c:pt>
                <c:pt idx="26">
                  <c:v>5/11/2023</c:v>
                </c:pt>
                <c:pt idx="27">
                  <c:v>12/11/2023</c:v>
                </c:pt>
                <c:pt idx="28">
                  <c:v>11/19/2023</c:v>
                </c:pt>
                <c:pt idx="29">
                  <c:v>11/26/2023</c:v>
                </c:pt>
                <c:pt idx="30">
                  <c:v>3/12/2023</c:v>
                </c:pt>
                <c:pt idx="31">
                  <c:v>10/12/2023</c:v>
                </c:pt>
                <c:pt idx="32">
                  <c:v>12/17/2023</c:v>
                </c:pt>
                <c:pt idx="33">
                  <c:v>12/24/2023</c:v>
                </c:pt>
                <c:pt idx="34">
                  <c:v>12/31/2023</c:v>
                </c:pt>
                <c:pt idx="35">
                  <c:v>7/1/2024</c:v>
                </c:pt>
                <c:pt idx="36">
                  <c:v>1/14/2024</c:v>
                </c:pt>
                <c:pt idx="37">
                  <c:v>1/21/2024</c:v>
                </c:pt>
                <c:pt idx="38">
                  <c:v>1/28/2024</c:v>
                </c:pt>
                <c:pt idx="39">
                  <c:v>4/2/2024</c:v>
                </c:pt>
                <c:pt idx="40">
                  <c:v>11/2/2024</c:v>
                </c:pt>
                <c:pt idx="41">
                  <c:v>2/18/2024</c:v>
                </c:pt>
                <c:pt idx="42">
                  <c:v>2/25/2024</c:v>
                </c:pt>
                <c:pt idx="43">
                  <c:v>3/3/2024</c:v>
                </c:pt>
                <c:pt idx="44">
                  <c:v>10/3/2024</c:v>
                </c:pt>
                <c:pt idx="45">
                  <c:v>3/17/2024</c:v>
                </c:pt>
                <c:pt idx="46">
                  <c:v>3/24/2024</c:v>
                </c:pt>
                <c:pt idx="47">
                  <c:v>3/31/2024</c:v>
                </c:pt>
                <c:pt idx="48">
                  <c:v>7/4/2024</c:v>
                </c:pt>
                <c:pt idx="49">
                  <c:v>4/14/2024</c:v>
                </c:pt>
                <c:pt idx="50">
                  <c:v>4/21/2024</c:v>
                </c:pt>
                <c:pt idx="51">
                  <c:v>4/28/2024</c:v>
                </c:pt>
              </c:strCache>
            </c:strRef>
          </c:cat>
          <c:val>
            <c:numRef>
              <c:f>Sheet1!$B$2:$B$53</c:f>
              <c:numCache>
                <c:formatCode>0%</c:formatCode>
                <c:ptCount val="52"/>
                <c:pt idx="0">
                  <c:v>0.83149283462587276</c:v>
                </c:pt>
                <c:pt idx="1">
                  <c:v>1.6315180743925193</c:v>
                </c:pt>
                <c:pt idx="2">
                  <c:v>2.4439356076015577</c:v>
                </c:pt>
                <c:pt idx="3">
                  <c:v>0.77292587642644184</c:v>
                </c:pt>
                <c:pt idx="4">
                  <c:v>0.74765866355299326</c:v>
                </c:pt>
                <c:pt idx="5">
                  <c:v>0.98081754103558449</c:v>
                </c:pt>
                <c:pt idx="6">
                  <c:v>0.70833026532165033</c:v>
                </c:pt>
                <c:pt idx="7">
                  <c:v>0.84407908755481287</c:v>
                </c:pt>
                <c:pt idx="8">
                  <c:v>#N/A</c:v>
                </c:pt>
                <c:pt idx="9">
                  <c:v>#N/A</c:v>
                </c:pt>
                <c:pt idx="10">
                  <c:v>#N/A</c:v>
                </c:pt>
                <c:pt idx="11">
                  <c:v>#N/A</c:v>
                </c:pt>
                <c:pt idx="12">
                  <c:v>#N/A</c:v>
                </c:pt>
                <c:pt idx="13">
                  <c:v>#N/A</c:v>
                </c:pt>
                <c:pt idx="14">
                  <c:v>#N/A</c:v>
                </c:pt>
                <c:pt idx="15">
                  <c:v>0.8725708042279976</c:v>
                </c:pt>
                <c:pt idx="16">
                  <c:v>0.4577243728236281</c:v>
                </c:pt>
                <c:pt idx="17">
                  <c:v>#N/A</c:v>
                </c:pt>
                <c:pt idx="18">
                  <c:v>0.15218560397131825</c:v>
                </c:pt>
                <c:pt idx="19">
                  <c:v>0.3636835009851706</c:v>
                </c:pt>
                <c:pt idx="20">
                  <c:v>0.23195425066291811</c:v>
                </c:pt>
                <c:pt idx="21">
                  <c:v>0.85483845584879525</c:v>
                </c:pt>
                <c:pt idx="22">
                  <c:v>0.3003459533206646</c:v>
                </c:pt>
                <c:pt idx="23">
                  <c:v>0.33698879958684352</c:v>
                </c:pt>
                <c:pt idx="24">
                  <c:v>#N/A</c:v>
                </c:pt>
                <c:pt idx="25">
                  <c:v>#N/A</c:v>
                </c:pt>
                <c:pt idx="26">
                  <c:v>0.47679126329628302</c:v>
                </c:pt>
                <c:pt idx="27">
                  <c:v>#N/A</c:v>
                </c:pt>
                <c:pt idx="28">
                  <c:v>#N/A</c:v>
                </c:pt>
                <c:pt idx="29">
                  <c:v>0.86927040954705725</c:v>
                </c:pt>
                <c:pt idx="30">
                  <c:v>7.1587946883100939E-2</c:v>
                </c:pt>
                <c:pt idx="31">
                  <c:v>#N/A</c:v>
                </c:pt>
                <c:pt idx="32">
                  <c:v>#N/A</c:v>
                </c:pt>
                <c:pt idx="33">
                  <c:v>0.91374133318774908</c:v>
                </c:pt>
                <c:pt idx="34">
                  <c:v>#N/A</c:v>
                </c:pt>
                <c:pt idx="35">
                  <c:v>#N/A</c:v>
                </c:pt>
                <c:pt idx="36">
                  <c:v>#N/A</c:v>
                </c:pt>
                <c:pt idx="37">
                  <c:v>#N/A</c:v>
                </c:pt>
                <c:pt idx="38">
                  <c:v>0.2039582880232598</c:v>
                </c:pt>
                <c:pt idx="39">
                  <c:v>#N/A</c:v>
                </c:pt>
                <c:pt idx="40">
                  <c:v>0.81834423418520841</c:v>
                </c:pt>
                <c:pt idx="41">
                  <c:v>0.24170478834974729</c:v>
                </c:pt>
                <c:pt idx="42">
                  <c:v>#N/A</c:v>
                </c:pt>
                <c:pt idx="43">
                  <c:v>#N/A</c:v>
                </c:pt>
                <c:pt idx="44">
                  <c:v>0.54761466764778022</c:v>
                </c:pt>
                <c:pt idx="45">
                  <c:v>2.0907701528318849</c:v>
                </c:pt>
                <c:pt idx="46">
                  <c:v>0.32255425519827291</c:v>
                </c:pt>
                <c:pt idx="47">
                  <c:v>0.60169518129022137</c:v>
                </c:pt>
                <c:pt idx="48">
                  <c:v>#N/A</c:v>
                </c:pt>
                <c:pt idx="49">
                  <c:v>#N/A</c:v>
                </c:pt>
                <c:pt idx="50">
                  <c:v>#N/A</c:v>
                </c:pt>
                <c:pt idx="51">
                  <c:v>0.47447486087432045</c:v>
                </c:pt>
              </c:numCache>
            </c:numRef>
          </c:val>
          <c:smooth val="0"/>
          <c:extLst>
            <c:ext xmlns:c16="http://schemas.microsoft.com/office/drawing/2014/chart" uri="{C3380CC4-5D6E-409C-BE32-E72D297353CC}">
              <c16:uniqueId val="{00000035-6F3F-4891-A588-66FCA4279EF0}"/>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N/A</c:v>
                </c:pt>
                <c:pt idx="1">
                  <c:v>#N/A</c:v>
                </c:pt>
                <c:pt idx="2">
                  <c:v>1</c:v>
                </c:pt>
                <c:pt idx="3">
                  <c:v>1</c:v>
                </c:pt>
                <c:pt idx="4">
                  <c:v>1</c:v>
                </c:pt>
                <c:pt idx="5">
                  <c:v>1</c:v>
                </c:pt>
                <c:pt idx="6">
                  <c:v>1</c:v>
                </c:pt>
                <c:pt idx="7">
                  <c:v>1</c:v>
                </c:pt>
                <c:pt idx="8">
                  <c:v>1</c:v>
                </c:pt>
                <c:pt idx="9">
                  <c:v>1</c:v>
                </c:pt>
                <c:pt idx="10">
                  <c:v>1</c:v>
                </c:pt>
                <c:pt idx="11">
                  <c:v>1</c:v>
                </c:pt>
                <c:pt idx="12">
                  <c:v>1</c:v>
                </c:pt>
                <c:pt idx="13">
                  <c:v>1</c:v>
                </c:pt>
                <c:pt idx="14">
                  <c:v>1</c:v>
                </c:pt>
                <c:pt idx="15">
                  <c:v>#N/A</c:v>
                </c:pt>
                <c:pt idx="16">
                  <c:v>#N/A</c:v>
                </c:pt>
                <c:pt idx="17">
                  <c:v>#N/A</c:v>
                </c:pt>
                <c:pt idx="18">
                  <c:v>#N/A</c:v>
                </c:pt>
                <c:pt idx="19">
                  <c:v>#N/A</c:v>
                </c:pt>
                <c:pt idx="20">
                  <c:v>#N/A</c:v>
                </c:pt>
                <c:pt idx="21">
                  <c:v>#N/A</c:v>
                </c:pt>
                <c:pt idx="22">
                  <c:v>1</c:v>
                </c:pt>
                <c:pt idx="23">
                  <c:v>1</c:v>
                </c:pt>
                <c:pt idx="24">
                  <c:v>1</c:v>
                </c:pt>
                <c:pt idx="25">
                  <c:v>#N/A</c:v>
                </c:pt>
                <c:pt idx="26">
                  <c:v>#N/A</c:v>
                </c:pt>
                <c:pt idx="27">
                  <c:v>#N/A</c:v>
                </c:pt>
                <c:pt idx="28">
                  <c:v>#N/A</c:v>
                </c:pt>
                <c:pt idx="29">
                  <c:v>#N/A</c:v>
                </c:pt>
                <c:pt idx="30">
                  <c:v>#N/A</c:v>
                </c:pt>
                <c:pt idx="31">
                  <c:v>#N/A</c:v>
                </c:pt>
                <c:pt idx="32">
                  <c:v>#N/A</c:v>
                </c:pt>
                <c:pt idx="33">
                  <c:v>#N/A</c:v>
                </c:pt>
                <c:pt idx="34">
                  <c:v>1</c:v>
                </c:pt>
                <c:pt idx="35">
                  <c:v>#N/A</c:v>
                </c:pt>
                <c:pt idx="36">
                  <c:v>#N/A</c:v>
                </c:pt>
                <c:pt idx="37">
                  <c:v>#N/A</c:v>
                </c:pt>
                <c:pt idx="38">
                  <c:v>#N/A</c:v>
                </c:pt>
                <c:pt idx="39">
                  <c:v>1</c:v>
                </c:pt>
                <c:pt idx="40">
                  <c:v>1</c:v>
                </c:pt>
                <c:pt idx="41">
                  <c:v>1</c:v>
                </c:pt>
                <c:pt idx="42">
                  <c:v>1</c:v>
                </c:pt>
                <c:pt idx="43">
                  <c:v>1</c:v>
                </c:pt>
                <c:pt idx="44">
                  <c:v>#N/A</c:v>
                </c:pt>
                <c:pt idx="45">
                  <c:v>#N/A</c:v>
                </c:pt>
                <c:pt idx="46">
                  <c:v>#N/A</c:v>
                </c:pt>
                <c:pt idx="47">
                  <c:v>#N/A</c:v>
                </c:pt>
                <c:pt idx="48">
                  <c:v>#N/A</c:v>
                </c:pt>
                <c:pt idx="49">
                  <c:v>#N/A</c:v>
                </c:pt>
                <c:pt idx="50">
                  <c:v>#N/A</c:v>
                </c:pt>
                <c:pt idx="51">
                  <c:v>#N/A</c:v>
                </c:pt>
              </c:numCache>
            </c:numRef>
          </c:val>
          <c:extLst>
            <c:ext xmlns:c16="http://schemas.microsoft.com/office/drawing/2014/chart" uri="{C3380CC4-5D6E-409C-BE32-E72D297353CC}">
              <c16:uniqueId val="{00000000-3553-47F7-9D8D-B7ECA91FF30F}"/>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N/A</c:v>
                </c:pt>
                <c:pt idx="1">
                  <c:v>#N/A</c:v>
                </c:pt>
                <c:pt idx="2">
                  <c:v>0.11367872175570121</c:v>
                </c:pt>
                <c:pt idx="3">
                  <c:v>0.12132533378739771</c:v>
                </c:pt>
                <c:pt idx="4">
                  <c:v>0.2148614964962611</c:v>
                </c:pt>
                <c:pt idx="5">
                  <c:v>0.17336822212530892</c:v>
                </c:pt>
                <c:pt idx="6">
                  <c:v>0.16371495760272436</c:v>
                </c:pt>
                <c:pt idx="7">
                  <c:v>0.359005905511811</c:v>
                </c:pt>
                <c:pt idx="8">
                  <c:v>0.35807339627396623</c:v>
                </c:pt>
                <c:pt idx="9">
                  <c:v>0.3262485253637436</c:v>
                </c:pt>
                <c:pt idx="10">
                  <c:v>0.18571348293560108</c:v>
                </c:pt>
                <c:pt idx="11">
                  <c:v>0.14821256608297467</c:v>
                </c:pt>
                <c:pt idx="12">
                  <c:v>0.11874984490930296</c:v>
                </c:pt>
                <c:pt idx="13">
                  <c:v>0.26535114062005177</c:v>
                </c:pt>
                <c:pt idx="14">
                  <c:v>#N/A</c:v>
                </c:pt>
                <c:pt idx="15">
                  <c:v>#N/A</c:v>
                </c:pt>
                <c:pt idx="16">
                  <c:v>#N/A</c:v>
                </c:pt>
                <c:pt idx="17">
                  <c:v>#N/A</c:v>
                </c:pt>
                <c:pt idx="18">
                  <c:v>#N/A</c:v>
                </c:pt>
                <c:pt idx="19">
                  <c:v>#N/A</c:v>
                </c:pt>
                <c:pt idx="20">
                  <c:v>#N/A</c:v>
                </c:pt>
                <c:pt idx="21">
                  <c:v>#N/A</c:v>
                </c:pt>
                <c:pt idx="22">
                  <c:v>0.40337942434339991</c:v>
                </c:pt>
                <c:pt idx="23">
                  <c:v>0.48057218130862606</c:v>
                </c:pt>
                <c:pt idx="24">
                  <c:v>8.1719681066375477E-2</c:v>
                </c:pt>
                <c:pt idx="25">
                  <c:v>#N/A</c:v>
                </c:pt>
                <c:pt idx="26">
                  <c:v>#N/A</c:v>
                </c:pt>
                <c:pt idx="27">
                  <c:v>#N/A</c:v>
                </c:pt>
                <c:pt idx="28">
                  <c:v>#N/A</c:v>
                </c:pt>
                <c:pt idx="29">
                  <c:v>#N/A</c:v>
                </c:pt>
                <c:pt idx="30">
                  <c:v>#N/A</c:v>
                </c:pt>
                <c:pt idx="31">
                  <c:v>#N/A</c:v>
                </c:pt>
                <c:pt idx="32">
                  <c:v>#N/A</c:v>
                </c:pt>
                <c:pt idx="33">
                  <c:v>#N/A</c:v>
                </c:pt>
                <c:pt idx="34">
                  <c:v>0.14244945048272512</c:v>
                </c:pt>
                <c:pt idx="35">
                  <c:v>#N/A</c:v>
                </c:pt>
                <c:pt idx="36">
                  <c:v>#N/A</c:v>
                </c:pt>
                <c:pt idx="37">
                  <c:v>#N/A</c:v>
                </c:pt>
                <c:pt idx="38">
                  <c:v>#N/A</c:v>
                </c:pt>
                <c:pt idx="39">
                  <c:v>#N/A</c:v>
                </c:pt>
                <c:pt idx="40">
                  <c:v>#N/A</c:v>
                </c:pt>
                <c:pt idx="41">
                  <c:v>0.47272657381187294</c:v>
                </c:pt>
                <c:pt idx="42">
                  <c:v>0.62001930605459321</c:v>
                </c:pt>
                <c:pt idx="43">
                  <c:v>0.40657862283907709</c:v>
                </c:pt>
                <c:pt idx="44">
                  <c:v>#N/A</c:v>
                </c:pt>
                <c:pt idx="45">
                  <c:v>#N/A</c:v>
                </c:pt>
                <c:pt idx="46">
                  <c:v>#N/A</c:v>
                </c:pt>
                <c:pt idx="47">
                  <c:v>#N/A</c:v>
                </c:pt>
                <c:pt idx="48">
                  <c:v>#N/A</c:v>
                </c:pt>
                <c:pt idx="49">
                  <c:v>#N/A</c:v>
                </c:pt>
                <c:pt idx="50">
                  <c:v>#N/A</c:v>
                </c:pt>
                <c:pt idx="51">
                  <c:v>#N/A</c:v>
                </c:pt>
              </c:numCache>
            </c:numRef>
          </c:val>
          <c:smooth val="0"/>
          <c:extLst>
            <c:ext xmlns:c16="http://schemas.microsoft.com/office/drawing/2014/chart" uri="{C3380CC4-5D6E-409C-BE32-E72D297353CC}">
              <c16:uniqueId val="{00000001-3553-47F7-9D8D-B7ECA91FF30F}"/>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5630832953738916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57AC2EDE-8B52-4DCB-9536-54206862B34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AFCA-4943-AA4B-9818CF1C0054}"/>
                </c:ext>
              </c:extLst>
            </c:dLbl>
            <c:dLbl>
              <c:idx val="1"/>
              <c:tx>
                <c:rich>
                  <a:bodyPr/>
                  <a:lstStyle/>
                  <a:p>
                    <a:fld id="{E051A1CF-8B01-49AA-8270-D7451E30B1F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AFCA-4943-AA4B-9818CF1C0054}"/>
                </c:ext>
              </c:extLst>
            </c:dLbl>
            <c:dLbl>
              <c:idx val="2"/>
              <c:tx>
                <c:rich>
                  <a:bodyPr/>
                  <a:lstStyle/>
                  <a:p>
                    <a:fld id="{BD6A2BFC-C3E8-4CEC-A994-0259B77C7BC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AFCA-4943-AA4B-9818CF1C0054}"/>
                </c:ext>
              </c:extLst>
            </c:dLbl>
            <c:dLbl>
              <c:idx val="3"/>
              <c:tx>
                <c:rich>
                  <a:bodyPr/>
                  <a:lstStyle/>
                  <a:p>
                    <a:fld id="{65DAA862-AD06-4111-A363-E5C72464784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AFCA-4943-AA4B-9818CF1C0054}"/>
                </c:ext>
              </c:extLst>
            </c:dLbl>
            <c:dLbl>
              <c:idx val="4"/>
              <c:tx>
                <c:rich>
                  <a:bodyPr/>
                  <a:lstStyle/>
                  <a:p>
                    <a:fld id="{D48FF16E-B755-49B1-A382-F643B4F5636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AFCA-4943-AA4B-9818CF1C0054}"/>
                </c:ext>
              </c:extLst>
            </c:dLbl>
            <c:dLbl>
              <c:idx val="5"/>
              <c:tx>
                <c:rich>
                  <a:bodyPr/>
                  <a:lstStyle/>
                  <a:p>
                    <a:fld id="{E392CF51-6B06-438B-BC13-1BE44A02A5B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AFCA-4943-AA4B-9818CF1C0054}"/>
                </c:ext>
              </c:extLst>
            </c:dLbl>
            <c:dLbl>
              <c:idx val="6"/>
              <c:tx>
                <c:rich>
                  <a:bodyPr/>
                  <a:lstStyle/>
                  <a:p>
                    <a:fld id="{2EBE8615-BB92-41A9-BD03-89B37D2455E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AFCA-4943-AA4B-9818CF1C0054}"/>
                </c:ext>
              </c:extLst>
            </c:dLbl>
            <c:dLbl>
              <c:idx val="7"/>
              <c:tx>
                <c:rich>
                  <a:bodyPr/>
                  <a:lstStyle/>
                  <a:p>
                    <a:fld id="{5460DC9A-9C7A-451A-AA0E-09AEDBC7F3D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AFCA-4943-AA4B-9818CF1C0054}"/>
                </c:ext>
              </c:extLst>
            </c:dLbl>
            <c:dLbl>
              <c:idx val="8"/>
              <c:tx>
                <c:rich>
                  <a:bodyPr/>
                  <a:lstStyle/>
                  <a:p>
                    <a:fld id="{30DE00D9-636D-43D4-8ABA-DFF805A0A3C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AFCA-4943-AA4B-9818CF1C0054}"/>
                </c:ext>
              </c:extLst>
            </c:dLbl>
            <c:dLbl>
              <c:idx val="9"/>
              <c:tx>
                <c:rich>
                  <a:bodyPr/>
                  <a:lstStyle/>
                  <a:p>
                    <a:fld id="{230F72EC-FA9F-4A7C-8F81-0109CA8EE7D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AFCA-4943-AA4B-9818CF1C0054}"/>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AFCA-4943-AA4B-9818CF1C0054}"/>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AFCA-4943-AA4B-9818CF1C0054}"/>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AFCA-4943-AA4B-9818CF1C0054}"/>
                </c:ext>
              </c:extLst>
            </c:dLbl>
            <c:dLbl>
              <c:idx val="13"/>
              <c:tx>
                <c:rich>
                  <a:bodyPr/>
                  <a:lstStyle/>
                  <a:p>
                    <a:fld id="{36141648-83C0-4329-B2E7-EDFDEF2B6DE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AFCA-4943-AA4B-9818CF1C0054}"/>
                </c:ext>
              </c:extLst>
            </c:dLbl>
            <c:dLbl>
              <c:idx val="14"/>
              <c:tx>
                <c:rich>
                  <a:bodyPr/>
                  <a:lstStyle/>
                  <a:p>
                    <a:fld id="{D7AF735B-644F-4B41-B26E-09D8A346084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AFCA-4943-AA4B-9818CF1C0054}"/>
                </c:ext>
              </c:extLst>
            </c:dLbl>
            <c:dLbl>
              <c:idx val="15"/>
              <c:tx>
                <c:rich>
                  <a:bodyPr/>
                  <a:lstStyle/>
                  <a:p>
                    <a:fld id="{67D112F7-495E-401A-83B6-543515708FB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AFCA-4943-AA4B-9818CF1C0054}"/>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AFCA-4943-AA4B-9818CF1C0054}"/>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AFCA-4943-AA4B-9818CF1C0054}"/>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AFCA-4943-AA4B-9818CF1C0054}"/>
                </c:ext>
              </c:extLst>
            </c:dLbl>
            <c:dLbl>
              <c:idx val="19"/>
              <c:tx>
                <c:rich>
                  <a:bodyPr/>
                  <a:lstStyle/>
                  <a:p>
                    <a:fld id="{17B2988B-07E1-4247-8612-5F6A9735D4C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AFCA-4943-AA4B-9818CF1C0054}"/>
                </c:ext>
              </c:extLst>
            </c:dLbl>
            <c:dLbl>
              <c:idx val="20"/>
              <c:tx>
                <c:rich>
                  <a:bodyPr/>
                  <a:lstStyle/>
                  <a:p>
                    <a:fld id="{21007A83-AEC5-465B-87E1-A905C19D3F7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AFCA-4943-AA4B-9818CF1C0054}"/>
                </c:ext>
              </c:extLst>
            </c:dLbl>
            <c:dLbl>
              <c:idx val="21"/>
              <c:tx>
                <c:rich>
                  <a:bodyPr/>
                  <a:lstStyle/>
                  <a:p>
                    <a:fld id="{8FE0619A-D685-4462-A2B6-A6B68874F62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AFCA-4943-AA4B-9818CF1C0054}"/>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AFCA-4943-AA4B-9818CF1C0054}"/>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AFCA-4943-AA4B-9818CF1C0054}"/>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AFCA-4943-AA4B-9818CF1C0054}"/>
                </c:ext>
              </c:extLst>
            </c:dLbl>
            <c:dLbl>
              <c:idx val="25"/>
              <c:tx>
                <c:rich>
                  <a:bodyPr/>
                  <a:lstStyle/>
                  <a:p>
                    <a:fld id="{97EFB588-B796-4C7A-9540-39574A7D74B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AFCA-4943-AA4B-9818CF1C0054}"/>
                </c:ext>
              </c:extLst>
            </c:dLbl>
            <c:dLbl>
              <c:idx val="26"/>
              <c:tx>
                <c:rich>
                  <a:bodyPr/>
                  <a:lstStyle/>
                  <a:p>
                    <a:fld id="{98126E62-A72B-4411-954C-5106C280587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AFCA-4943-AA4B-9818CF1C0054}"/>
                </c:ext>
              </c:extLst>
            </c:dLbl>
            <c:dLbl>
              <c:idx val="27"/>
              <c:tx>
                <c:rich>
                  <a:bodyPr/>
                  <a:lstStyle/>
                  <a:p>
                    <a:fld id="{6D7FA93B-477F-4D8A-BE33-7E9A53B225C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AFCA-4943-AA4B-9818CF1C0054}"/>
                </c:ext>
              </c:extLst>
            </c:dLbl>
            <c:dLbl>
              <c:idx val="28"/>
              <c:tx>
                <c:rich>
                  <a:bodyPr/>
                  <a:lstStyle/>
                  <a:p>
                    <a:fld id="{D3818CAF-D472-4E33-9684-845C256C1B0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AFCA-4943-AA4B-9818CF1C0054}"/>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AFCA-4943-AA4B-9818CF1C0054}"/>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AFCA-4943-AA4B-9818CF1C0054}"/>
                </c:ext>
              </c:extLst>
            </c:dLbl>
            <c:dLbl>
              <c:idx val="31"/>
              <c:tx>
                <c:rich>
                  <a:bodyPr/>
                  <a:lstStyle/>
                  <a:p>
                    <a:fld id="{0646832B-1F60-4AE3-8FBB-880FD6592B0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AFCA-4943-AA4B-9818CF1C0054}"/>
                </c:ext>
              </c:extLst>
            </c:dLbl>
            <c:dLbl>
              <c:idx val="32"/>
              <c:tx>
                <c:rich>
                  <a:bodyPr/>
                  <a:lstStyle/>
                  <a:p>
                    <a:fld id="{28409F30-B04D-4AE2-A8D6-01D40AC9B99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AFCA-4943-AA4B-9818CF1C0054}"/>
                </c:ext>
              </c:extLst>
            </c:dLbl>
            <c:dLbl>
              <c:idx val="33"/>
              <c:tx>
                <c:rich>
                  <a:bodyPr/>
                  <a:lstStyle/>
                  <a:p>
                    <a:fld id="{1E91B754-24A4-48C6-B7BE-6F65BB30B21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AFCA-4943-AA4B-9818CF1C0054}"/>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AFCA-4943-AA4B-9818CF1C0054}"/>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AFCA-4943-AA4B-9818CF1C0054}"/>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AFCA-4943-AA4B-9818CF1C0054}"/>
                </c:ext>
              </c:extLst>
            </c:dLbl>
            <c:dLbl>
              <c:idx val="37"/>
              <c:tx>
                <c:rich>
                  <a:bodyPr/>
                  <a:lstStyle/>
                  <a:p>
                    <a:fld id="{6ECF5AE8-4033-4887-B098-CB833FDB1B8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AFCA-4943-AA4B-9818CF1C0054}"/>
                </c:ext>
              </c:extLst>
            </c:dLbl>
            <c:dLbl>
              <c:idx val="38"/>
              <c:tx>
                <c:rich>
                  <a:bodyPr/>
                  <a:lstStyle/>
                  <a:p>
                    <a:fld id="{601462E7-A03D-49A0-B2D2-4DDBDFDD548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AFCA-4943-AA4B-9818CF1C0054}"/>
                </c:ext>
              </c:extLst>
            </c:dLbl>
            <c:dLbl>
              <c:idx val="39"/>
              <c:tx>
                <c:rich>
                  <a:bodyPr/>
                  <a:lstStyle/>
                  <a:p>
                    <a:fld id="{21F5DCAD-7748-4C6D-BD1E-33D112F3697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AFCA-4943-AA4B-9818CF1C0054}"/>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AFCA-4943-AA4B-9818CF1C0054}"/>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AFCA-4943-AA4B-9818CF1C0054}"/>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AFCA-4943-AA4B-9818CF1C0054}"/>
                </c:ext>
              </c:extLst>
            </c:dLbl>
            <c:dLbl>
              <c:idx val="43"/>
              <c:tx>
                <c:rich>
                  <a:bodyPr/>
                  <a:lstStyle/>
                  <a:p>
                    <a:fld id="{E28F3389-3AC7-401D-B159-634E6DE0E37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AFCA-4943-AA4B-9818CF1C0054}"/>
                </c:ext>
              </c:extLst>
            </c:dLbl>
            <c:dLbl>
              <c:idx val="44"/>
              <c:tx>
                <c:rich>
                  <a:bodyPr/>
                  <a:lstStyle/>
                  <a:p>
                    <a:fld id="{28B3A722-AE44-45EF-8606-BC5D5FAB53F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AFCA-4943-AA4B-9818CF1C0054}"/>
                </c:ext>
              </c:extLst>
            </c:dLbl>
            <c:dLbl>
              <c:idx val="45"/>
              <c:tx>
                <c:rich>
                  <a:bodyPr/>
                  <a:lstStyle/>
                  <a:p>
                    <a:fld id="{55C0B9CB-B1D4-4CA5-B674-ABD675C8420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AFCA-4943-AA4B-9818CF1C0054}"/>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AFCA-4943-AA4B-9818CF1C0054}"/>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AFCA-4943-AA4B-9818CF1C0054}"/>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AFCA-4943-AA4B-9818CF1C0054}"/>
                </c:ext>
              </c:extLst>
            </c:dLbl>
            <c:dLbl>
              <c:idx val="49"/>
              <c:tx>
                <c:rich>
                  <a:bodyPr/>
                  <a:lstStyle/>
                  <a:p>
                    <a:fld id="{19D9DC70-7656-448D-853E-49D272E5BD1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AFCA-4943-AA4B-9818CF1C0054}"/>
                </c:ext>
              </c:extLst>
            </c:dLbl>
            <c:dLbl>
              <c:idx val="50"/>
              <c:tx>
                <c:rich>
                  <a:bodyPr/>
                  <a:lstStyle/>
                  <a:p>
                    <a:fld id="{8DFEFE6D-3A9C-4446-B60E-77B8C525414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AFCA-4943-AA4B-9818CF1C0054}"/>
                </c:ext>
              </c:extLst>
            </c:dLbl>
            <c:dLbl>
              <c:idx val="51"/>
              <c:tx>
                <c:rich>
                  <a:bodyPr/>
                  <a:lstStyle/>
                  <a:p>
                    <a:fld id="{5DA093C7-AE67-4F89-9A2A-74139CA4C53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AFCA-4943-AA4B-9818CF1C0054}"/>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AFCA-4943-AA4B-9818CF1C0054}"/>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AFCA-4943-AA4B-9818CF1C0054}"/>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53849719672747E-4"/>
          <c:y val="6.0063696518519595E-2"/>
          <c:w val="0.95453953634144284"/>
          <c:h val="0.88878250476834464"/>
        </c:manualLayout>
      </c:layout>
      <c:barChart>
        <c:barDir val="col"/>
        <c:grouping val="percentStacked"/>
        <c:varyColors val="0"/>
        <c:ser>
          <c:idx val="1"/>
          <c:order val="1"/>
          <c:tx>
            <c:strRef>
              <c:f>Sheet1!$C$1</c:f>
              <c:strCache>
                <c:ptCount val="1"/>
                <c:pt idx="0">
                  <c:v>bar</c:v>
                </c:pt>
              </c:strCache>
            </c:strRef>
          </c:tx>
          <c:spPr>
            <a:solidFill>
              <a:schemeClr val="bg2"/>
            </a:solidFill>
            <a:ln>
              <a:noFill/>
            </a:ln>
            <a:effectLst/>
          </c:spPr>
          <c:invertIfNegative val="0"/>
          <c:dLbls>
            <c:dLbl>
              <c:idx val="0"/>
              <c:tx>
                <c:rich>
                  <a:bodyPr/>
                  <a:lstStyle/>
                  <a:p>
                    <a:fld id="{31606925-21D6-4EA6-8D59-8619387137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B2C-A45E-07CB64A14B3B}"/>
                </c:ext>
              </c:extLst>
            </c:dLbl>
            <c:dLbl>
              <c:idx val="1"/>
              <c:tx>
                <c:rich>
                  <a:bodyPr/>
                  <a:lstStyle/>
                  <a:p>
                    <a:fld id="{2FA6E8F7-A5A0-400D-B789-B96D765F03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B2C-A45E-07CB64A14B3B}"/>
                </c:ext>
              </c:extLst>
            </c:dLbl>
            <c:dLbl>
              <c:idx val="2"/>
              <c:delete val="1"/>
              <c:extLst>
                <c:ext xmlns:c15="http://schemas.microsoft.com/office/drawing/2012/chart" uri="{CE6537A1-D6FC-4f65-9D91-7224C49458BB}"/>
                <c:ext xmlns:c16="http://schemas.microsoft.com/office/drawing/2014/chart" uri="{C3380CC4-5D6E-409C-BE32-E72D297353CC}">
                  <c16:uniqueId val="{00000002-48EF-4B2C-A45E-07CB64A14B3B}"/>
                </c:ext>
              </c:extLst>
            </c:dLbl>
            <c:dLbl>
              <c:idx val="3"/>
              <c:tx>
                <c:rich>
                  <a:bodyPr/>
                  <a:lstStyle/>
                  <a:p>
                    <a:fld id="{3B6E805D-E149-4D78-BEB2-09845EDE01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B2C-A45E-07CB64A14B3B}"/>
                </c:ext>
              </c:extLst>
            </c:dLbl>
            <c:dLbl>
              <c:idx val="4"/>
              <c:tx>
                <c:rich>
                  <a:bodyPr/>
                  <a:lstStyle/>
                  <a:p>
                    <a:fld id="{236B52C5-C3EC-4043-A452-6B8E8B6E28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B2C-A45E-07CB64A14B3B}"/>
                </c:ext>
              </c:extLst>
            </c:dLbl>
            <c:dLbl>
              <c:idx val="5"/>
              <c:tx>
                <c:rich>
                  <a:bodyPr/>
                  <a:lstStyle/>
                  <a:p>
                    <a:fld id="{F4295051-634D-461E-979B-4F4005DD2C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B2C-A45E-07CB64A14B3B}"/>
                </c:ext>
              </c:extLst>
            </c:dLbl>
            <c:dLbl>
              <c:idx val="6"/>
              <c:tx>
                <c:rich>
                  <a:bodyPr/>
                  <a:lstStyle/>
                  <a:p>
                    <a:fld id="{5320AF9F-7102-4CCC-BEA6-CFC10E1737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B2C-A45E-07CB64A14B3B}"/>
                </c:ext>
              </c:extLst>
            </c:dLbl>
            <c:dLbl>
              <c:idx val="7"/>
              <c:tx>
                <c:rich>
                  <a:bodyPr/>
                  <a:lstStyle/>
                  <a:p>
                    <a:fld id="{AD775128-BB51-45FC-9A4C-E14205B557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B2C-A45E-07CB64A14B3B}"/>
                </c:ext>
              </c:extLst>
            </c:dLbl>
            <c:dLbl>
              <c:idx val="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48EF-4B2C-A45E-07CB64A14B3B}"/>
                </c:ext>
              </c:extLst>
            </c:dLbl>
            <c:dLbl>
              <c:idx val="9"/>
              <c:tx>
                <c:rich>
                  <a:bodyPr/>
                  <a:lstStyle/>
                  <a:p>
                    <a:fld id="{E8992022-4A00-4AE5-B8A2-F3F1F989A1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48EF-4B2C-A45E-07CB64A14B3B}"/>
                </c:ext>
              </c:extLst>
            </c:dLbl>
            <c:dLbl>
              <c:idx val="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48EF-4B2C-A45E-07CB64A14B3B}"/>
                </c:ext>
              </c:extLst>
            </c:dLbl>
            <c:dLbl>
              <c:idx val="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48EF-4B2C-A45E-07CB64A14B3B}"/>
                </c:ext>
              </c:extLst>
            </c:dLbl>
            <c:dLbl>
              <c:idx val="12"/>
              <c:tx>
                <c:rich>
                  <a:bodyPr/>
                  <a:lstStyle/>
                  <a:p>
                    <a:fld id="{DAB15773-D9ED-4AAD-9008-60E71D1B88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8EF-4B2C-A45E-07CB64A14B3B}"/>
                </c:ext>
              </c:extLst>
            </c:dLbl>
            <c:dLbl>
              <c:idx val="13"/>
              <c:tx>
                <c:rich>
                  <a:bodyPr/>
                  <a:lstStyle/>
                  <a:p>
                    <a:fld id="{BEC6FAE8-F601-4102-B6A0-77D0514282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48EF-4B2C-A45E-07CB64A14B3B}"/>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E-48EF-4B2C-A45E-07CB64A14B3B}"/>
                </c:ext>
              </c:extLst>
            </c:dLbl>
            <c:dLbl>
              <c:idx val="15"/>
              <c:tx>
                <c:rich>
                  <a:bodyPr/>
                  <a:lstStyle/>
                  <a:p>
                    <a:fld id="{772E12F3-95F1-4FB7-A835-D88BCBA7DC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8EF-4B2C-A45E-07CB64A14B3B}"/>
                </c:ext>
              </c:extLst>
            </c:dLbl>
            <c:dLbl>
              <c:idx val="16"/>
              <c:tx>
                <c:rich>
                  <a:bodyPr/>
                  <a:lstStyle/>
                  <a:p>
                    <a:fld id="{FBF192E8-EF2A-4D2E-9946-7D44F8A316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48EF-4B2C-A45E-07CB64A14B3B}"/>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48EF-4B2C-A45E-07CB64A14B3B}"/>
                </c:ext>
              </c:extLst>
            </c:dLbl>
            <c:dLbl>
              <c:idx val="18"/>
              <c:tx>
                <c:rich>
                  <a:bodyPr/>
                  <a:lstStyle/>
                  <a:p>
                    <a:fld id="{689FE6BE-8096-45CF-8F3F-C0EFE67672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48EF-4B2C-A45E-07CB64A14B3B}"/>
                </c:ext>
              </c:extLst>
            </c:dLbl>
            <c:dLbl>
              <c:idx val="19"/>
              <c:tx>
                <c:rich>
                  <a:bodyPr/>
                  <a:lstStyle/>
                  <a:p>
                    <a:fld id="{20C57672-1FD0-44CD-B69B-8B07494301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48EF-4B2C-A45E-07CB64A14B3B}"/>
                </c:ext>
              </c:extLst>
            </c:dLbl>
            <c:dLbl>
              <c:idx val="20"/>
              <c:tx>
                <c:rich>
                  <a:bodyPr/>
                  <a:lstStyle/>
                  <a:p>
                    <a:fld id="{41AA2268-2F54-47EB-9F03-02CBE2BE9C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48EF-4B2C-A45E-07CB64A14B3B}"/>
                </c:ext>
              </c:extLst>
            </c:dLbl>
            <c:dLbl>
              <c:idx val="21"/>
              <c:tx>
                <c:rich>
                  <a:bodyPr/>
                  <a:lstStyle/>
                  <a:p>
                    <a:fld id="{5E63AAA4-3FB5-493C-91DA-553DCF2509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48EF-4B2C-A45E-07CB64A14B3B}"/>
                </c:ext>
              </c:extLst>
            </c:dLbl>
            <c:dLbl>
              <c:idx val="22"/>
              <c:tx>
                <c:rich>
                  <a:bodyPr/>
                  <a:lstStyle/>
                  <a:p>
                    <a:fld id="{08062249-7677-4C6B-84F7-5815688632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48EF-4B2C-A45E-07CB64A14B3B}"/>
                </c:ext>
              </c:extLst>
            </c:dLbl>
            <c:dLbl>
              <c:idx val="23"/>
              <c:tx>
                <c:rich>
                  <a:bodyPr/>
                  <a:lstStyle/>
                  <a:p>
                    <a:fld id="{67D697EE-C5B8-4EFB-9491-686069EACD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48EF-4B2C-A45E-07CB64A14B3B}"/>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48EF-4B2C-A45E-07CB64A14B3B}"/>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48EF-4B2C-A45E-07CB64A14B3B}"/>
                </c:ext>
              </c:extLst>
            </c:dLbl>
            <c:dLbl>
              <c:idx val="26"/>
              <c:tx>
                <c:rich>
                  <a:bodyPr/>
                  <a:lstStyle/>
                  <a:p>
                    <a:fld id="{AC01BC51-0BA8-41A7-A343-02E8BD2BBC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48EF-4B2C-A45E-07CB64A14B3B}"/>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48EF-4B2C-A45E-07CB64A14B3B}"/>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48EF-4B2C-A45E-07CB64A14B3B}"/>
                </c:ext>
              </c:extLst>
            </c:dLbl>
            <c:dLbl>
              <c:idx val="29"/>
              <c:tx>
                <c:rich>
                  <a:bodyPr/>
                  <a:lstStyle/>
                  <a:p>
                    <a:fld id="{E8BF13B9-98FC-4D8D-B950-B80812DBD6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8EF-4B2C-A45E-07CB64A14B3B}"/>
                </c:ext>
              </c:extLst>
            </c:dLbl>
            <c:dLbl>
              <c:idx val="30"/>
              <c:tx>
                <c:rich>
                  <a:bodyPr/>
                  <a:lstStyle/>
                  <a:p>
                    <a:fld id="{2FA3F849-313D-4036-AB3A-EDD80E386B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48EF-4B2C-A45E-07CB64A14B3B}"/>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48EF-4B2C-A45E-07CB64A14B3B}"/>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48EF-4B2C-A45E-07CB64A14B3B}"/>
                </c:ext>
              </c:extLst>
            </c:dLbl>
            <c:dLbl>
              <c:idx val="33"/>
              <c:tx>
                <c:rich>
                  <a:bodyPr/>
                  <a:lstStyle/>
                  <a:p>
                    <a:fld id="{4AD47467-C464-4793-81F4-A2149F1663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48EF-4B2C-A45E-07CB64A14B3B}"/>
                </c:ext>
              </c:extLst>
            </c:dLbl>
            <c:dLbl>
              <c:idx val="34"/>
              <c:tx>
                <c:rich>
                  <a:bodyPr/>
                  <a:lstStyle/>
                  <a:p>
                    <a:fld id="{96ADEC84-0D29-4508-8993-56B22C1899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48EF-4B2C-A45E-07CB64A14B3B}"/>
                </c:ext>
              </c:extLst>
            </c:dLbl>
            <c:dLbl>
              <c:idx val="35"/>
              <c:tx>
                <c:rich>
                  <a:bodyPr/>
                  <a:lstStyle/>
                  <a:p>
                    <a:fld id="{EB1F8078-CC71-4B4D-8172-1CCEFB8686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48EF-4B2C-A45E-07CB64A14B3B}"/>
                </c:ext>
              </c:extLst>
            </c:dLbl>
            <c:dLbl>
              <c:idx val="36"/>
              <c:tx>
                <c:rich>
                  <a:bodyPr/>
                  <a:lstStyle/>
                  <a:p>
                    <a:fld id="{BCA55EDF-973B-4277-B873-27ECE6212F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48EF-4B2C-A45E-07CB64A14B3B}"/>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48EF-4B2C-A45E-07CB64A14B3B}"/>
                </c:ext>
              </c:extLst>
            </c:dLbl>
            <c:dLbl>
              <c:idx val="38"/>
              <c:tx>
                <c:rich>
                  <a:bodyPr/>
                  <a:lstStyle/>
                  <a:p>
                    <a:fld id="{6A61EFED-3A44-4E79-8D45-37EFED26C3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48EF-4B2C-A45E-07CB64A14B3B}"/>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7-48EF-4B2C-A45E-07CB64A14B3B}"/>
                </c:ext>
              </c:extLst>
            </c:dLbl>
            <c:dLbl>
              <c:idx val="40"/>
              <c:tx>
                <c:rich>
                  <a:bodyPr/>
                  <a:lstStyle/>
                  <a:p>
                    <a:fld id="{887808EC-FC1E-4F1E-AC46-2D5BC1E4CC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48EF-4B2C-A45E-07CB64A14B3B}"/>
                </c:ext>
              </c:extLst>
            </c:dLbl>
            <c:dLbl>
              <c:idx val="41"/>
              <c:tx>
                <c:rich>
                  <a:bodyPr/>
                  <a:lstStyle/>
                  <a:p>
                    <a:fld id="{3AE90482-207D-4A95-B93D-056DA64C91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48EF-4B2C-A45E-07CB64A14B3B}"/>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48EF-4B2C-A45E-07CB64A14B3B}"/>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B-48EF-4B2C-A45E-07CB64A14B3B}"/>
                </c:ext>
              </c:extLst>
            </c:dLbl>
            <c:dLbl>
              <c:idx val="44"/>
              <c:tx>
                <c:rich>
                  <a:bodyPr/>
                  <a:lstStyle/>
                  <a:p>
                    <a:fld id="{83617E5E-7DAD-4C02-B2B9-7B547B790D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48EF-4B2C-A45E-07CB64A14B3B}"/>
                </c:ext>
              </c:extLst>
            </c:dLbl>
            <c:dLbl>
              <c:idx val="45"/>
              <c:tx>
                <c:rich>
                  <a:bodyPr/>
                  <a:lstStyle/>
                  <a:p>
                    <a:fld id="{CD45F18B-A15F-4582-B422-E6BD9C7423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8EF-4B2C-A45E-07CB64A14B3B}"/>
                </c:ext>
              </c:extLst>
            </c:dLbl>
            <c:dLbl>
              <c:idx val="46"/>
              <c:tx>
                <c:rich>
                  <a:bodyPr/>
                  <a:lstStyle/>
                  <a:p>
                    <a:fld id="{6879E8D7-904A-4828-A52E-05B970B09C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48EF-4B2C-A45E-07CB64A14B3B}"/>
                </c:ext>
              </c:extLst>
            </c:dLbl>
            <c:dLbl>
              <c:idx val="47"/>
              <c:tx>
                <c:rich>
                  <a:bodyPr/>
                  <a:lstStyle/>
                  <a:p>
                    <a:fld id="{0F044F1A-81F5-4D88-96AA-83AE4DEF3C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48EF-4B2C-A45E-07CB64A14B3B}"/>
                </c:ext>
              </c:extLst>
            </c:dLbl>
            <c:dLbl>
              <c:idx val="48"/>
              <c:tx>
                <c:rich>
                  <a:bodyPr/>
                  <a:lstStyle/>
                  <a:p>
                    <a:fld id="{7833E811-68DF-4226-926C-4A7D190E8D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48EF-4B2C-A45E-07CB64A14B3B}"/>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1-48EF-4B2C-A45E-07CB64A14B3B}"/>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2-48EF-4B2C-A45E-07CB64A14B3B}"/>
                </c:ext>
              </c:extLst>
            </c:dLbl>
            <c:dLbl>
              <c:idx val="51"/>
              <c:tx>
                <c:rich>
                  <a:bodyPr/>
                  <a:lstStyle/>
                  <a:p>
                    <a:fld id="{84C34DA3-669D-47D6-BF5B-F638EA7CB7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48EF-4B2C-A45E-07CB64A14B3B}"/>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1</c:v>
                </c:pt>
                <c:pt idx="1">
                  <c:v>1</c:v>
                </c:pt>
                <c:pt idx="2">
                  <c:v>1</c:v>
                </c:pt>
                <c:pt idx="3">
                  <c:v>1</c:v>
                </c:pt>
                <c:pt idx="4">
                  <c:v>1</c:v>
                </c:pt>
                <c:pt idx="5">
                  <c:v>1</c:v>
                </c:pt>
                <c:pt idx="6">
                  <c:v>1</c:v>
                </c:pt>
                <c:pt idx="7">
                  <c:v>1</c:v>
                </c:pt>
                <c:pt idx="8">
                  <c:v>#N/A</c:v>
                </c:pt>
                <c:pt idx="9">
                  <c:v>1</c:v>
                </c:pt>
                <c:pt idx="10">
                  <c:v>#N/A</c:v>
                </c:pt>
                <c:pt idx="11">
                  <c:v>#N/A</c:v>
                </c:pt>
                <c:pt idx="12">
                  <c:v>1</c:v>
                </c:pt>
                <c:pt idx="13">
                  <c:v>1</c:v>
                </c:pt>
                <c:pt idx="14">
                  <c:v>#N/A</c:v>
                </c:pt>
                <c:pt idx="15">
                  <c:v>1</c:v>
                </c:pt>
                <c:pt idx="16">
                  <c:v>1</c:v>
                </c:pt>
                <c:pt idx="17">
                  <c:v>#N/A</c:v>
                </c:pt>
                <c:pt idx="18">
                  <c:v>1</c:v>
                </c:pt>
                <c:pt idx="19">
                  <c:v>1</c:v>
                </c:pt>
                <c:pt idx="20">
                  <c:v>1</c:v>
                </c:pt>
                <c:pt idx="21">
                  <c:v>1</c:v>
                </c:pt>
                <c:pt idx="22">
                  <c:v>1</c:v>
                </c:pt>
                <c:pt idx="23">
                  <c:v>1</c:v>
                </c:pt>
                <c:pt idx="24">
                  <c:v>#N/A</c:v>
                </c:pt>
                <c:pt idx="25">
                  <c:v>#N/A</c:v>
                </c:pt>
                <c:pt idx="26">
                  <c:v>1</c:v>
                </c:pt>
                <c:pt idx="27">
                  <c:v>#N/A</c:v>
                </c:pt>
                <c:pt idx="28">
                  <c:v>#N/A</c:v>
                </c:pt>
                <c:pt idx="29">
                  <c:v>1</c:v>
                </c:pt>
                <c:pt idx="30">
                  <c:v>1</c:v>
                </c:pt>
                <c:pt idx="31">
                  <c:v>#N/A</c:v>
                </c:pt>
                <c:pt idx="32">
                  <c:v>#N/A</c:v>
                </c:pt>
                <c:pt idx="33">
                  <c:v>1</c:v>
                </c:pt>
                <c:pt idx="34">
                  <c:v>1</c:v>
                </c:pt>
                <c:pt idx="35">
                  <c:v>1</c:v>
                </c:pt>
                <c:pt idx="36">
                  <c:v>1</c:v>
                </c:pt>
                <c:pt idx="37">
                  <c:v>#N/A</c:v>
                </c:pt>
                <c:pt idx="38">
                  <c:v>1</c:v>
                </c:pt>
                <c:pt idx="39">
                  <c:v>#N/A</c:v>
                </c:pt>
                <c:pt idx="40">
                  <c:v>1</c:v>
                </c:pt>
                <c:pt idx="41">
                  <c:v>1</c:v>
                </c:pt>
                <c:pt idx="42">
                  <c:v>#N/A</c:v>
                </c:pt>
                <c:pt idx="43">
                  <c:v>#N/A</c:v>
                </c:pt>
                <c:pt idx="44">
                  <c:v>1</c:v>
                </c:pt>
                <c:pt idx="45">
                  <c:v>1</c:v>
                </c:pt>
                <c:pt idx="46">
                  <c:v>1</c:v>
                </c:pt>
                <c:pt idx="47">
                  <c:v>1</c:v>
                </c:pt>
                <c:pt idx="48">
                  <c:v>1</c:v>
                </c:pt>
                <c:pt idx="49">
                  <c:v>#N/A</c:v>
                </c:pt>
                <c:pt idx="50">
                  <c:v>#N/A</c:v>
                </c:pt>
                <c:pt idx="51">
                  <c:v>1</c:v>
                </c:pt>
              </c:numCache>
            </c:numRef>
          </c:val>
          <c:extLst>
            <c:ext xmlns:c15="http://schemas.microsoft.com/office/drawing/2012/chart" uri="{02D57815-91ED-43cb-92C2-25804820EDAC}">
              <c15:datalabelsRange>
                <c15:f>Sheet1!$G$2:$G$53</c15:f>
                <c15:dlblRangeCache>
                  <c:ptCount val="52"/>
                  <c:pt idx="2">
                    <c:v>244%</c:v>
                  </c:pt>
                  <c:pt idx="45">
                    <c:v>209%</c:v>
                  </c:pt>
                </c15:dlblRangeCache>
              </c15:datalabelsRange>
            </c:ext>
            <c:ext xmlns:c16="http://schemas.microsoft.com/office/drawing/2014/chart" uri="{C3380CC4-5D6E-409C-BE32-E72D297353CC}">
              <c16:uniqueId val="{00000034-48EF-4B2C-A45E-07CB64A14B3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bubble</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0.83149283462587276</c:v>
                </c:pt>
                <c:pt idx="1">
                  <c:v>1.6315180743925193</c:v>
                </c:pt>
                <c:pt idx="2">
                  <c:v>2.4439356076015577</c:v>
                </c:pt>
                <c:pt idx="3">
                  <c:v>0.77292587642644184</c:v>
                </c:pt>
                <c:pt idx="4">
                  <c:v>0.74765866355299326</c:v>
                </c:pt>
                <c:pt idx="5">
                  <c:v>0.98081754103558449</c:v>
                </c:pt>
                <c:pt idx="6">
                  <c:v>0.70833026532165033</c:v>
                </c:pt>
                <c:pt idx="7">
                  <c:v>0.84407908755481287</c:v>
                </c:pt>
                <c:pt idx="8">
                  <c:v>#N/A</c:v>
                </c:pt>
                <c:pt idx="9">
                  <c:v>#N/A</c:v>
                </c:pt>
                <c:pt idx="10">
                  <c:v>#N/A</c:v>
                </c:pt>
                <c:pt idx="11">
                  <c:v>#N/A</c:v>
                </c:pt>
                <c:pt idx="12">
                  <c:v>#N/A</c:v>
                </c:pt>
                <c:pt idx="13">
                  <c:v>#N/A</c:v>
                </c:pt>
                <c:pt idx="14">
                  <c:v>#N/A</c:v>
                </c:pt>
                <c:pt idx="15">
                  <c:v>0.8725708042279976</c:v>
                </c:pt>
                <c:pt idx="16">
                  <c:v>0.4577243728236281</c:v>
                </c:pt>
                <c:pt idx="17">
                  <c:v>#N/A</c:v>
                </c:pt>
                <c:pt idx="18">
                  <c:v>0.15218560397131825</c:v>
                </c:pt>
                <c:pt idx="19">
                  <c:v>0.3636835009851706</c:v>
                </c:pt>
                <c:pt idx="20">
                  <c:v>0.23195425066291811</c:v>
                </c:pt>
                <c:pt idx="21">
                  <c:v>0.85483845584879525</c:v>
                </c:pt>
                <c:pt idx="22">
                  <c:v>0.3003459533206646</c:v>
                </c:pt>
                <c:pt idx="23">
                  <c:v>0.33698879958684352</c:v>
                </c:pt>
                <c:pt idx="24">
                  <c:v>#N/A</c:v>
                </c:pt>
                <c:pt idx="25">
                  <c:v>#N/A</c:v>
                </c:pt>
                <c:pt idx="26">
                  <c:v>0.47679126329628302</c:v>
                </c:pt>
                <c:pt idx="27">
                  <c:v>#N/A</c:v>
                </c:pt>
                <c:pt idx="28">
                  <c:v>#N/A</c:v>
                </c:pt>
                <c:pt idx="29">
                  <c:v>0.86927040954705725</c:v>
                </c:pt>
                <c:pt idx="30">
                  <c:v>7.1587946883100939E-2</c:v>
                </c:pt>
                <c:pt idx="31">
                  <c:v>#N/A</c:v>
                </c:pt>
                <c:pt idx="32">
                  <c:v>#N/A</c:v>
                </c:pt>
                <c:pt idx="33">
                  <c:v>0.91374133318774908</c:v>
                </c:pt>
                <c:pt idx="34">
                  <c:v>#N/A</c:v>
                </c:pt>
                <c:pt idx="35">
                  <c:v>#N/A</c:v>
                </c:pt>
                <c:pt idx="36">
                  <c:v>#N/A</c:v>
                </c:pt>
                <c:pt idx="37">
                  <c:v>#N/A</c:v>
                </c:pt>
                <c:pt idx="38">
                  <c:v>0.2039582880232598</c:v>
                </c:pt>
                <c:pt idx="39">
                  <c:v>#N/A</c:v>
                </c:pt>
                <c:pt idx="40">
                  <c:v>0.81834423418520841</c:v>
                </c:pt>
                <c:pt idx="41">
                  <c:v>0.24170478834974729</c:v>
                </c:pt>
                <c:pt idx="42">
                  <c:v>#N/A</c:v>
                </c:pt>
                <c:pt idx="43">
                  <c:v>#N/A</c:v>
                </c:pt>
                <c:pt idx="44">
                  <c:v>0.54761466764778022</c:v>
                </c:pt>
                <c:pt idx="45">
                  <c:v>2.0907701528318849</c:v>
                </c:pt>
                <c:pt idx="46">
                  <c:v>0.32255425519827291</c:v>
                </c:pt>
                <c:pt idx="47">
                  <c:v>0.60169518129022137</c:v>
                </c:pt>
                <c:pt idx="48">
                  <c:v>#N/A</c:v>
                </c:pt>
                <c:pt idx="49">
                  <c:v>#N/A</c:v>
                </c:pt>
                <c:pt idx="50">
                  <c:v>#N/A</c:v>
                </c:pt>
                <c:pt idx="51">
                  <c:v>0.47447486087432045</c:v>
                </c:pt>
              </c:numCache>
            </c:numRef>
          </c:val>
          <c:smooth val="0"/>
          <c:extLst>
            <c:ext xmlns:c16="http://schemas.microsoft.com/office/drawing/2014/chart" uri="{C3380CC4-5D6E-409C-BE32-E72D297353CC}">
              <c16:uniqueId val="{00000035-48EF-4B2C-A45E-07CB64A14B3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N/A</c:v>
                </c:pt>
                <c:pt idx="1">
                  <c:v>#N/A</c:v>
                </c:pt>
                <c:pt idx="2">
                  <c:v>1</c:v>
                </c:pt>
                <c:pt idx="3">
                  <c:v>1</c:v>
                </c:pt>
                <c:pt idx="4">
                  <c:v>1</c:v>
                </c:pt>
                <c:pt idx="5">
                  <c:v>1</c:v>
                </c:pt>
                <c:pt idx="6">
                  <c:v>1</c:v>
                </c:pt>
                <c:pt idx="7">
                  <c:v>1</c:v>
                </c:pt>
                <c:pt idx="8">
                  <c:v>1</c:v>
                </c:pt>
                <c:pt idx="9">
                  <c:v>1</c:v>
                </c:pt>
                <c:pt idx="10">
                  <c:v>1</c:v>
                </c:pt>
                <c:pt idx="11">
                  <c:v>1</c:v>
                </c:pt>
                <c:pt idx="12">
                  <c:v>1</c:v>
                </c:pt>
                <c:pt idx="13">
                  <c:v>1</c:v>
                </c:pt>
                <c:pt idx="14">
                  <c:v>1</c:v>
                </c:pt>
                <c:pt idx="15">
                  <c:v>#N/A</c:v>
                </c:pt>
                <c:pt idx="16">
                  <c:v>#N/A</c:v>
                </c:pt>
                <c:pt idx="17">
                  <c:v>#N/A</c:v>
                </c:pt>
                <c:pt idx="18">
                  <c:v>#N/A</c:v>
                </c:pt>
                <c:pt idx="19">
                  <c:v>#N/A</c:v>
                </c:pt>
                <c:pt idx="20">
                  <c:v>#N/A</c:v>
                </c:pt>
                <c:pt idx="21">
                  <c:v>#N/A</c:v>
                </c:pt>
                <c:pt idx="22">
                  <c:v>1</c:v>
                </c:pt>
                <c:pt idx="23">
                  <c:v>1</c:v>
                </c:pt>
                <c:pt idx="24">
                  <c:v>1</c:v>
                </c:pt>
                <c:pt idx="25">
                  <c:v>#N/A</c:v>
                </c:pt>
                <c:pt idx="26">
                  <c:v>#N/A</c:v>
                </c:pt>
                <c:pt idx="27">
                  <c:v>#N/A</c:v>
                </c:pt>
                <c:pt idx="28">
                  <c:v>#N/A</c:v>
                </c:pt>
                <c:pt idx="29">
                  <c:v>#N/A</c:v>
                </c:pt>
                <c:pt idx="30">
                  <c:v>#N/A</c:v>
                </c:pt>
                <c:pt idx="31">
                  <c:v>#N/A</c:v>
                </c:pt>
                <c:pt idx="32">
                  <c:v>#N/A</c:v>
                </c:pt>
                <c:pt idx="33">
                  <c:v>#N/A</c:v>
                </c:pt>
                <c:pt idx="34">
                  <c:v>1</c:v>
                </c:pt>
                <c:pt idx="35">
                  <c:v>#N/A</c:v>
                </c:pt>
                <c:pt idx="36">
                  <c:v>#N/A</c:v>
                </c:pt>
                <c:pt idx="37">
                  <c:v>#N/A</c:v>
                </c:pt>
                <c:pt idx="38">
                  <c:v>#N/A</c:v>
                </c:pt>
                <c:pt idx="39">
                  <c:v>1</c:v>
                </c:pt>
                <c:pt idx="40">
                  <c:v>1</c:v>
                </c:pt>
                <c:pt idx="41">
                  <c:v>1</c:v>
                </c:pt>
                <c:pt idx="42">
                  <c:v>1</c:v>
                </c:pt>
                <c:pt idx="43">
                  <c:v>1</c:v>
                </c:pt>
                <c:pt idx="44">
                  <c:v>#N/A</c:v>
                </c:pt>
                <c:pt idx="45">
                  <c:v>#N/A</c:v>
                </c:pt>
                <c:pt idx="46">
                  <c:v>#N/A</c:v>
                </c:pt>
                <c:pt idx="47">
                  <c:v>#N/A</c:v>
                </c:pt>
                <c:pt idx="48">
                  <c:v>#N/A</c:v>
                </c:pt>
                <c:pt idx="49">
                  <c:v>#N/A</c:v>
                </c:pt>
                <c:pt idx="50">
                  <c:v>#N/A</c:v>
                </c:pt>
                <c:pt idx="51">
                  <c:v>#N/A</c:v>
                </c:pt>
              </c:numCache>
            </c:numRef>
          </c:val>
          <c:extLst>
            <c:ext xmlns:c16="http://schemas.microsoft.com/office/drawing/2014/chart" uri="{C3380CC4-5D6E-409C-BE32-E72D297353CC}">
              <c16:uniqueId val="{00000000-1DD4-432D-86DC-6E7EECD7DC7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N/A</c:v>
                </c:pt>
                <c:pt idx="1">
                  <c:v>#N/A</c:v>
                </c:pt>
                <c:pt idx="2">
                  <c:v>0.11367872175570121</c:v>
                </c:pt>
                <c:pt idx="3">
                  <c:v>0.12132533378739771</c:v>
                </c:pt>
                <c:pt idx="4">
                  <c:v>0.2148614964962611</c:v>
                </c:pt>
                <c:pt idx="5">
                  <c:v>0.17336822212530892</c:v>
                </c:pt>
                <c:pt idx="6">
                  <c:v>0.16371495760272436</c:v>
                </c:pt>
                <c:pt idx="7">
                  <c:v>0.359005905511811</c:v>
                </c:pt>
                <c:pt idx="8">
                  <c:v>0.35807339627396623</c:v>
                </c:pt>
                <c:pt idx="9">
                  <c:v>0.3262485253637436</c:v>
                </c:pt>
                <c:pt idx="10">
                  <c:v>0.18571348293560108</c:v>
                </c:pt>
                <c:pt idx="11">
                  <c:v>0.14821256608297467</c:v>
                </c:pt>
                <c:pt idx="12">
                  <c:v>0.11874984490930296</c:v>
                </c:pt>
                <c:pt idx="13">
                  <c:v>0.26535114062005177</c:v>
                </c:pt>
                <c:pt idx="14">
                  <c:v>#N/A</c:v>
                </c:pt>
                <c:pt idx="15">
                  <c:v>#N/A</c:v>
                </c:pt>
                <c:pt idx="16">
                  <c:v>#N/A</c:v>
                </c:pt>
                <c:pt idx="17">
                  <c:v>#N/A</c:v>
                </c:pt>
                <c:pt idx="18">
                  <c:v>#N/A</c:v>
                </c:pt>
                <c:pt idx="19">
                  <c:v>#N/A</c:v>
                </c:pt>
                <c:pt idx="20">
                  <c:v>#N/A</c:v>
                </c:pt>
                <c:pt idx="21">
                  <c:v>#N/A</c:v>
                </c:pt>
                <c:pt idx="22">
                  <c:v>0.40337942434339991</c:v>
                </c:pt>
                <c:pt idx="23">
                  <c:v>0.48057218130862606</c:v>
                </c:pt>
                <c:pt idx="24">
                  <c:v>8.1719681066375477E-2</c:v>
                </c:pt>
                <c:pt idx="25">
                  <c:v>#N/A</c:v>
                </c:pt>
                <c:pt idx="26">
                  <c:v>#N/A</c:v>
                </c:pt>
                <c:pt idx="27">
                  <c:v>#N/A</c:v>
                </c:pt>
                <c:pt idx="28">
                  <c:v>#N/A</c:v>
                </c:pt>
                <c:pt idx="29">
                  <c:v>#N/A</c:v>
                </c:pt>
                <c:pt idx="30">
                  <c:v>#N/A</c:v>
                </c:pt>
                <c:pt idx="31">
                  <c:v>#N/A</c:v>
                </c:pt>
                <c:pt idx="32">
                  <c:v>#N/A</c:v>
                </c:pt>
                <c:pt idx="33">
                  <c:v>#N/A</c:v>
                </c:pt>
                <c:pt idx="34">
                  <c:v>0.14244945048272512</c:v>
                </c:pt>
                <c:pt idx="35">
                  <c:v>#N/A</c:v>
                </c:pt>
                <c:pt idx="36">
                  <c:v>#N/A</c:v>
                </c:pt>
                <c:pt idx="37">
                  <c:v>#N/A</c:v>
                </c:pt>
                <c:pt idx="38">
                  <c:v>#N/A</c:v>
                </c:pt>
                <c:pt idx="39">
                  <c:v>#N/A</c:v>
                </c:pt>
                <c:pt idx="40">
                  <c:v>#N/A</c:v>
                </c:pt>
                <c:pt idx="41">
                  <c:v>0.47272657381187294</c:v>
                </c:pt>
                <c:pt idx="42">
                  <c:v>0.62001930605459321</c:v>
                </c:pt>
                <c:pt idx="43">
                  <c:v>0.40657862283907709</c:v>
                </c:pt>
                <c:pt idx="44">
                  <c:v>#N/A</c:v>
                </c:pt>
                <c:pt idx="45">
                  <c:v>#N/A</c:v>
                </c:pt>
                <c:pt idx="46">
                  <c:v>#N/A</c:v>
                </c:pt>
                <c:pt idx="47">
                  <c:v>#N/A</c:v>
                </c:pt>
                <c:pt idx="48">
                  <c:v>#N/A</c:v>
                </c:pt>
                <c:pt idx="49">
                  <c:v>#N/A</c:v>
                </c:pt>
                <c:pt idx="50">
                  <c:v>#N/A</c:v>
                </c:pt>
                <c:pt idx="51">
                  <c:v>#N/A</c:v>
                </c:pt>
              </c:numCache>
            </c:numRef>
          </c:val>
          <c:smooth val="0"/>
          <c:extLst>
            <c:ext xmlns:c16="http://schemas.microsoft.com/office/drawing/2014/chart" uri="{C3380CC4-5D6E-409C-BE32-E72D297353CC}">
              <c16:uniqueId val="{00000001-1DD4-432D-86DC-6E7EECD7DC7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6.318490866426546E-2"/>
          <c:w val="0.9561045863546731"/>
          <c:h val="0.87363018267146908"/>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c:formatCode>
                <c:ptCount val="52"/>
                <c:pt idx="0">
                  <c:v>#N/A</c:v>
                </c:pt>
                <c:pt idx="1">
                  <c:v>#N/A</c:v>
                </c:pt>
                <c:pt idx="2">
                  <c:v>1</c:v>
                </c:pt>
                <c:pt idx="3">
                  <c:v>1</c:v>
                </c:pt>
                <c:pt idx="4">
                  <c:v>1</c:v>
                </c:pt>
                <c:pt idx="5">
                  <c:v>1</c:v>
                </c:pt>
                <c:pt idx="6">
                  <c:v>1</c:v>
                </c:pt>
                <c:pt idx="7">
                  <c:v>1</c:v>
                </c:pt>
                <c:pt idx="8">
                  <c:v>1</c:v>
                </c:pt>
                <c:pt idx="9">
                  <c:v>1</c:v>
                </c:pt>
                <c:pt idx="10">
                  <c:v>1</c:v>
                </c:pt>
                <c:pt idx="11">
                  <c:v>1</c:v>
                </c:pt>
                <c:pt idx="12">
                  <c:v>1</c:v>
                </c:pt>
                <c:pt idx="13">
                  <c:v>1</c:v>
                </c:pt>
                <c:pt idx="14">
                  <c:v>1</c:v>
                </c:pt>
                <c:pt idx="15">
                  <c:v>#N/A</c:v>
                </c:pt>
                <c:pt idx="16">
                  <c:v>#N/A</c:v>
                </c:pt>
                <c:pt idx="17">
                  <c:v>#N/A</c:v>
                </c:pt>
                <c:pt idx="18">
                  <c:v>#N/A</c:v>
                </c:pt>
                <c:pt idx="19">
                  <c:v>#N/A</c:v>
                </c:pt>
                <c:pt idx="20">
                  <c:v>#N/A</c:v>
                </c:pt>
                <c:pt idx="21">
                  <c:v>#N/A</c:v>
                </c:pt>
                <c:pt idx="22">
                  <c:v>1</c:v>
                </c:pt>
                <c:pt idx="23">
                  <c:v>1</c:v>
                </c:pt>
                <c:pt idx="24">
                  <c:v>1</c:v>
                </c:pt>
                <c:pt idx="25">
                  <c:v>#N/A</c:v>
                </c:pt>
                <c:pt idx="26">
                  <c:v>#N/A</c:v>
                </c:pt>
                <c:pt idx="27">
                  <c:v>#N/A</c:v>
                </c:pt>
                <c:pt idx="28">
                  <c:v>#N/A</c:v>
                </c:pt>
                <c:pt idx="29">
                  <c:v>#N/A</c:v>
                </c:pt>
                <c:pt idx="30">
                  <c:v>#N/A</c:v>
                </c:pt>
                <c:pt idx="31">
                  <c:v>#N/A</c:v>
                </c:pt>
                <c:pt idx="32">
                  <c:v>#N/A</c:v>
                </c:pt>
                <c:pt idx="33">
                  <c:v>#N/A</c:v>
                </c:pt>
                <c:pt idx="34">
                  <c:v>1</c:v>
                </c:pt>
                <c:pt idx="35">
                  <c:v>#N/A</c:v>
                </c:pt>
                <c:pt idx="36">
                  <c:v>#N/A</c:v>
                </c:pt>
                <c:pt idx="37">
                  <c:v>#N/A</c:v>
                </c:pt>
                <c:pt idx="38">
                  <c:v>#N/A</c:v>
                </c:pt>
                <c:pt idx="39">
                  <c:v>1</c:v>
                </c:pt>
                <c:pt idx="40">
                  <c:v>1</c:v>
                </c:pt>
                <c:pt idx="41">
                  <c:v>1</c:v>
                </c:pt>
                <c:pt idx="42">
                  <c:v>1</c:v>
                </c:pt>
                <c:pt idx="43">
                  <c:v>1</c:v>
                </c:pt>
                <c:pt idx="44">
                  <c:v>#N/A</c:v>
                </c:pt>
                <c:pt idx="45">
                  <c:v>#N/A</c:v>
                </c:pt>
                <c:pt idx="46">
                  <c:v>#N/A</c:v>
                </c:pt>
                <c:pt idx="47">
                  <c:v>#N/A</c:v>
                </c:pt>
                <c:pt idx="48">
                  <c:v>#N/A</c:v>
                </c:pt>
                <c:pt idx="49">
                  <c:v>#N/A</c:v>
                </c:pt>
                <c:pt idx="50">
                  <c:v>#N/A</c:v>
                </c:pt>
                <c:pt idx="51">
                  <c:v>#N/A</c:v>
                </c:pt>
              </c:numCache>
            </c:numRef>
          </c:val>
          <c:extLst>
            <c:ext xmlns:c16="http://schemas.microsoft.com/office/drawing/2014/chart" uri="{C3380CC4-5D6E-409C-BE32-E72D297353CC}">
              <c16:uniqueId val="{00000000-7281-4004-839E-EC8ADA9B4F03}"/>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c:formatCode>
                <c:ptCount val="52"/>
                <c:pt idx="0">
                  <c:v>#N/A</c:v>
                </c:pt>
                <c:pt idx="1">
                  <c:v>#N/A</c:v>
                </c:pt>
                <c:pt idx="2">
                  <c:v>0.11367872175570121</c:v>
                </c:pt>
                <c:pt idx="3">
                  <c:v>0.12132533378739771</c:v>
                </c:pt>
                <c:pt idx="4">
                  <c:v>0.2148614964962611</c:v>
                </c:pt>
                <c:pt idx="5">
                  <c:v>0.17336822212530892</c:v>
                </c:pt>
                <c:pt idx="6">
                  <c:v>0.16371495760272436</c:v>
                </c:pt>
                <c:pt idx="7">
                  <c:v>0.359005905511811</c:v>
                </c:pt>
                <c:pt idx="8">
                  <c:v>0.35807339627396623</c:v>
                </c:pt>
                <c:pt idx="9">
                  <c:v>0.3262485253637436</c:v>
                </c:pt>
                <c:pt idx="10">
                  <c:v>0.18571348293560108</c:v>
                </c:pt>
                <c:pt idx="11">
                  <c:v>0.14821256608297467</c:v>
                </c:pt>
                <c:pt idx="12">
                  <c:v>0.11874984490930296</c:v>
                </c:pt>
                <c:pt idx="13">
                  <c:v>0.26535114062005177</c:v>
                </c:pt>
                <c:pt idx="14">
                  <c:v>#N/A</c:v>
                </c:pt>
                <c:pt idx="15">
                  <c:v>#N/A</c:v>
                </c:pt>
                <c:pt idx="16">
                  <c:v>#N/A</c:v>
                </c:pt>
                <c:pt idx="17">
                  <c:v>#N/A</c:v>
                </c:pt>
                <c:pt idx="18">
                  <c:v>#N/A</c:v>
                </c:pt>
                <c:pt idx="19">
                  <c:v>#N/A</c:v>
                </c:pt>
                <c:pt idx="20">
                  <c:v>#N/A</c:v>
                </c:pt>
                <c:pt idx="21">
                  <c:v>#N/A</c:v>
                </c:pt>
                <c:pt idx="22">
                  <c:v>0.40337942434339991</c:v>
                </c:pt>
                <c:pt idx="23">
                  <c:v>0.48057218130862606</c:v>
                </c:pt>
                <c:pt idx="24">
                  <c:v>8.1719681066375477E-2</c:v>
                </c:pt>
                <c:pt idx="25">
                  <c:v>#N/A</c:v>
                </c:pt>
                <c:pt idx="26">
                  <c:v>#N/A</c:v>
                </c:pt>
                <c:pt idx="27">
                  <c:v>#N/A</c:v>
                </c:pt>
                <c:pt idx="28">
                  <c:v>#N/A</c:v>
                </c:pt>
                <c:pt idx="29">
                  <c:v>#N/A</c:v>
                </c:pt>
                <c:pt idx="30">
                  <c:v>#N/A</c:v>
                </c:pt>
                <c:pt idx="31">
                  <c:v>#N/A</c:v>
                </c:pt>
                <c:pt idx="32">
                  <c:v>#N/A</c:v>
                </c:pt>
                <c:pt idx="33">
                  <c:v>#N/A</c:v>
                </c:pt>
                <c:pt idx="34">
                  <c:v>0.14244945048272512</c:v>
                </c:pt>
                <c:pt idx="35">
                  <c:v>#N/A</c:v>
                </c:pt>
                <c:pt idx="36">
                  <c:v>#N/A</c:v>
                </c:pt>
                <c:pt idx="37">
                  <c:v>#N/A</c:v>
                </c:pt>
                <c:pt idx="38">
                  <c:v>#N/A</c:v>
                </c:pt>
                <c:pt idx="39">
                  <c:v>#N/A</c:v>
                </c:pt>
                <c:pt idx="40">
                  <c:v>#N/A</c:v>
                </c:pt>
                <c:pt idx="41">
                  <c:v>0.47272657381187294</c:v>
                </c:pt>
                <c:pt idx="42">
                  <c:v>0.62001930605459321</c:v>
                </c:pt>
                <c:pt idx="43">
                  <c:v>0.40657862283907709</c:v>
                </c:pt>
                <c:pt idx="44">
                  <c:v>#N/A</c:v>
                </c:pt>
                <c:pt idx="45">
                  <c:v>#N/A</c:v>
                </c:pt>
                <c:pt idx="46">
                  <c:v>#N/A</c:v>
                </c:pt>
                <c:pt idx="47">
                  <c:v>#N/A</c:v>
                </c:pt>
                <c:pt idx="48">
                  <c:v>#N/A</c:v>
                </c:pt>
                <c:pt idx="49">
                  <c:v>#N/A</c:v>
                </c:pt>
                <c:pt idx="50">
                  <c:v>#N/A</c:v>
                </c:pt>
                <c:pt idx="51">
                  <c:v>#N/A</c:v>
                </c:pt>
              </c:numCache>
            </c:numRef>
          </c:val>
          <c:smooth val="0"/>
          <c:extLst>
            <c:ext xmlns:c16="http://schemas.microsoft.com/office/drawing/2014/chart" uri="{C3380CC4-5D6E-409C-BE32-E72D297353CC}">
              <c16:uniqueId val="{00000001-7281-4004-839E-EC8ADA9B4F03}"/>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1"/>
        <c:axPos val="b"/>
        <c:numFmt formatCode="General" sourceLinked="1"/>
        <c:majorTickMark val="none"/>
        <c:minorTickMark val="none"/>
        <c:tickLblPos val="nextTo"/>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6307699200601E-3"/>
          <c:y val="3.4417139181398007E-2"/>
          <c:w val="0.9548399555847531"/>
          <c:h val="0.44275310024208181"/>
        </c:manualLayout>
      </c:layout>
      <c:barChart>
        <c:barDir val="col"/>
        <c:grouping val="percentStacked"/>
        <c:varyColors val="0"/>
        <c:ser>
          <c:idx val="1"/>
          <c:order val="1"/>
          <c:tx>
            <c:strRef>
              <c:f>Sheet1!$C$1</c:f>
              <c:strCache>
                <c:ptCount val="1"/>
                <c:pt idx="0">
                  <c:v>Column3</c:v>
                </c:pt>
              </c:strCache>
            </c:strRef>
          </c:tx>
          <c:spPr>
            <a:solidFill>
              <a:schemeClr val="bg2"/>
            </a:solidFill>
            <a:ln>
              <a:noFill/>
            </a:ln>
            <a:effectLst/>
          </c:spPr>
          <c:invertIfNegative val="0"/>
          <c:dLbls>
            <c:dLbl>
              <c:idx val="0"/>
              <c:tx>
                <c:rich>
                  <a:bodyPr/>
                  <a:lstStyle/>
                  <a:p>
                    <a:fld id="{DB9911AA-8E9A-4EF2-802A-634856BDF4A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1522-4FFF-9E56-9731F6C7602B}"/>
                </c:ext>
              </c:extLst>
            </c:dLbl>
            <c:dLbl>
              <c:idx val="1"/>
              <c:tx>
                <c:rich>
                  <a:bodyPr/>
                  <a:lstStyle/>
                  <a:p>
                    <a:fld id="{6E87DE81-AD94-49D3-A8E3-9BE6091A7B5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1522-4FFF-9E56-9731F6C7602B}"/>
                </c:ext>
              </c:extLst>
            </c:dLbl>
            <c:dLbl>
              <c:idx val="2"/>
              <c:tx>
                <c:rich>
                  <a:bodyPr/>
                  <a:lstStyle/>
                  <a:p>
                    <a:fld id="{B31A9306-F01C-4A2F-B66E-DF690D28E6A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1522-4FFF-9E56-9731F6C7602B}"/>
                </c:ext>
              </c:extLst>
            </c:dLbl>
            <c:dLbl>
              <c:idx val="3"/>
              <c:tx>
                <c:rich>
                  <a:bodyPr/>
                  <a:lstStyle/>
                  <a:p>
                    <a:fld id="{04079BF8-52B3-4B9C-B631-3979857BE78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1522-4FFF-9E56-9731F6C7602B}"/>
                </c:ext>
              </c:extLst>
            </c:dLbl>
            <c:dLbl>
              <c:idx val="4"/>
              <c:tx>
                <c:rich>
                  <a:bodyPr/>
                  <a:lstStyle/>
                  <a:p>
                    <a:fld id="{3429469D-4D7B-4EED-B38F-104A3E07B8F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1522-4FFF-9E56-9731F6C7602B}"/>
                </c:ext>
              </c:extLst>
            </c:dLbl>
            <c:dLbl>
              <c:idx val="5"/>
              <c:tx>
                <c:rich>
                  <a:bodyPr/>
                  <a:lstStyle/>
                  <a:p>
                    <a:fld id="{126C20F1-311E-48FD-87FF-901A249C04E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1522-4FFF-9E56-9731F6C7602B}"/>
                </c:ext>
              </c:extLst>
            </c:dLbl>
            <c:dLbl>
              <c:idx val="6"/>
              <c:tx>
                <c:rich>
                  <a:bodyPr/>
                  <a:lstStyle/>
                  <a:p>
                    <a:fld id="{127F565D-1828-419E-B3A4-1D166587D33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1522-4FFF-9E56-9731F6C7602B}"/>
                </c:ext>
              </c:extLst>
            </c:dLbl>
            <c:dLbl>
              <c:idx val="7"/>
              <c:tx>
                <c:rich>
                  <a:bodyPr/>
                  <a:lstStyle/>
                  <a:p>
                    <a:fld id="{60325679-BE38-4823-8328-7DA4D6D041A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1522-4FFF-9E56-9731F6C7602B}"/>
                </c:ext>
              </c:extLst>
            </c:dLbl>
            <c:dLbl>
              <c:idx val="8"/>
              <c:tx>
                <c:rich>
                  <a:bodyPr/>
                  <a:lstStyle/>
                  <a:p>
                    <a:fld id="{C5475BD8-87F5-4C9D-B79B-F677BFC77A9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1522-4FFF-9E56-9731F6C7602B}"/>
                </c:ext>
              </c:extLst>
            </c:dLbl>
            <c:dLbl>
              <c:idx val="9"/>
              <c:tx>
                <c:rich>
                  <a:bodyPr/>
                  <a:lstStyle/>
                  <a:p>
                    <a:fld id="{078511D8-AF84-4637-ACCD-7E3DD1AC4E3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1522-4FFF-9E56-9731F6C7602B}"/>
                </c:ext>
              </c:extLst>
            </c:dLbl>
            <c:dLbl>
              <c:idx val="1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1522-4FFF-9E56-9731F6C7602B}"/>
                </c:ext>
              </c:extLst>
            </c:dLbl>
            <c:dLbl>
              <c:idx val="1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1522-4FFF-9E56-9731F6C7602B}"/>
                </c:ext>
              </c:extLst>
            </c:dLbl>
            <c:dLbl>
              <c:idx val="1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1522-4FFF-9E56-9731F6C7602B}"/>
                </c:ext>
              </c:extLst>
            </c:dLbl>
            <c:dLbl>
              <c:idx val="13"/>
              <c:tx>
                <c:rich>
                  <a:bodyPr/>
                  <a:lstStyle/>
                  <a:p>
                    <a:fld id="{2EE4EC1B-1B8C-4527-8F0E-F2B0E690E41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1522-4FFF-9E56-9731F6C7602B}"/>
                </c:ext>
              </c:extLst>
            </c:dLbl>
            <c:dLbl>
              <c:idx val="14"/>
              <c:tx>
                <c:rich>
                  <a:bodyPr/>
                  <a:lstStyle/>
                  <a:p>
                    <a:fld id="{AB5DF22A-2B60-4FDA-AA84-731064FBC7E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1522-4FFF-9E56-9731F6C7602B}"/>
                </c:ext>
              </c:extLst>
            </c:dLbl>
            <c:dLbl>
              <c:idx val="15"/>
              <c:tx>
                <c:rich>
                  <a:bodyPr/>
                  <a:lstStyle/>
                  <a:p>
                    <a:fld id="{AC3B9B16-8EFE-4BC9-A6C8-BF472DABA69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1522-4FFF-9E56-9731F6C7602B}"/>
                </c:ext>
              </c:extLst>
            </c:dLbl>
            <c:dLbl>
              <c:idx val="1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1522-4FFF-9E56-9731F6C7602B}"/>
                </c:ext>
              </c:extLst>
            </c:dLbl>
            <c:dLbl>
              <c:idx val="1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1522-4FFF-9E56-9731F6C7602B}"/>
                </c:ext>
              </c:extLst>
            </c:dLbl>
            <c:dLbl>
              <c:idx val="1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1522-4FFF-9E56-9731F6C7602B}"/>
                </c:ext>
              </c:extLst>
            </c:dLbl>
            <c:dLbl>
              <c:idx val="19"/>
              <c:tx>
                <c:rich>
                  <a:bodyPr/>
                  <a:lstStyle/>
                  <a:p>
                    <a:fld id="{5E72D49A-1E6E-43B6-8720-704A8F9BF8F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1522-4FFF-9E56-9731F6C7602B}"/>
                </c:ext>
              </c:extLst>
            </c:dLbl>
            <c:dLbl>
              <c:idx val="20"/>
              <c:tx>
                <c:rich>
                  <a:bodyPr/>
                  <a:lstStyle/>
                  <a:p>
                    <a:fld id="{A5010EC9-2574-427F-AA0D-1BC683A7985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1522-4FFF-9E56-9731F6C7602B}"/>
                </c:ext>
              </c:extLst>
            </c:dLbl>
            <c:dLbl>
              <c:idx val="21"/>
              <c:tx>
                <c:rich>
                  <a:bodyPr/>
                  <a:lstStyle/>
                  <a:p>
                    <a:fld id="{30C7FC5A-782B-4DC4-949D-350D9EEF715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1522-4FFF-9E56-9731F6C7602B}"/>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1522-4FFF-9E56-9731F6C7602B}"/>
                </c:ext>
              </c:extLst>
            </c:dLbl>
            <c:dLbl>
              <c:idx val="23"/>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1522-4FFF-9E56-9731F6C7602B}"/>
                </c:ext>
              </c:extLst>
            </c:dLbl>
            <c:dLbl>
              <c:idx val="2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8-1522-4FFF-9E56-9731F6C7602B}"/>
                </c:ext>
              </c:extLst>
            </c:dLbl>
            <c:dLbl>
              <c:idx val="25"/>
              <c:tx>
                <c:rich>
                  <a:bodyPr/>
                  <a:lstStyle/>
                  <a:p>
                    <a:fld id="{2B6E4542-2B05-4372-9823-620BD81486F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1522-4FFF-9E56-9731F6C7602B}"/>
                </c:ext>
              </c:extLst>
            </c:dLbl>
            <c:dLbl>
              <c:idx val="26"/>
              <c:tx>
                <c:rich>
                  <a:bodyPr/>
                  <a:lstStyle/>
                  <a:p>
                    <a:fld id="{3053DCAA-B2D8-4BC2-BC34-538E472DAAD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1522-4FFF-9E56-9731F6C7602B}"/>
                </c:ext>
              </c:extLst>
            </c:dLbl>
            <c:dLbl>
              <c:idx val="27"/>
              <c:tx>
                <c:rich>
                  <a:bodyPr/>
                  <a:lstStyle/>
                  <a:p>
                    <a:fld id="{D7F3BDEF-DC06-40F2-A550-F961A9C16ED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1522-4FFF-9E56-9731F6C7602B}"/>
                </c:ext>
              </c:extLst>
            </c:dLbl>
            <c:dLbl>
              <c:idx val="28"/>
              <c:tx>
                <c:rich>
                  <a:bodyPr/>
                  <a:lstStyle/>
                  <a:p>
                    <a:fld id="{D0F053A7-16FE-4264-A035-96764D90996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1522-4FFF-9E56-9731F6C7602B}"/>
                </c:ext>
              </c:extLst>
            </c:dLbl>
            <c:dLbl>
              <c:idx val="29"/>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1522-4FFF-9E56-9731F6C7602B}"/>
                </c:ext>
              </c:extLst>
            </c:dLbl>
            <c:dLbl>
              <c:idx val="3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1522-4FFF-9E56-9731F6C7602B}"/>
                </c:ext>
              </c:extLst>
            </c:dLbl>
            <c:dLbl>
              <c:idx val="31"/>
              <c:tx>
                <c:rich>
                  <a:bodyPr/>
                  <a:lstStyle/>
                  <a:p>
                    <a:fld id="{878E2DB5-E08F-46F2-A95F-B46F0E3E43C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1522-4FFF-9E56-9731F6C7602B}"/>
                </c:ext>
              </c:extLst>
            </c:dLbl>
            <c:dLbl>
              <c:idx val="32"/>
              <c:tx>
                <c:rich>
                  <a:bodyPr/>
                  <a:lstStyle/>
                  <a:p>
                    <a:fld id="{00AC6BC9-F658-4E18-BBEC-0DFD6CBE5AE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1522-4FFF-9E56-9731F6C7602B}"/>
                </c:ext>
              </c:extLst>
            </c:dLbl>
            <c:dLbl>
              <c:idx val="33"/>
              <c:tx>
                <c:rich>
                  <a:bodyPr/>
                  <a:lstStyle/>
                  <a:p>
                    <a:fld id="{DF7BD8E9-CEF1-473C-AB79-F7E391F5051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1522-4FFF-9E56-9731F6C7602B}"/>
                </c:ext>
              </c:extLst>
            </c:dLbl>
            <c:dLbl>
              <c:idx val="34"/>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2-1522-4FFF-9E56-9731F6C7602B}"/>
                </c:ext>
              </c:extLst>
            </c:dLbl>
            <c:dLbl>
              <c:idx val="35"/>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1522-4FFF-9E56-9731F6C7602B}"/>
                </c:ext>
              </c:extLst>
            </c:dLbl>
            <c:dLbl>
              <c:idx val="3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1522-4FFF-9E56-9731F6C7602B}"/>
                </c:ext>
              </c:extLst>
            </c:dLbl>
            <c:dLbl>
              <c:idx val="37"/>
              <c:tx>
                <c:rich>
                  <a:bodyPr/>
                  <a:lstStyle/>
                  <a:p>
                    <a:fld id="{EFC0E3A0-7D71-4ABE-B126-9986E495B12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1522-4FFF-9E56-9731F6C7602B}"/>
                </c:ext>
              </c:extLst>
            </c:dLbl>
            <c:dLbl>
              <c:idx val="38"/>
              <c:tx>
                <c:rich>
                  <a:bodyPr/>
                  <a:lstStyle/>
                  <a:p>
                    <a:fld id="{B1AD1499-9DCB-4D2F-9E71-D1045A8D1B3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1522-4FFF-9E56-9731F6C7602B}"/>
                </c:ext>
              </c:extLst>
            </c:dLbl>
            <c:dLbl>
              <c:idx val="39"/>
              <c:tx>
                <c:rich>
                  <a:bodyPr/>
                  <a:lstStyle/>
                  <a:p>
                    <a:fld id="{15588802-9898-4137-A81E-E88709E18F9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1522-4FFF-9E56-9731F6C7602B}"/>
                </c:ext>
              </c:extLst>
            </c:dLbl>
            <c:dLbl>
              <c:idx val="4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8-1522-4FFF-9E56-9731F6C7602B}"/>
                </c:ext>
              </c:extLst>
            </c:dLbl>
            <c:dLbl>
              <c:idx val="4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9-1522-4FFF-9E56-9731F6C7602B}"/>
                </c:ext>
              </c:extLst>
            </c:dLbl>
            <c:dLbl>
              <c:idx val="4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A-1522-4FFF-9E56-9731F6C7602B}"/>
                </c:ext>
              </c:extLst>
            </c:dLbl>
            <c:dLbl>
              <c:idx val="43"/>
              <c:tx>
                <c:rich>
                  <a:bodyPr/>
                  <a:lstStyle/>
                  <a:p>
                    <a:fld id="{AA3B778C-FACE-4E48-8F69-24B952D4114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1522-4FFF-9E56-9731F6C7602B}"/>
                </c:ext>
              </c:extLst>
            </c:dLbl>
            <c:dLbl>
              <c:idx val="44"/>
              <c:tx>
                <c:rich>
                  <a:bodyPr/>
                  <a:lstStyle/>
                  <a:p>
                    <a:fld id="{4CD21B7F-FB54-4E5D-B624-F3D2AB68F32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1522-4FFF-9E56-9731F6C7602B}"/>
                </c:ext>
              </c:extLst>
            </c:dLbl>
            <c:dLbl>
              <c:idx val="45"/>
              <c:tx>
                <c:rich>
                  <a:bodyPr/>
                  <a:lstStyle/>
                  <a:p>
                    <a:fld id="{E46FF1B2-F5FA-41D4-A17C-5B1C3393542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1522-4FFF-9E56-9731F6C7602B}"/>
                </c:ext>
              </c:extLst>
            </c:dLbl>
            <c:dLbl>
              <c:idx val="46"/>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E-1522-4FFF-9E56-9731F6C7602B}"/>
                </c:ext>
              </c:extLst>
            </c:dLbl>
            <c:dLbl>
              <c:idx val="47"/>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F-1522-4FFF-9E56-9731F6C7602B}"/>
                </c:ext>
              </c:extLst>
            </c:dLbl>
            <c:dLbl>
              <c:idx val="48"/>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30-1522-4FFF-9E56-9731F6C7602B}"/>
                </c:ext>
              </c:extLst>
            </c:dLbl>
            <c:dLbl>
              <c:idx val="49"/>
              <c:tx>
                <c:rich>
                  <a:bodyPr/>
                  <a:lstStyle/>
                  <a:p>
                    <a:fld id="{64AAB5CA-1F63-491D-AAEB-36860D9D78E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1522-4FFF-9E56-9731F6C7602B}"/>
                </c:ext>
              </c:extLst>
            </c:dLbl>
            <c:dLbl>
              <c:idx val="50"/>
              <c:tx>
                <c:rich>
                  <a:bodyPr/>
                  <a:lstStyle/>
                  <a:p>
                    <a:fld id="{B3C71D95-E075-4533-89A0-28B618140C0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1522-4FFF-9E56-9731F6C7602B}"/>
                </c:ext>
              </c:extLst>
            </c:dLbl>
            <c:dLbl>
              <c:idx val="51"/>
              <c:tx>
                <c:rich>
                  <a:bodyPr/>
                  <a:lstStyle/>
                  <a:p>
                    <a:fld id="{62D0ED9B-8B4F-4CC3-8672-DA7085581D5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1522-4FFF-9E56-9731F6C7602B}"/>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C$2:$C$53</c:f>
              <c:numCache>
                <c:formatCode>0%;\-0%;0%</c:formatCode>
                <c:ptCount val="52"/>
                <c:pt idx="0">
                  <c:v>1</c:v>
                </c:pt>
                <c:pt idx="1">
                  <c:v>1</c:v>
                </c:pt>
                <c:pt idx="2">
                  <c:v>1</c:v>
                </c:pt>
                <c:pt idx="3">
                  <c:v>1</c:v>
                </c:pt>
                <c:pt idx="4">
                  <c:v>1</c:v>
                </c:pt>
                <c:pt idx="5">
                  <c:v>1</c:v>
                </c:pt>
                <c:pt idx="6">
                  <c:v>1</c:v>
                </c:pt>
                <c:pt idx="7">
                  <c:v>1</c:v>
                </c:pt>
                <c:pt idx="8">
                  <c:v>1</c:v>
                </c:pt>
                <c:pt idx="9">
                  <c:v>1</c:v>
                </c:pt>
                <c:pt idx="10">
                  <c:v>#N/A</c:v>
                </c:pt>
                <c:pt idx="11">
                  <c:v>#N/A</c:v>
                </c:pt>
                <c:pt idx="12">
                  <c:v>#N/A</c:v>
                </c:pt>
                <c:pt idx="13">
                  <c:v>1</c:v>
                </c:pt>
                <c:pt idx="14">
                  <c:v>1</c:v>
                </c:pt>
                <c:pt idx="15">
                  <c:v>1</c:v>
                </c:pt>
                <c:pt idx="16">
                  <c:v>#N/A</c:v>
                </c:pt>
                <c:pt idx="17">
                  <c:v>#N/A</c:v>
                </c:pt>
                <c:pt idx="18">
                  <c:v>#N/A</c:v>
                </c:pt>
                <c:pt idx="19">
                  <c:v>1</c:v>
                </c:pt>
                <c:pt idx="20">
                  <c:v>1</c:v>
                </c:pt>
                <c:pt idx="21">
                  <c:v>1</c:v>
                </c:pt>
                <c:pt idx="22">
                  <c:v>#N/A</c:v>
                </c:pt>
                <c:pt idx="23">
                  <c:v>#N/A</c:v>
                </c:pt>
                <c:pt idx="24">
                  <c:v>#N/A</c:v>
                </c:pt>
                <c:pt idx="25">
                  <c:v>1</c:v>
                </c:pt>
                <c:pt idx="26">
                  <c:v>1</c:v>
                </c:pt>
                <c:pt idx="27">
                  <c:v>1</c:v>
                </c:pt>
                <c:pt idx="28">
                  <c:v>1</c:v>
                </c:pt>
                <c:pt idx="29">
                  <c:v>#N/A</c:v>
                </c:pt>
                <c:pt idx="30">
                  <c:v>#N/A</c:v>
                </c:pt>
                <c:pt idx="31">
                  <c:v>1</c:v>
                </c:pt>
                <c:pt idx="32">
                  <c:v>1</c:v>
                </c:pt>
                <c:pt idx="33">
                  <c:v>1</c:v>
                </c:pt>
                <c:pt idx="34">
                  <c:v>#N/A</c:v>
                </c:pt>
                <c:pt idx="35">
                  <c:v>#N/A</c:v>
                </c:pt>
                <c:pt idx="36">
                  <c:v>#N/A</c:v>
                </c:pt>
                <c:pt idx="37">
                  <c:v>1</c:v>
                </c:pt>
                <c:pt idx="38">
                  <c:v>1</c:v>
                </c:pt>
                <c:pt idx="39">
                  <c:v>1</c:v>
                </c:pt>
                <c:pt idx="40">
                  <c:v>#N/A</c:v>
                </c:pt>
                <c:pt idx="41">
                  <c:v>#N/A</c:v>
                </c:pt>
                <c:pt idx="42">
                  <c:v>#N/A</c:v>
                </c:pt>
                <c:pt idx="43">
                  <c:v>1</c:v>
                </c:pt>
                <c:pt idx="44">
                  <c:v>1</c:v>
                </c:pt>
                <c:pt idx="45">
                  <c:v>1</c:v>
                </c:pt>
                <c:pt idx="46">
                  <c:v>#N/A</c:v>
                </c:pt>
                <c:pt idx="47">
                  <c:v>#N/A</c:v>
                </c:pt>
                <c:pt idx="48">
                  <c:v>#N/A</c:v>
                </c:pt>
                <c:pt idx="49">
                  <c:v>1</c:v>
                </c:pt>
                <c:pt idx="50">
                  <c:v>1</c:v>
                </c:pt>
                <c:pt idx="51">
                  <c:v>1</c:v>
                </c:pt>
              </c:numCache>
            </c:numRef>
          </c:val>
          <c:extLst>
            <c:ext xmlns:c15="http://schemas.microsoft.com/office/drawing/2012/chart" uri="{02D57815-91ED-43cb-92C2-25804820EDAC}">
              <c15:datalabelsRange>
                <c15:f>Sheet1!$G$2:$G$53</c15:f>
                <c15:dlblRangeCache>
                  <c:ptCount val="52"/>
                  <c:pt idx="38">
                    <c:v>256%</c:v>
                  </c:pt>
                </c15:dlblRangeCache>
              </c15:datalabelsRange>
            </c:ext>
            <c:ext xmlns:c16="http://schemas.microsoft.com/office/drawing/2014/chart" uri="{C3380CC4-5D6E-409C-BE32-E72D297353CC}">
              <c16:uniqueId val="{00000034-1522-4FFF-9E56-9731F6C7602B}"/>
            </c:ext>
          </c:extLst>
        </c:ser>
        <c:dLbls>
          <c:showLegendKey val="0"/>
          <c:showVal val="0"/>
          <c:showCatName val="0"/>
          <c:showSerName val="0"/>
          <c:showPercent val="0"/>
          <c:showBubbleSize val="0"/>
        </c:dLbls>
        <c:gapWidth val="20"/>
        <c:overlap val="100"/>
        <c:axId val="229517439"/>
        <c:axId val="229530399"/>
      </c:barChart>
      <c:lineChart>
        <c:grouping val="standard"/>
        <c:varyColors val="0"/>
        <c:ser>
          <c:idx val="0"/>
          <c:order val="0"/>
          <c:tx>
            <c:strRef>
              <c:f>Sheet1!$B$1</c:f>
              <c:strCache>
                <c:ptCount val="1"/>
                <c:pt idx="0">
                  <c:v>Column1</c:v>
                </c:pt>
              </c:strCache>
            </c:strRef>
          </c:tx>
          <c:spPr>
            <a:ln w="28575" cap="rnd">
              <a:noFill/>
              <a:round/>
            </a:ln>
            <a:effectLst/>
          </c:spPr>
          <c:marker>
            <c:symbol val="circle"/>
            <c:size val="8"/>
            <c:spPr>
              <a:solidFill>
                <a:schemeClr val="accent3"/>
              </a:solidFill>
              <a:ln w="9525">
                <a:solidFill>
                  <a:schemeClr val="bg1"/>
                </a:solidFill>
              </a:ln>
              <a:effectLst/>
            </c:spPr>
          </c:marker>
          <c:cat>
            <c:strRef>
              <c:f>Sheet1!$A$2:$A$53</c:f>
              <c:strCache>
                <c:ptCount val="52"/>
                <c:pt idx="0">
                  <c:v>05/07/2023</c:v>
                </c:pt>
                <c:pt idx="1">
                  <c:v>5/14/2023</c:v>
                </c:pt>
                <c:pt idx="2">
                  <c:v>5/21/2023</c:v>
                </c:pt>
                <c:pt idx="3">
                  <c:v>5/28/2023</c:v>
                </c:pt>
                <c:pt idx="4">
                  <c:v>06/04/2023</c:v>
                </c:pt>
                <c:pt idx="5">
                  <c:v>06/11/2023</c:v>
                </c:pt>
                <c:pt idx="6">
                  <c:v>6/18/2023</c:v>
                </c:pt>
                <c:pt idx="7">
                  <c:v>6/25/2023</c:v>
                </c:pt>
                <c:pt idx="8">
                  <c:v>07/02/2023</c:v>
                </c:pt>
                <c:pt idx="9">
                  <c:v>07/09/2023</c:v>
                </c:pt>
                <c:pt idx="10">
                  <c:v>7/16/2023</c:v>
                </c:pt>
                <c:pt idx="11">
                  <c:v>7/23/2023</c:v>
                </c:pt>
                <c:pt idx="12">
                  <c:v>7/30/2023</c:v>
                </c:pt>
                <c:pt idx="13">
                  <c:v>08/06/2023</c:v>
                </c:pt>
                <c:pt idx="14">
                  <c:v>8/13/2023</c:v>
                </c:pt>
                <c:pt idx="15">
                  <c:v>8/20/2023</c:v>
                </c:pt>
                <c:pt idx="16">
                  <c:v>8/27/2023</c:v>
                </c:pt>
                <c:pt idx="17">
                  <c:v>09/03/2023</c:v>
                </c:pt>
                <c:pt idx="18">
                  <c:v>09/10/2023</c:v>
                </c:pt>
                <c:pt idx="19">
                  <c:v>9/17/2023</c:v>
                </c:pt>
                <c:pt idx="20">
                  <c:v>9/24/2023</c:v>
                </c:pt>
                <c:pt idx="21">
                  <c:v>10/01/2023</c:v>
                </c:pt>
                <c:pt idx="22">
                  <c:v>10/08/2023</c:v>
                </c:pt>
                <c:pt idx="23">
                  <c:v>10/15/2023</c:v>
                </c:pt>
                <c:pt idx="24">
                  <c:v>10/22/2023</c:v>
                </c:pt>
                <c:pt idx="25">
                  <c:v>10/29/2023</c:v>
                </c:pt>
                <c:pt idx="26">
                  <c:v>11/05/2023</c:v>
                </c:pt>
                <c:pt idx="27">
                  <c:v>11/12/2023</c:v>
                </c:pt>
                <c:pt idx="28">
                  <c:v>11/19/2023</c:v>
                </c:pt>
                <c:pt idx="29">
                  <c:v>11/26/2023</c:v>
                </c:pt>
                <c:pt idx="30">
                  <c:v>12/03/2023</c:v>
                </c:pt>
                <c:pt idx="31">
                  <c:v>12/10/2023</c:v>
                </c:pt>
                <c:pt idx="32">
                  <c:v>12/17/2023</c:v>
                </c:pt>
                <c:pt idx="33">
                  <c:v>12/24/2023</c:v>
                </c:pt>
                <c:pt idx="34">
                  <c:v>12/31/2023</c:v>
                </c:pt>
                <c:pt idx="35">
                  <c:v>01/07/2024</c:v>
                </c:pt>
                <c:pt idx="36">
                  <c:v>1/14/2024</c:v>
                </c:pt>
                <c:pt idx="37">
                  <c:v>1/21/2024</c:v>
                </c:pt>
                <c:pt idx="38">
                  <c:v>1/28/2024</c:v>
                </c:pt>
                <c:pt idx="39">
                  <c:v>02/04/2024</c:v>
                </c:pt>
                <c:pt idx="40">
                  <c:v>02/11/2024</c:v>
                </c:pt>
                <c:pt idx="41">
                  <c:v>2/18/2024</c:v>
                </c:pt>
                <c:pt idx="42">
                  <c:v>2/25/2024</c:v>
                </c:pt>
                <c:pt idx="43">
                  <c:v>03/03/2024</c:v>
                </c:pt>
                <c:pt idx="44">
                  <c:v>03/10/2024</c:v>
                </c:pt>
                <c:pt idx="45">
                  <c:v>3/17/2024</c:v>
                </c:pt>
                <c:pt idx="46">
                  <c:v>3/24/2024</c:v>
                </c:pt>
                <c:pt idx="47">
                  <c:v>3/31/2024</c:v>
                </c:pt>
                <c:pt idx="48">
                  <c:v>04/07/2024</c:v>
                </c:pt>
                <c:pt idx="49">
                  <c:v>4/14/2024</c:v>
                </c:pt>
                <c:pt idx="50">
                  <c:v>4/21/2024</c:v>
                </c:pt>
                <c:pt idx="51">
                  <c:v>4/28/2024</c:v>
                </c:pt>
              </c:strCache>
            </c:strRef>
          </c:cat>
          <c:val>
            <c:numRef>
              <c:f>Sheet1!$B$2:$B$53</c:f>
              <c:numCache>
                <c:formatCode>0%;\-0%;0%</c:formatCode>
                <c:ptCount val="52"/>
                <c:pt idx="0">
                  <c:v>0.31741195933698862</c:v>
                </c:pt>
                <c:pt idx="1">
                  <c:v>0.55552518945359541</c:v>
                </c:pt>
                <c:pt idx="2">
                  <c:v>0.47761625108308464</c:v>
                </c:pt>
                <c:pt idx="3">
                  <c:v>0.43712699308174235</c:v>
                </c:pt>
                <c:pt idx="4">
                  <c:v>0.36264807702176205</c:v>
                </c:pt>
                <c:pt idx="5">
                  <c:v>0.38422904683399911</c:v>
                </c:pt>
                <c:pt idx="6">
                  <c:v>0.40742054727108346</c:v>
                </c:pt>
                <c:pt idx="7">
                  <c:v>1.0321668026535173</c:v>
                </c:pt>
                <c:pt idx="8">
                  <c:v>0.5462931131314438</c:v>
                </c:pt>
                <c:pt idx="9">
                  <c:v>0.76245047295306534</c:v>
                </c:pt>
                <c:pt idx="10">
                  <c:v>#N/A</c:v>
                </c:pt>
                <c:pt idx="11">
                  <c:v>#N/A</c:v>
                </c:pt>
                <c:pt idx="12">
                  <c:v>#N/A</c:v>
                </c:pt>
                <c:pt idx="13">
                  <c:v>0.2685619698185851</c:v>
                </c:pt>
                <c:pt idx="14">
                  <c:v>0.60045689300840521</c:v>
                </c:pt>
                <c:pt idx="15">
                  <c:v>0.3622105904776648</c:v>
                </c:pt>
                <c:pt idx="16">
                  <c:v>#N/A</c:v>
                </c:pt>
                <c:pt idx="17">
                  <c:v>#N/A</c:v>
                </c:pt>
                <c:pt idx="18">
                  <c:v>#N/A</c:v>
                </c:pt>
                <c:pt idx="19">
                  <c:v>0.10463941845632306</c:v>
                </c:pt>
                <c:pt idx="20">
                  <c:v>0.52569649178121824</c:v>
                </c:pt>
                <c:pt idx="21">
                  <c:v>0.14491334978561482</c:v>
                </c:pt>
                <c:pt idx="22">
                  <c:v>#N/A</c:v>
                </c:pt>
                <c:pt idx="23">
                  <c:v>#N/A</c:v>
                </c:pt>
                <c:pt idx="24">
                  <c:v>#N/A</c:v>
                </c:pt>
                <c:pt idx="25">
                  <c:v>0.18886446202424201</c:v>
                </c:pt>
                <c:pt idx="26">
                  <c:v>0.22372048262984959</c:v>
                </c:pt>
                <c:pt idx="27">
                  <c:v>0.36828644501278773</c:v>
                </c:pt>
                <c:pt idx="28">
                  <c:v>#N/A</c:v>
                </c:pt>
                <c:pt idx="29">
                  <c:v>#N/A</c:v>
                </c:pt>
                <c:pt idx="30">
                  <c:v>#N/A</c:v>
                </c:pt>
                <c:pt idx="31">
                  <c:v>0.12294597048113506</c:v>
                </c:pt>
                <c:pt idx="32">
                  <c:v>0.50035194109047598</c:v>
                </c:pt>
                <c:pt idx="33">
                  <c:v>0.41802358537751055</c:v>
                </c:pt>
                <c:pt idx="34">
                  <c:v>#N/A</c:v>
                </c:pt>
                <c:pt idx="35">
                  <c:v>#N/A</c:v>
                </c:pt>
                <c:pt idx="36">
                  <c:v>#N/A</c:v>
                </c:pt>
                <c:pt idx="37">
                  <c:v>0.86697921202118289</c:v>
                </c:pt>
                <c:pt idx="38">
                  <c:v>2.5595210495451881</c:v>
                </c:pt>
                <c:pt idx="39">
                  <c:v>0.36886480958675349</c:v>
                </c:pt>
                <c:pt idx="40">
                  <c:v>#N/A</c:v>
                </c:pt>
                <c:pt idx="41">
                  <c:v>#N/A</c:v>
                </c:pt>
                <c:pt idx="42">
                  <c:v>#N/A</c:v>
                </c:pt>
                <c:pt idx="43">
                  <c:v>0.90170890150406746</c:v>
                </c:pt>
                <c:pt idx="44">
                  <c:v>1.048028435450546</c:v>
                </c:pt>
                <c:pt idx="45">
                  <c:v>0.34420385076843968</c:v>
                </c:pt>
                <c:pt idx="46">
                  <c:v>#N/A</c:v>
                </c:pt>
                <c:pt idx="47">
                  <c:v>#N/A</c:v>
                </c:pt>
                <c:pt idx="48">
                  <c:v>#N/A</c:v>
                </c:pt>
                <c:pt idx="49">
                  <c:v>1.3343675915403637</c:v>
                </c:pt>
                <c:pt idx="50">
                  <c:v>1.0787224336125691</c:v>
                </c:pt>
                <c:pt idx="51">
                  <c:v>0.33774114750629919</c:v>
                </c:pt>
              </c:numCache>
            </c:numRef>
          </c:val>
          <c:smooth val="0"/>
          <c:extLst>
            <c:ext xmlns:c16="http://schemas.microsoft.com/office/drawing/2014/chart" uri="{C3380CC4-5D6E-409C-BE32-E72D297353CC}">
              <c16:uniqueId val="{00000035-1522-4FFF-9E56-9731F6C7602B}"/>
            </c:ext>
          </c:extLst>
        </c:ser>
        <c:dLbls>
          <c:showLegendKey val="0"/>
          <c:showVal val="0"/>
          <c:showCatName val="0"/>
          <c:showSerName val="0"/>
          <c:showPercent val="0"/>
          <c:showBubbleSize val="0"/>
        </c:dLbls>
        <c:marker val="1"/>
        <c:smooth val="0"/>
        <c:axId val="208584784"/>
        <c:axId val="208605904"/>
      </c:lineChart>
      <c:catAx>
        <c:axId val="2295174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lgn="ctr">
              <a:defRPr lang="en-US" sz="500" b="0" i="0" u="none" strike="noStrike" kern="1200" baseline="0">
                <a:solidFill>
                  <a:schemeClr val="tx1">
                    <a:lumMod val="65000"/>
                    <a:lumOff val="35000"/>
                  </a:schemeClr>
                </a:solidFill>
                <a:latin typeface="+mn-lt"/>
                <a:ea typeface="+mn-ea"/>
                <a:cs typeface="+mn-cs"/>
              </a:defRPr>
            </a:pPr>
            <a:endParaRPr lang="en-US"/>
          </a:p>
        </c:txPr>
        <c:crossAx val="229530399"/>
        <c:crosses val="autoZero"/>
        <c:auto val="1"/>
        <c:lblAlgn val="ctr"/>
        <c:lblOffset val="100"/>
        <c:noMultiLvlLbl val="0"/>
      </c:catAx>
      <c:valAx>
        <c:axId val="229530399"/>
        <c:scaling>
          <c:orientation val="minMax"/>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229517439"/>
        <c:crosses val="autoZero"/>
        <c:crossBetween val="between"/>
      </c:valAx>
      <c:valAx>
        <c:axId val="208605904"/>
        <c:scaling>
          <c:orientation val="minMax"/>
          <c:max val="2"/>
          <c:min val="0"/>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mn-lt"/>
                <a:ea typeface="+mn-ea"/>
                <a:cs typeface="+mn-cs"/>
              </a:defRPr>
            </a:pPr>
            <a:endParaRPr lang="en-US"/>
          </a:p>
        </c:txPr>
        <c:crossAx val="208584784"/>
        <c:crosses val="max"/>
        <c:crossBetween val="between"/>
        <c:majorUnit val="1"/>
      </c:valAx>
      <c:catAx>
        <c:axId val="208584784"/>
        <c:scaling>
          <c:orientation val="minMax"/>
        </c:scaling>
        <c:delete val="1"/>
        <c:axPos val="b"/>
        <c:numFmt formatCode="General" sourceLinked="1"/>
        <c:majorTickMark val="out"/>
        <c:minorTickMark val="none"/>
        <c:tickLblPos val="nextTo"/>
        <c:crossAx val="208605904"/>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chemeClr val="bg2"/>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chemeClr val="bg2"/>
              </a:solidFill>
              <a:ln>
                <a:noFill/>
              </a:ln>
              <a:effectLst/>
            </c:spPr>
            <c:extLst>
              <c:ext xmlns:c16="http://schemas.microsoft.com/office/drawing/2014/chart" uri="{C3380CC4-5D6E-409C-BE32-E72D297353CC}">
                <c16:uniqueId val="{00000005-26FB-4B52-8D72-D56D618E8EAF}"/>
              </c:ext>
            </c:extLst>
          </c:dPt>
          <c:dPt>
            <c:idx val="3"/>
            <c:invertIfNegative val="0"/>
            <c:bubble3D val="0"/>
            <c:extLst>
              <c:ext xmlns:c16="http://schemas.microsoft.com/office/drawing/2014/chart" uri="{C3380CC4-5D6E-409C-BE32-E72D297353CC}">
                <c16:uniqueId val="{00000007-26FB-4B52-8D72-D56D618E8EAF}"/>
              </c:ext>
            </c:extLst>
          </c:dPt>
          <c:dPt>
            <c:idx val="4"/>
            <c:invertIfNegative val="0"/>
            <c:bubble3D val="0"/>
            <c:extLst>
              <c:ext xmlns:c16="http://schemas.microsoft.com/office/drawing/2014/chart" uri="{C3380CC4-5D6E-409C-BE32-E72D297353CC}">
                <c16:uniqueId val="{00000009-26FB-4B52-8D72-D56D618E8EAF}"/>
              </c:ext>
            </c:extLst>
          </c:dPt>
          <c:dPt>
            <c:idx val="5"/>
            <c:invertIfNegative val="0"/>
            <c:bubble3D val="0"/>
            <c:extLst>
              <c:ext xmlns:c16="http://schemas.microsoft.com/office/drawing/2014/chart" uri="{C3380CC4-5D6E-409C-BE32-E72D297353CC}">
                <c16:uniqueId val="{0000000B-26FB-4B52-8D72-D56D618E8EAF}"/>
              </c:ext>
            </c:extLst>
          </c:dPt>
          <c:dPt>
            <c:idx val="6"/>
            <c:invertIfNegative val="0"/>
            <c:bubble3D val="0"/>
            <c:spPr>
              <a:solidFill>
                <a:schemeClr val="bg2"/>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3801C52D-8F24-4D59-B286-C4F3D113FB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50E9F453-C7C3-47A3-8B1B-FCE40F6611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67DC2DF4-4104-4803-8838-4ED9A7A380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84EAF403-60FE-43F3-88FA-F48376137C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5AD26779-7F7A-45AA-B2D2-4CCAC9CD63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19EEDA46-4636-4869-AFF1-9E0F5A4D64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1285B8BF-67A3-453C-9DD8-BAA71E5D56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6BB788F4-5EAF-4BD1-A794-AA54C3E5BB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CEDED6C4-7723-4F0C-8B8E-37CEC1EF71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CC2C49B5-7B78-4CB9-BAD3-14670E2A8F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E0A9649C-3C4A-4BE5-9C6C-B83B2A9B6B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8F780DE9-4E1A-4B40-B154-1EE82812A3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26FB-4B52-8D72-D56D618E8EAF}"/>
                </c:ext>
              </c:extLst>
            </c:dLbl>
            <c:dLbl>
              <c:idx val="12"/>
              <c:tx>
                <c:rich>
                  <a:bodyPr/>
                  <a:lstStyle/>
                  <a:p>
                    <a:fld id="{6FBDF305-1D9C-4E6C-8229-60DA233890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B2D-4A32-96D2-9C641BCDE5CC}"/>
                </c:ext>
              </c:extLst>
            </c:dLbl>
            <c:dLbl>
              <c:idx val="13"/>
              <c:tx>
                <c:rich>
                  <a:bodyPr/>
                  <a:lstStyle/>
                  <a:p>
                    <a:fld id="{450CBFD5-2CFE-4CED-AC12-0856202410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26FB-4B52-8D72-D56D618E8EAF}"/>
                </c:ext>
              </c:extLst>
            </c:dLbl>
            <c:dLbl>
              <c:idx val="14"/>
              <c:tx>
                <c:rich>
                  <a:bodyPr/>
                  <a:lstStyle/>
                  <a:p>
                    <a:fld id="{710D7424-ACBE-4BE6-908D-57A08D6613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26FB-4B52-8D72-D56D618E8EAF}"/>
                </c:ext>
              </c:extLst>
            </c:dLbl>
            <c:dLbl>
              <c:idx val="15"/>
              <c:tx>
                <c:rich>
                  <a:bodyPr/>
                  <a:lstStyle/>
                  <a:p>
                    <a:fld id="{8ED7AD14-2069-4082-B1AA-3032B36FCC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26FB-4B52-8D72-D56D618E8EAF}"/>
                </c:ext>
              </c:extLst>
            </c:dLbl>
            <c:dLbl>
              <c:idx val="16"/>
              <c:tx>
                <c:rich>
                  <a:bodyPr/>
                  <a:lstStyle/>
                  <a:p>
                    <a:fld id="{B855EB7D-6B12-4B3F-A18F-791B049D99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A6E-4C83-9A06-9C3309B2855E}"/>
                </c:ext>
              </c:extLst>
            </c:dLbl>
            <c:dLbl>
              <c:idx val="17"/>
              <c:tx>
                <c:rich>
                  <a:bodyPr/>
                  <a:lstStyle/>
                  <a:p>
                    <a:fld id="{24F00407-839D-4308-A3B4-E38DDFE13D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0A6E-4C83-9A06-9C3309B2855E}"/>
                </c:ext>
              </c:extLst>
            </c:dLbl>
            <c:dLbl>
              <c:idx val="18"/>
              <c:tx>
                <c:rich>
                  <a:bodyPr/>
                  <a:lstStyle/>
                  <a:p>
                    <a:fld id="{B3F3697F-6662-4BA7-B7B2-87422A07A7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A6E-4C83-9A06-9C3309B2855E}"/>
                </c:ext>
              </c:extLst>
            </c:dLbl>
            <c:dLbl>
              <c:idx val="19"/>
              <c:tx>
                <c:rich>
                  <a:bodyPr/>
                  <a:lstStyle/>
                  <a:p>
                    <a:fld id="{2A6512C5-227F-4F68-BD03-D957A086F5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A6E-4C83-9A06-9C3309B2855E}"/>
                </c:ext>
              </c:extLst>
            </c:dLbl>
            <c:dLbl>
              <c:idx val="20"/>
              <c:tx>
                <c:rich>
                  <a:bodyPr/>
                  <a:lstStyle/>
                  <a:p>
                    <a:fld id="{BD669957-BE23-4769-A4A0-E8EA0EF405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C5AD-4BCF-9CB2-60EDA2D7DB42}"/>
                </c:ext>
              </c:extLst>
            </c:dLbl>
            <c:dLbl>
              <c:idx val="21"/>
              <c:tx>
                <c:rich>
                  <a:bodyPr/>
                  <a:lstStyle/>
                  <a:p>
                    <a:fld id="{F7C8099E-5C32-4A32-B8FC-8CAAE98AB3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5AD-4BCF-9CB2-60EDA2D7DB42}"/>
                </c:ext>
              </c:extLst>
            </c:dLbl>
            <c:dLbl>
              <c:idx val="22"/>
              <c:tx>
                <c:rich>
                  <a:bodyPr/>
                  <a:lstStyle/>
                  <a:p>
                    <a:fld id="{2CE05C3A-6BA7-4083-A1C6-E7FB2E4FA9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5AD-4BCF-9CB2-60EDA2D7DB42}"/>
                </c:ext>
              </c:extLst>
            </c:dLbl>
            <c:dLbl>
              <c:idx val="23"/>
              <c:tx>
                <c:rich>
                  <a:bodyPr/>
                  <a:lstStyle/>
                  <a:p>
                    <a:fld id="{5A13FB8E-7284-4456-9FD0-9F724867CC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5AD-4BCF-9CB2-60EDA2D7DB42}"/>
                </c:ext>
              </c:extLst>
            </c:dLbl>
            <c:dLbl>
              <c:idx val="24"/>
              <c:tx>
                <c:rich>
                  <a:bodyPr/>
                  <a:lstStyle/>
                  <a:p>
                    <a:fld id="{D4FFC807-41D0-41E4-90D8-79FD870950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A6E-4C83-9A06-9C3309B2855E}"/>
                </c:ext>
              </c:extLst>
            </c:dLbl>
            <c:dLbl>
              <c:idx val="25"/>
              <c:tx>
                <c:rich>
                  <a:bodyPr/>
                  <a:lstStyle/>
                  <a:p>
                    <a:fld id="{957CD782-3092-4779-A3F7-A1BD9D9772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D12-44DE-B956-CABCB15EBC04}"/>
                </c:ext>
              </c:extLst>
            </c:dLbl>
            <c:dLbl>
              <c:idx val="26"/>
              <c:tx>
                <c:rich>
                  <a:bodyPr/>
                  <a:lstStyle/>
                  <a:p>
                    <a:fld id="{E44B359B-54DC-4A08-B261-FBCD8791A3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D12-44DE-B956-CABCB15EBC04}"/>
                </c:ext>
              </c:extLst>
            </c:dLbl>
            <c:dLbl>
              <c:idx val="27"/>
              <c:tx>
                <c:rich>
                  <a:bodyPr/>
                  <a:lstStyle/>
                  <a:p>
                    <a:fld id="{504D15BA-84F0-4106-8625-E5F1328FC5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D12-44DE-B956-CABCB15EBC04}"/>
                </c:ext>
              </c:extLst>
            </c:dLbl>
            <c:dLbl>
              <c:idx val="28"/>
              <c:tx>
                <c:rich>
                  <a:bodyPr/>
                  <a:lstStyle/>
                  <a:p>
                    <a:fld id="{246CCC8D-A546-4399-86A1-C1FA7EBEE3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D12-44DE-B956-CABCB15EBC04}"/>
                </c:ext>
              </c:extLst>
            </c:dLbl>
            <c:dLbl>
              <c:idx val="29"/>
              <c:tx>
                <c:rich>
                  <a:bodyPr/>
                  <a:lstStyle/>
                  <a:p>
                    <a:fld id="{92BC8266-FA77-4DDC-A76B-E53A75C4E7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47-486F-B734-6012CEA493B3}"/>
                </c:ext>
              </c:extLst>
            </c:dLbl>
            <c:dLbl>
              <c:idx val="30"/>
              <c:tx>
                <c:rich>
                  <a:bodyPr/>
                  <a:lstStyle/>
                  <a:p>
                    <a:fld id="{2FD778A9-D0FB-412E-88EA-CECB5F7302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D12-44DE-B956-CABCB15EBC04}"/>
                </c:ext>
              </c:extLst>
            </c:dLbl>
            <c:dLbl>
              <c:idx val="31"/>
              <c:tx>
                <c:rich>
                  <a:bodyPr/>
                  <a:lstStyle/>
                  <a:p>
                    <a:fld id="{6BA10ADD-7C2F-4178-B205-2784E24C4C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D12-44DE-B956-CABCB15EBC04}"/>
                </c:ext>
              </c:extLst>
            </c:dLbl>
            <c:dLbl>
              <c:idx val="32"/>
              <c:tx>
                <c:rich>
                  <a:bodyPr/>
                  <a:lstStyle/>
                  <a:p>
                    <a:fld id="{F5614D2F-2573-47DF-AAAB-4772C5240F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D12-44DE-B956-CABCB15EBC04}"/>
                </c:ext>
              </c:extLst>
            </c:dLbl>
            <c:dLbl>
              <c:idx val="33"/>
              <c:tx>
                <c:rich>
                  <a:bodyPr/>
                  <a:lstStyle/>
                  <a:p>
                    <a:fld id="{7D2FF2A4-DF24-47B4-84CE-8E8C124F08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D12-44DE-B956-CABCB15EBC04}"/>
                </c:ext>
              </c:extLst>
            </c:dLbl>
            <c:dLbl>
              <c:idx val="34"/>
              <c:tx>
                <c:rich>
                  <a:bodyPr/>
                  <a:lstStyle/>
                  <a:p>
                    <a:fld id="{9F9DC81E-291A-4BCA-A8CE-06BCF6595A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D12-44DE-B956-CABCB15EBC04}"/>
                </c:ext>
              </c:extLst>
            </c:dLbl>
            <c:dLbl>
              <c:idx val="35"/>
              <c:tx>
                <c:rich>
                  <a:bodyPr/>
                  <a:lstStyle/>
                  <a:p>
                    <a:fld id="{010F2874-845E-4355-B41D-03E8B58093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D12-44DE-B956-CABCB15EBC04}"/>
                </c:ext>
              </c:extLst>
            </c:dLbl>
            <c:dLbl>
              <c:idx val="36"/>
              <c:tx>
                <c:rich>
                  <a:bodyPr/>
                  <a:lstStyle/>
                  <a:p>
                    <a:fld id="{7E73B007-5728-46B3-B285-349DF57085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D12-44DE-B956-CABCB15EBC04}"/>
                </c:ext>
              </c:extLst>
            </c:dLbl>
            <c:dLbl>
              <c:idx val="37"/>
              <c:tx>
                <c:rich>
                  <a:bodyPr/>
                  <a:lstStyle/>
                  <a:p>
                    <a:fld id="{94FF3CA0-2128-47D2-9E60-4153FB28F9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D12-44DE-B956-CABCB15EBC04}"/>
                </c:ext>
              </c:extLst>
            </c:dLbl>
            <c:dLbl>
              <c:idx val="38"/>
              <c:tx>
                <c:rich>
                  <a:bodyPr/>
                  <a:lstStyle/>
                  <a:p>
                    <a:fld id="{1C166C57-596B-456E-BF1F-A70AFD0994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D12-44DE-B956-CABCB15EBC04}"/>
                </c:ext>
              </c:extLst>
            </c:dLbl>
            <c:dLbl>
              <c:idx val="39"/>
              <c:tx>
                <c:rich>
                  <a:bodyPr/>
                  <a:lstStyle/>
                  <a:p>
                    <a:fld id="{226F2D41-31B2-4308-B6FF-7B91DEAC22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D12-44DE-B956-CABCB15EBC04}"/>
                </c:ext>
              </c:extLst>
            </c:dLbl>
            <c:dLbl>
              <c:idx val="40"/>
              <c:tx>
                <c:rich>
                  <a:bodyPr/>
                  <a:lstStyle/>
                  <a:p>
                    <a:fld id="{25DC8D96-D42B-4520-BEAB-57371074D6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D12-44DE-B956-CABCB15EBC04}"/>
                </c:ext>
              </c:extLst>
            </c:dLbl>
            <c:dLbl>
              <c:idx val="41"/>
              <c:tx>
                <c:rich>
                  <a:bodyPr/>
                  <a:lstStyle/>
                  <a:p>
                    <a:fld id="{6BB19F06-BADD-45D3-BF44-139F812C6C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D12-44DE-B956-CABCB15EBC04}"/>
                </c:ext>
              </c:extLst>
            </c:dLbl>
            <c:dLbl>
              <c:idx val="42"/>
              <c:tx>
                <c:rich>
                  <a:bodyPr/>
                  <a:lstStyle/>
                  <a:p>
                    <a:fld id="{CB09434E-9CCD-4099-AE74-BFC6E88D49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D12-44DE-B956-CABCB15EBC04}"/>
                </c:ext>
              </c:extLst>
            </c:dLbl>
            <c:dLbl>
              <c:idx val="43"/>
              <c:tx>
                <c:rich>
                  <a:bodyPr/>
                  <a:lstStyle/>
                  <a:p>
                    <a:fld id="{80A1A839-CA56-4638-926A-9A6E034C6F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D12-44DE-B956-CABCB15EBC04}"/>
                </c:ext>
              </c:extLst>
            </c:dLbl>
            <c:dLbl>
              <c:idx val="44"/>
              <c:tx>
                <c:rich>
                  <a:bodyPr/>
                  <a:lstStyle/>
                  <a:p>
                    <a:fld id="{EECC7507-9006-4B2D-B4B2-0DC0F3503C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D12-44DE-B956-CABCB15EBC04}"/>
                </c:ext>
              </c:extLst>
            </c:dLbl>
            <c:dLbl>
              <c:idx val="45"/>
              <c:tx>
                <c:rich>
                  <a:bodyPr/>
                  <a:lstStyle/>
                  <a:p>
                    <a:fld id="{A1D764C6-885A-4419-888F-418F5D6CBB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D12-44DE-B956-CABCB15EBC04}"/>
                </c:ext>
              </c:extLst>
            </c:dLbl>
            <c:dLbl>
              <c:idx val="46"/>
              <c:tx>
                <c:rich>
                  <a:bodyPr/>
                  <a:lstStyle/>
                  <a:p>
                    <a:fld id="{26D251BC-07E2-40BD-B002-63CC835430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D12-44DE-B956-CABCB15EBC04}"/>
                </c:ext>
              </c:extLst>
            </c:dLbl>
            <c:dLbl>
              <c:idx val="47"/>
              <c:tx>
                <c:rich>
                  <a:bodyPr/>
                  <a:lstStyle/>
                  <a:p>
                    <a:fld id="{5B8C85F1-543E-4426-A66C-A562CFBDAA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D12-44DE-B956-CABCB15EBC04}"/>
                </c:ext>
              </c:extLst>
            </c:dLbl>
            <c:dLbl>
              <c:idx val="48"/>
              <c:tx>
                <c:rich>
                  <a:bodyPr/>
                  <a:lstStyle/>
                  <a:p>
                    <a:fld id="{A5811ED2-EAD4-4A5A-BDD1-D20CC61257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D12-44DE-B956-CABCB15EBC04}"/>
                </c:ext>
              </c:extLst>
            </c:dLbl>
            <c:dLbl>
              <c:idx val="49"/>
              <c:tx>
                <c:rich>
                  <a:bodyPr/>
                  <a:lstStyle/>
                  <a:p>
                    <a:fld id="{202024B7-2A80-41BE-B765-9F6D9D5361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D12-44DE-B956-CABCB15EBC04}"/>
                </c:ext>
              </c:extLst>
            </c:dLbl>
            <c:dLbl>
              <c:idx val="50"/>
              <c:tx>
                <c:rich>
                  <a:bodyPr/>
                  <a:lstStyle/>
                  <a:p>
                    <a:fld id="{F8C63087-98CD-4FE6-9729-BC38D1D8B6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D12-44DE-B956-CABCB15EBC04}"/>
                </c:ext>
              </c:extLst>
            </c:dLbl>
            <c:dLbl>
              <c:idx val="51"/>
              <c:tx>
                <c:rich>
                  <a:bodyPr/>
                  <a:lstStyle/>
                  <a:p>
                    <a:fld id="{FDBAE7A6-C83A-4580-A967-35FEE192BF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D12-44DE-B956-CABCB15EBC04}"/>
                </c:ext>
              </c:extLst>
            </c:dLbl>
            <c:dLbl>
              <c:idx val="52"/>
              <c:tx>
                <c:rich>
                  <a:bodyPr/>
                  <a:lstStyle/>
                  <a:p>
                    <a:fld id="{8DAD735C-E127-4223-9395-031C0EEFF7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D12-44DE-B956-CABCB15EBC04}"/>
                </c:ext>
              </c:extLst>
            </c:dLbl>
            <c:dLbl>
              <c:idx val="53"/>
              <c:tx>
                <c:rich>
                  <a:bodyPr/>
                  <a:lstStyle/>
                  <a:p>
                    <a:fld id="{207074CA-FC2E-4D77-B358-6C06C16C9E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D12-44DE-B956-CABCB15EBC04}"/>
                </c:ext>
              </c:extLst>
            </c:dLbl>
            <c:dLbl>
              <c:idx val="54"/>
              <c:tx>
                <c:rich>
                  <a:bodyPr/>
                  <a:lstStyle/>
                  <a:p>
                    <a:fld id="{DBDFB794-286A-469A-98C3-A64DDB1B28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D12-44DE-B956-CABCB15EBC04}"/>
                </c:ext>
              </c:extLst>
            </c:dLbl>
            <c:dLbl>
              <c:idx val="55"/>
              <c:tx>
                <c:rich>
                  <a:bodyPr/>
                  <a:lstStyle/>
                  <a:p>
                    <a:fld id="{22D9C59C-9A8D-45CD-AEBA-F9E7CCCCE6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D12-44DE-B956-CABCB15EBC04}"/>
                </c:ext>
              </c:extLst>
            </c:dLbl>
            <c:dLbl>
              <c:idx val="56"/>
              <c:tx>
                <c:rich>
                  <a:bodyPr/>
                  <a:lstStyle/>
                  <a:p>
                    <a:fld id="{5ED9EC7B-5369-432A-86D4-751C9549D3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8E3F-4D1B-A313-C02BEC0FDBD1}"/>
                </c:ext>
              </c:extLst>
            </c:dLbl>
            <c:dLbl>
              <c:idx val="57"/>
              <c:tx>
                <c:rich>
                  <a:bodyPr/>
                  <a:lstStyle/>
                  <a:p>
                    <a:fld id="{01F91E38-737E-4427-BA92-FC73743597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8E3F-4D1B-A313-C02BEC0FDBD1}"/>
                </c:ext>
              </c:extLst>
            </c:dLbl>
            <c:dLbl>
              <c:idx val="58"/>
              <c:tx>
                <c:rich>
                  <a:bodyPr/>
                  <a:lstStyle/>
                  <a:p>
                    <a:fld id="{0F869AC4-47B4-4B60-B461-88F3CC8B25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8E3F-4D1B-A313-C02BEC0FDBD1}"/>
                </c:ext>
              </c:extLst>
            </c:dLbl>
            <c:dLbl>
              <c:idx val="59"/>
              <c:tx>
                <c:rich>
                  <a:bodyPr/>
                  <a:lstStyle/>
                  <a:p>
                    <a:fld id="{0D8F81ED-491E-4927-A3C7-3FBC1FB285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8E3F-4D1B-A313-C02BEC0FDBD1}"/>
                </c:ext>
              </c:extLst>
            </c:dLbl>
            <c:dLbl>
              <c:idx val="60"/>
              <c:tx>
                <c:rich>
                  <a:bodyPr/>
                  <a:lstStyle/>
                  <a:p>
                    <a:fld id="{A34352B0-AFF4-428B-8FA1-33EA63A6E6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8E3F-4D1B-A313-C02BEC0FDBD1}"/>
                </c:ext>
              </c:extLst>
            </c:dLbl>
            <c:dLbl>
              <c:idx val="61"/>
              <c:tx>
                <c:rich>
                  <a:bodyPr/>
                  <a:lstStyle/>
                  <a:p>
                    <a:fld id="{51BF21E4-3384-4E2B-B55C-38986F4EED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8E3F-4D1B-A313-C02BEC0FDBD1}"/>
                </c:ext>
              </c:extLst>
            </c:dLbl>
            <c:dLbl>
              <c:idx val="62"/>
              <c:tx>
                <c:rich>
                  <a:bodyPr/>
                  <a:lstStyle/>
                  <a:p>
                    <a:fld id="{FD991435-57D2-4805-93C1-45D892DC8B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8E3F-4D1B-A313-C02BEC0FDBD1}"/>
                </c:ext>
              </c:extLst>
            </c:dLbl>
            <c:dLbl>
              <c:idx val="63"/>
              <c:tx>
                <c:rich>
                  <a:bodyPr/>
                  <a:lstStyle/>
                  <a:p>
                    <a:fld id="{E0A89859-5F40-4A7C-A963-DBCEE56318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8E3F-4D1B-A313-C02BEC0FDBD1}"/>
                </c:ext>
              </c:extLst>
            </c:dLbl>
            <c:dLbl>
              <c:idx val="64"/>
              <c:tx>
                <c:rich>
                  <a:bodyPr/>
                  <a:lstStyle/>
                  <a:p>
                    <a:fld id="{9E2EC3CB-EB7E-450E-969F-8147D54794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8E3F-4D1B-A313-C02BEC0FDBD1}"/>
                </c:ext>
              </c:extLst>
            </c:dLbl>
            <c:dLbl>
              <c:idx val="65"/>
              <c:tx>
                <c:rich>
                  <a:bodyPr/>
                  <a:lstStyle/>
                  <a:p>
                    <a:fld id="{069B367A-BF47-48C2-8BA1-2C8E107E78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8E3F-4D1B-A313-C02BEC0FDBD1}"/>
                </c:ext>
              </c:extLst>
            </c:dLbl>
            <c:dLbl>
              <c:idx val="66"/>
              <c:tx>
                <c:rich>
                  <a:bodyPr/>
                  <a:lstStyle/>
                  <a:p>
                    <a:fld id="{31451689-4F81-4864-895D-261B61065D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8E3F-4D1B-A313-C02BEC0FDBD1}"/>
                </c:ext>
              </c:extLst>
            </c:dLbl>
            <c:dLbl>
              <c:idx val="67"/>
              <c:tx>
                <c:rich>
                  <a:bodyPr/>
                  <a:lstStyle/>
                  <a:p>
                    <a:fld id="{1710750A-A495-46CD-83E0-691B5032EE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8E3F-4D1B-A313-C02BEC0FDBD1}"/>
                </c:ext>
              </c:extLst>
            </c:dLbl>
            <c:dLbl>
              <c:idx val="68"/>
              <c:tx>
                <c:rich>
                  <a:bodyPr/>
                  <a:lstStyle/>
                  <a:p>
                    <a:fld id="{E6222E37-5301-478A-AC85-474FC10286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8E3F-4D1B-A313-C02BEC0FDBD1}"/>
                </c:ext>
              </c:extLst>
            </c:dLbl>
            <c:dLbl>
              <c:idx val="69"/>
              <c:tx>
                <c:rich>
                  <a:bodyPr/>
                  <a:lstStyle/>
                  <a:p>
                    <a:fld id="{579C5E15-01C7-4CCC-BC1E-A46DBC6B10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8E3F-4D1B-A313-C02BEC0FDBD1}"/>
                </c:ext>
              </c:extLst>
            </c:dLbl>
            <c:dLbl>
              <c:idx val="70"/>
              <c:tx>
                <c:rich>
                  <a:bodyPr/>
                  <a:lstStyle/>
                  <a:p>
                    <a:fld id="{3E3F0A80-85CB-4EE2-AC2E-CFC8D51623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8E3F-4D1B-A313-C02BEC0FDBD1}"/>
                </c:ext>
              </c:extLst>
            </c:dLbl>
            <c:dLbl>
              <c:idx val="71"/>
              <c:tx>
                <c:rich>
                  <a:bodyPr/>
                  <a:lstStyle/>
                  <a:p>
                    <a:fld id="{32EDD5E0-6514-49A9-BC6B-B1EB1E4175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8E3F-4D1B-A313-C02BEC0FDBD1}"/>
                </c:ext>
              </c:extLst>
            </c:dLbl>
            <c:dLbl>
              <c:idx val="72"/>
              <c:tx>
                <c:rich>
                  <a:bodyPr/>
                  <a:lstStyle/>
                  <a:p>
                    <a:fld id="{8C384A5B-1ED4-4C05-8D88-D52DF9CC59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8E3F-4D1B-A313-C02BEC0FDBD1}"/>
                </c:ext>
              </c:extLst>
            </c:dLbl>
            <c:dLbl>
              <c:idx val="73"/>
              <c:tx>
                <c:rich>
                  <a:bodyPr/>
                  <a:lstStyle/>
                  <a:p>
                    <a:fld id="{1C5E6D73-BA03-4E93-B617-46A0F2A0BC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8E3F-4D1B-A313-C02BEC0FDBD1}"/>
                </c:ext>
              </c:extLst>
            </c:dLbl>
            <c:dLbl>
              <c:idx val="74"/>
              <c:tx>
                <c:rich>
                  <a:bodyPr/>
                  <a:lstStyle/>
                  <a:p>
                    <a:fld id="{FD135A37-1981-473D-A302-7BBE37E032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8E3F-4D1B-A313-C02BEC0FDBD1}"/>
                </c:ext>
              </c:extLst>
            </c:dLbl>
            <c:dLbl>
              <c:idx val="75"/>
              <c:tx>
                <c:rich>
                  <a:bodyPr/>
                  <a:lstStyle/>
                  <a:p>
                    <a:fld id="{8E540365-A118-4DEF-8788-A6773D35AC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8E3F-4D1B-A313-C02BEC0FDBD1}"/>
                </c:ext>
              </c:extLst>
            </c:dLbl>
            <c:dLbl>
              <c:idx val="76"/>
              <c:tx>
                <c:rich>
                  <a:bodyPr/>
                  <a:lstStyle/>
                  <a:p>
                    <a:fld id="{CCAE6305-3B4C-431A-8BF1-3A95AF3B98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8E3F-4D1B-A313-C02BEC0FDBD1}"/>
                </c:ext>
              </c:extLst>
            </c:dLbl>
            <c:dLbl>
              <c:idx val="77"/>
              <c:tx>
                <c:rich>
                  <a:bodyPr/>
                  <a:lstStyle/>
                  <a:p>
                    <a:fld id="{7D376402-EE51-4E11-AC3B-A70D5039ED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8E3F-4D1B-A313-C02BEC0FDBD1}"/>
                </c:ext>
              </c:extLst>
            </c:dLbl>
            <c:dLbl>
              <c:idx val="78"/>
              <c:tx>
                <c:rich>
                  <a:bodyPr/>
                  <a:lstStyle/>
                  <a:p>
                    <a:fld id="{2B443DA6-38B6-4225-B7C5-57CA5619D0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8E3F-4D1B-A313-C02BEC0FDBD1}"/>
                </c:ext>
              </c:extLst>
            </c:dLbl>
            <c:dLbl>
              <c:idx val="79"/>
              <c:tx>
                <c:rich>
                  <a:bodyPr/>
                  <a:lstStyle/>
                  <a:p>
                    <a:fld id="{23E3CDEF-CAED-497E-8497-A296FF2FD0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8E3F-4D1B-A313-C02BEC0FDBD1}"/>
                </c:ext>
              </c:extLst>
            </c:dLbl>
            <c:dLbl>
              <c:idx val="80"/>
              <c:tx>
                <c:rich>
                  <a:bodyPr/>
                  <a:lstStyle/>
                  <a:p>
                    <a:fld id="{B4E84B7B-26DB-4E39-A37F-64F0FCC1E6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8E3F-4D1B-A313-C02BEC0FDBD1}"/>
                </c:ext>
              </c:extLst>
            </c:dLbl>
            <c:dLbl>
              <c:idx val="81"/>
              <c:tx>
                <c:rich>
                  <a:bodyPr/>
                  <a:lstStyle/>
                  <a:p>
                    <a:fld id="{E4291D43-A1E0-4C69-99AE-AE459E06F1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9-8E3F-4D1B-A313-C02BEC0FDBD1}"/>
                </c:ext>
              </c:extLst>
            </c:dLbl>
            <c:dLbl>
              <c:idx val="82"/>
              <c:tx>
                <c:rich>
                  <a:bodyPr/>
                  <a:lstStyle/>
                  <a:p>
                    <a:fld id="{43A11F1F-B11D-4CE4-81EB-81B7B4161A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A-8E3F-4D1B-A313-C02BEC0FDBD1}"/>
                </c:ext>
              </c:extLst>
            </c:dLbl>
            <c:dLbl>
              <c:idx val="83"/>
              <c:tx>
                <c:rich>
                  <a:bodyPr/>
                  <a:lstStyle/>
                  <a:p>
                    <a:fld id="{5BBC9C12-B4AF-47EE-8DF2-29953207DA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B-8E3F-4D1B-A313-C02BEC0FDBD1}"/>
                </c:ext>
              </c:extLst>
            </c:dLbl>
            <c:dLbl>
              <c:idx val="84"/>
              <c:tx>
                <c:rich>
                  <a:bodyPr/>
                  <a:lstStyle/>
                  <a:p>
                    <a:fld id="{B0BD6EF8-DA2C-4907-A342-36C0CCBD79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C-8E3F-4D1B-A313-C02BEC0FDBD1}"/>
                </c:ext>
              </c:extLst>
            </c:dLbl>
            <c:dLbl>
              <c:idx val="85"/>
              <c:tx>
                <c:rich>
                  <a:bodyPr/>
                  <a:lstStyle/>
                  <a:p>
                    <a:fld id="{3F0FB379-2563-4790-A078-432013BBCF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D-8E3F-4D1B-A313-C02BEC0FDBD1}"/>
                </c:ext>
              </c:extLst>
            </c:dLbl>
            <c:dLbl>
              <c:idx val="86"/>
              <c:tx>
                <c:rich>
                  <a:bodyPr/>
                  <a:lstStyle/>
                  <a:p>
                    <a:fld id="{5CB14F8B-615B-43FD-82BD-332A13B94D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E-8E3F-4D1B-A313-C02BEC0FDBD1}"/>
                </c:ext>
              </c:extLst>
            </c:dLbl>
            <c:dLbl>
              <c:idx val="87"/>
              <c:tx>
                <c:rich>
                  <a:bodyPr/>
                  <a:lstStyle/>
                  <a:p>
                    <a:fld id="{EE68C7CF-ADF8-4611-8A18-8D10495CD6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F-8E3F-4D1B-A313-C02BEC0FDBD1}"/>
                </c:ext>
              </c:extLst>
            </c:dLbl>
            <c:dLbl>
              <c:idx val="88"/>
              <c:tx>
                <c:rich>
                  <a:bodyPr/>
                  <a:lstStyle/>
                  <a:p>
                    <a:fld id="{048EFAF9-4E0F-4308-8EF9-17862335B8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0-8E3F-4D1B-A313-C02BEC0FDBD1}"/>
                </c:ext>
              </c:extLst>
            </c:dLbl>
            <c:dLbl>
              <c:idx val="89"/>
              <c:tx>
                <c:rich>
                  <a:bodyPr/>
                  <a:lstStyle/>
                  <a:p>
                    <a:fld id="{A85393FA-88C6-46B6-AA95-25705AA487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1-8E3F-4D1B-A313-C02BEC0FDBD1}"/>
                </c:ext>
              </c:extLst>
            </c:dLbl>
            <c:dLbl>
              <c:idx val="90"/>
              <c:tx>
                <c:rich>
                  <a:bodyPr/>
                  <a:lstStyle/>
                  <a:p>
                    <a:fld id="{C7EF175E-EBEB-4D5E-BB7C-2674D057B5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2-8E3F-4D1B-A313-C02BEC0FDBD1}"/>
                </c:ext>
              </c:extLst>
            </c:dLbl>
            <c:dLbl>
              <c:idx val="91"/>
              <c:tx>
                <c:rich>
                  <a:bodyPr/>
                  <a:lstStyle/>
                  <a:p>
                    <a:fld id="{27073791-CCC1-4BE9-801E-416E3B34F7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3-8E3F-4D1B-A313-C02BEC0FDBD1}"/>
                </c:ext>
              </c:extLst>
            </c:dLbl>
            <c:dLbl>
              <c:idx val="92"/>
              <c:tx>
                <c:rich>
                  <a:bodyPr/>
                  <a:lstStyle/>
                  <a:p>
                    <a:fld id="{1C25B006-9266-404C-B18F-79BF698C6E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4-8E3F-4D1B-A313-C02BEC0FDBD1}"/>
                </c:ext>
              </c:extLst>
            </c:dLbl>
            <c:dLbl>
              <c:idx val="93"/>
              <c:tx>
                <c:rich>
                  <a:bodyPr/>
                  <a:lstStyle/>
                  <a:p>
                    <a:fld id="{3C4646B1-328D-4E93-8099-47C5D26073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5-8E3F-4D1B-A313-C02BEC0FDBD1}"/>
                </c:ext>
              </c:extLst>
            </c:dLbl>
            <c:dLbl>
              <c:idx val="94"/>
              <c:tx>
                <c:rich>
                  <a:bodyPr/>
                  <a:lstStyle/>
                  <a:p>
                    <a:fld id="{2D62E609-C146-4661-920F-9D4C4E0183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6-8E3F-4D1B-A313-C02BEC0FDBD1}"/>
                </c:ext>
              </c:extLst>
            </c:dLbl>
            <c:dLbl>
              <c:idx val="95"/>
              <c:tx>
                <c:rich>
                  <a:bodyPr/>
                  <a:lstStyle/>
                  <a:p>
                    <a:fld id="{19C76F22-0975-48DC-A634-A8576997D2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7-8E3F-4D1B-A313-C02BEC0FDBD1}"/>
                </c:ext>
              </c:extLst>
            </c:dLbl>
            <c:dLbl>
              <c:idx val="96"/>
              <c:tx>
                <c:rich>
                  <a:bodyPr/>
                  <a:lstStyle/>
                  <a:p>
                    <a:fld id="{C612EB14-D052-4603-9E1D-F75FCDF2EE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8-8E3F-4D1B-A313-C02BEC0FDBD1}"/>
                </c:ext>
              </c:extLst>
            </c:dLbl>
            <c:dLbl>
              <c:idx val="97"/>
              <c:tx>
                <c:rich>
                  <a:bodyPr/>
                  <a:lstStyle/>
                  <a:p>
                    <a:fld id="{B586A1AA-6EC6-43F0-A55E-D92C8024F9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9-8E3F-4D1B-A313-C02BEC0FDBD1}"/>
                </c:ext>
              </c:extLst>
            </c:dLbl>
            <c:dLbl>
              <c:idx val="98"/>
              <c:tx>
                <c:rich>
                  <a:bodyPr/>
                  <a:lstStyle/>
                  <a:p>
                    <a:fld id="{5F58E7BC-EEB8-4F84-97E9-1D0174EBEB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A-8E3F-4D1B-A313-C02BEC0FDBD1}"/>
                </c:ext>
              </c:extLst>
            </c:dLbl>
            <c:dLbl>
              <c:idx val="99"/>
              <c:tx>
                <c:rich>
                  <a:bodyPr/>
                  <a:lstStyle/>
                  <a:p>
                    <a:fld id="{2318FE06-DB2A-445A-B88A-F755D2FC0A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B-8E3F-4D1B-A313-C02BEC0FDBD1}"/>
                </c:ext>
              </c:extLst>
            </c:dLbl>
            <c:dLbl>
              <c:idx val="100"/>
              <c:tx>
                <c:rich>
                  <a:bodyPr/>
                  <a:lstStyle/>
                  <a:p>
                    <a:fld id="{1CC99512-AF85-4C8A-A424-9E49D55397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C-8E3F-4D1B-A313-C02BEC0FDBD1}"/>
                </c:ext>
              </c:extLst>
            </c:dLbl>
            <c:dLbl>
              <c:idx val="101"/>
              <c:tx>
                <c:rich>
                  <a:bodyPr/>
                  <a:lstStyle/>
                  <a:p>
                    <a:fld id="{64760631-DD34-4DCC-86D5-510D32377A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D-8E3F-4D1B-A313-C02BEC0FDBD1}"/>
                </c:ext>
              </c:extLst>
            </c:dLbl>
            <c:dLbl>
              <c:idx val="102"/>
              <c:tx>
                <c:rich>
                  <a:bodyPr/>
                  <a:lstStyle/>
                  <a:p>
                    <a:fld id="{5900F69C-EC0E-4084-BB5C-BC572BA986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E-8E3F-4D1B-A313-C02BEC0FDBD1}"/>
                </c:ext>
              </c:extLst>
            </c:dLbl>
            <c:dLbl>
              <c:idx val="103"/>
              <c:tx>
                <c:rich>
                  <a:bodyPr/>
                  <a:lstStyle/>
                  <a:p>
                    <a:fld id="{4D25E1AA-DBB9-4725-91F4-BDBEA71B65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F-8E3F-4D1B-A313-C02BEC0FDBD1}"/>
                </c:ext>
              </c:extLst>
            </c:dLbl>
            <c:dLbl>
              <c:idx val="104"/>
              <c:tx>
                <c:rich>
                  <a:bodyPr/>
                  <a:lstStyle/>
                  <a:p>
                    <a:fld id="{44494A38-83E9-42D4-90C2-1634A37C36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0-8E3F-4D1B-A313-C02BEC0FDBD1}"/>
                </c:ext>
              </c:extLst>
            </c:dLbl>
            <c:dLbl>
              <c:idx val="105"/>
              <c:tx>
                <c:rich>
                  <a:bodyPr/>
                  <a:lstStyle/>
                  <a:p>
                    <a:fld id="{2589DC48-F999-4B8B-9F8B-031169E5FF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1-8E3F-4D1B-A313-C02BEC0FDBD1}"/>
                </c:ext>
              </c:extLst>
            </c:dLbl>
            <c:dLbl>
              <c:idx val="106"/>
              <c:tx>
                <c:rich>
                  <a:bodyPr/>
                  <a:lstStyle/>
                  <a:p>
                    <a:fld id="{A7C967E1-45F1-443A-AF4F-CC45F50920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2-8E3F-4D1B-A313-C02BEC0FDBD1}"/>
                </c:ext>
              </c:extLst>
            </c:dLbl>
            <c:dLbl>
              <c:idx val="107"/>
              <c:tx>
                <c:rich>
                  <a:bodyPr/>
                  <a:lstStyle/>
                  <a:p>
                    <a:fld id="{23987FE3-C9D5-4D3F-A2CF-2B3FD336D0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3-8E3F-4D1B-A313-C02BEC0FDBD1}"/>
                </c:ext>
              </c:extLst>
            </c:dLbl>
            <c:dLbl>
              <c:idx val="108"/>
              <c:tx>
                <c:rich>
                  <a:bodyPr/>
                  <a:lstStyle/>
                  <a:p>
                    <a:fld id="{6206C5DF-4D28-4902-96BE-91912EDCC3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4-8E3F-4D1B-A313-C02BEC0FDBD1}"/>
                </c:ext>
              </c:extLst>
            </c:dLbl>
            <c:dLbl>
              <c:idx val="109"/>
              <c:tx>
                <c:rich>
                  <a:bodyPr/>
                  <a:lstStyle/>
                  <a:p>
                    <a:fld id="{25B37816-F9A8-4151-BD49-CEC2A3A028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5-8E3F-4D1B-A313-C02BEC0FDBD1}"/>
                </c:ext>
              </c:extLst>
            </c:dLbl>
            <c:dLbl>
              <c:idx val="110"/>
              <c:tx>
                <c:rich>
                  <a:bodyPr/>
                  <a:lstStyle/>
                  <a:p>
                    <a:fld id="{3D3B1FA3-E26A-44E1-8445-F1E05D2EC8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6-8E3F-4D1B-A313-C02BEC0FDBD1}"/>
                </c:ext>
              </c:extLst>
            </c:dLbl>
            <c:dLbl>
              <c:idx val="111"/>
              <c:tx>
                <c:rich>
                  <a:bodyPr/>
                  <a:lstStyle/>
                  <a:p>
                    <a:fld id="{E4DAB984-6C21-4ADE-A12E-DE19B0E82B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7-8E3F-4D1B-A313-C02BEC0FDBD1}"/>
                </c:ext>
              </c:extLst>
            </c:dLbl>
            <c:dLbl>
              <c:idx val="112"/>
              <c:tx>
                <c:rich>
                  <a:bodyPr/>
                  <a:lstStyle/>
                  <a:p>
                    <a:fld id="{E9B614E8-24AB-4213-8FEC-F213775760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8-8E3F-4D1B-A313-C02BEC0FDBD1}"/>
                </c:ext>
              </c:extLst>
            </c:dLbl>
            <c:dLbl>
              <c:idx val="113"/>
              <c:tx>
                <c:rich>
                  <a:bodyPr/>
                  <a:lstStyle/>
                  <a:p>
                    <a:fld id="{9FAF958B-1733-454B-9A08-AE1EDA5124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9-8E3F-4D1B-A313-C02BEC0FDBD1}"/>
                </c:ext>
              </c:extLst>
            </c:dLbl>
            <c:dLbl>
              <c:idx val="114"/>
              <c:tx>
                <c:rich>
                  <a:bodyPr/>
                  <a:lstStyle/>
                  <a:p>
                    <a:fld id="{346716E1-050F-4A51-B4C6-3C03B71746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A-8E3F-4D1B-A313-C02BEC0FDBD1}"/>
                </c:ext>
              </c:extLst>
            </c:dLbl>
            <c:dLbl>
              <c:idx val="115"/>
              <c:tx>
                <c:rich>
                  <a:bodyPr/>
                  <a:lstStyle/>
                  <a:p>
                    <a:fld id="{574D87EC-0588-4493-9DA8-9C62B50BFE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D$2:$D$117</c:f>
              <c:numCache>
                <c:formatCode>General</c:formatCode>
                <c:ptCount val="116"/>
                <c:pt idx="0">
                  <c:v>1</c:v>
                </c:pt>
                <c:pt idx="1">
                  <c:v>1</c:v>
                </c:pt>
                <c:pt idx="2">
                  <c:v>1</c:v>
                </c:pt>
                <c:pt idx="3">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15" formatCode="0">
                  <c:v>1</c:v>
                </c:pt>
                <c:pt idx="16" formatCode="0">
                  <c:v>1</c:v>
                </c:pt>
                <c:pt idx="17" formatCode="0">
                  <c:v>2</c:v>
                </c:pt>
                <c:pt idx="18" formatCode="0">
                  <c:v>1</c:v>
                </c:pt>
                <c:pt idx="19" formatCode="0">
                  <c:v>2</c:v>
                </c:pt>
                <c:pt idx="20" formatCode="0">
                  <c:v>2</c:v>
                </c:pt>
                <c:pt idx="21" formatCode="0">
                  <c:v>2</c:v>
                </c:pt>
                <c:pt idx="22" formatCode="0">
                  <c:v>2</c:v>
                </c:pt>
                <c:pt idx="23" formatCode="0">
                  <c:v>2</c:v>
                </c:pt>
                <c:pt idx="24" formatCode="0">
                  <c:v>2</c:v>
                </c:pt>
                <c:pt idx="25" formatCode="0">
                  <c:v>2</c:v>
                </c:pt>
                <c:pt idx="26" formatCode="0">
                  <c:v>2</c:v>
                </c:pt>
                <c:pt idx="27">
                  <c:v>2</c:v>
                </c:pt>
                <c:pt idx="28">
                  <c:v>2</c:v>
                </c:pt>
                <c:pt idx="29">
                  <c:v>2</c:v>
                </c:pt>
                <c:pt idx="30">
                  <c:v>2</c:v>
                </c:pt>
                <c:pt idx="31">
                  <c:v>3</c:v>
                </c:pt>
                <c:pt idx="32">
                  <c:v>3</c:v>
                </c:pt>
                <c:pt idx="33">
                  <c:v>3</c:v>
                </c:pt>
                <c:pt idx="34">
                  <c:v>3</c:v>
                </c:pt>
                <c:pt idx="35">
                  <c:v>3</c:v>
                </c:pt>
                <c:pt idx="36">
                  <c:v>3</c:v>
                </c:pt>
                <c:pt idx="37">
                  <c:v>3</c:v>
                </c:pt>
                <c:pt idx="38">
                  <c:v>3</c:v>
                </c:pt>
                <c:pt idx="39">
                  <c:v>3</c:v>
                </c:pt>
                <c:pt idx="40">
                  <c:v>3</c:v>
                </c:pt>
                <c:pt idx="41">
                  <c:v>3</c:v>
                </c:pt>
                <c:pt idx="42">
                  <c:v>3</c:v>
                </c:pt>
                <c:pt idx="43">
                  <c:v>3</c:v>
                </c:pt>
                <c:pt idx="44">
                  <c:v>4</c:v>
                </c:pt>
                <c:pt idx="45">
                  <c:v>4</c:v>
                </c:pt>
                <c:pt idx="46">
                  <c:v>4</c:v>
                </c:pt>
                <c:pt idx="47">
                  <c:v>4</c:v>
                </c:pt>
                <c:pt idx="48">
                  <c:v>4</c:v>
                </c:pt>
                <c:pt idx="49">
                  <c:v>4</c:v>
                </c:pt>
                <c:pt idx="50">
                  <c:v>4</c:v>
                </c:pt>
                <c:pt idx="51">
                  <c:v>4</c:v>
                </c:pt>
                <c:pt idx="52">
                  <c:v>4</c:v>
                </c:pt>
                <c:pt idx="53">
                  <c:v>4</c:v>
                </c:pt>
                <c:pt idx="54">
                  <c:v>4</c:v>
                </c:pt>
                <c:pt idx="55">
                  <c:v>4</c:v>
                </c:pt>
                <c:pt idx="56">
                  <c:v>4</c:v>
                </c:pt>
                <c:pt idx="57">
                  <c:v>4</c:v>
                </c:pt>
                <c:pt idx="58">
                  <c:v>4</c:v>
                </c:pt>
                <c:pt idx="59">
                  <c:v>4</c:v>
                </c:pt>
                <c:pt idx="60">
                  <c:v>4</c:v>
                </c:pt>
                <c:pt idx="61">
                  <c:v>4</c:v>
                </c:pt>
                <c:pt idx="62">
                  <c:v>4</c:v>
                </c:pt>
                <c:pt idx="63">
                  <c:v>4</c:v>
                </c:pt>
                <c:pt idx="64">
                  <c:v>4</c:v>
                </c:pt>
                <c:pt idx="65">
                  <c:v>4</c:v>
                </c:pt>
                <c:pt idx="66">
                  <c:v>4</c:v>
                </c:pt>
                <c:pt idx="67">
                  <c:v>4</c:v>
                </c:pt>
                <c:pt idx="68">
                  <c:v>5</c:v>
                </c:pt>
                <c:pt idx="69">
                  <c:v>5</c:v>
                </c:pt>
                <c:pt idx="70">
                  <c:v>5</c:v>
                </c:pt>
                <c:pt idx="71">
                  <c:v>5</c:v>
                </c:pt>
                <c:pt idx="72">
                  <c:v>5</c:v>
                </c:pt>
                <c:pt idx="73">
                  <c:v>5</c:v>
                </c:pt>
                <c:pt idx="74">
                  <c:v>5</c:v>
                </c:pt>
                <c:pt idx="75">
                  <c:v>5</c:v>
                </c:pt>
                <c:pt idx="76">
                  <c:v>5</c:v>
                </c:pt>
                <c:pt idx="77">
                  <c:v>5</c:v>
                </c:pt>
                <c:pt idx="78">
                  <c:v>5</c:v>
                </c:pt>
                <c:pt idx="79">
                  <c:v>5</c:v>
                </c:pt>
                <c:pt idx="80">
                  <c:v>6</c:v>
                </c:pt>
                <c:pt idx="81">
                  <c:v>6</c:v>
                </c:pt>
                <c:pt idx="82">
                  <c:v>6</c:v>
                </c:pt>
                <c:pt idx="83">
                  <c:v>6</c:v>
                </c:pt>
                <c:pt idx="84">
                  <c:v>6</c:v>
                </c:pt>
                <c:pt idx="85">
                  <c:v>6</c:v>
                </c:pt>
                <c:pt idx="86">
                  <c:v>6</c:v>
                </c:pt>
                <c:pt idx="87">
                  <c:v>6</c:v>
                </c:pt>
                <c:pt idx="88">
                  <c:v>6</c:v>
                </c:pt>
                <c:pt idx="89">
                  <c:v>6</c:v>
                </c:pt>
                <c:pt idx="90">
                  <c:v>6</c:v>
                </c:pt>
                <c:pt idx="91">
                  <c:v>6</c:v>
                </c:pt>
                <c:pt idx="92">
                  <c:v>6</c:v>
                </c:pt>
                <c:pt idx="93">
                  <c:v>7</c:v>
                </c:pt>
                <c:pt idx="94">
                  <c:v>7</c:v>
                </c:pt>
                <c:pt idx="95">
                  <c:v>7</c:v>
                </c:pt>
                <c:pt idx="96">
                  <c:v>7</c:v>
                </c:pt>
                <c:pt idx="97">
                  <c:v>7</c:v>
                </c:pt>
                <c:pt idx="98">
                  <c:v>7</c:v>
                </c:pt>
                <c:pt idx="99">
                  <c:v>7</c:v>
                </c:pt>
                <c:pt idx="100">
                  <c:v>7</c:v>
                </c:pt>
                <c:pt idx="101">
                  <c:v>7</c:v>
                </c:pt>
                <c:pt idx="102">
                  <c:v>7</c:v>
                </c:pt>
                <c:pt idx="103">
                  <c:v>7</c:v>
                </c:pt>
                <c:pt idx="104">
                  <c:v>7</c:v>
                </c:pt>
                <c:pt idx="105">
                  <c:v>8</c:v>
                </c:pt>
                <c:pt idx="106">
                  <c:v>8</c:v>
                </c:pt>
                <c:pt idx="107">
                  <c:v>8</c:v>
                </c:pt>
                <c:pt idx="108">
                  <c:v>8</c:v>
                </c:pt>
                <c:pt idx="109">
                  <c:v>8</c:v>
                </c:pt>
                <c:pt idx="110">
                  <c:v>8</c:v>
                </c:pt>
                <c:pt idx="111">
                  <c:v>8</c:v>
                </c:pt>
                <c:pt idx="112">
                  <c:v>8</c:v>
                </c:pt>
                <c:pt idx="113">
                  <c:v>8</c:v>
                </c:pt>
                <c:pt idx="114">
                  <c:v>8</c:v>
                </c:pt>
                <c:pt idx="115">
                  <c:v>8</c:v>
                </c:pt>
              </c:numCache>
            </c:numRef>
          </c:xVal>
          <c:yVal>
            <c:numRef>
              <c:f>Sheet1!$B$2:$B$117</c:f>
              <c:numCache>
                <c:formatCode>0%;\-0%;0%</c:formatCode>
                <c:ptCount val="116"/>
                <c:pt idx="0">
                  <c:v>0.33537119853666614</c:v>
                </c:pt>
                <c:pt idx="1">
                  <c:v>1.3110575620733895</c:v>
                </c:pt>
                <c:pt idx="2">
                  <c:v>0.12281129115912857</c:v>
                </c:pt>
                <c:pt idx="3">
                  <c:v>0.52740423038450002</c:v>
                </c:pt>
                <c:pt idx="4">
                  <c:v>0.23394614817291179</c:v>
                </c:pt>
                <c:pt idx="5">
                  <c:v>0.40424723346828612</c:v>
                </c:pt>
                <c:pt idx="6">
                  <c:v>1.0381094546405629</c:v>
                </c:pt>
                <c:pt idx="7">
                  <c:v>0.39464140468177511</c:v>
                </c:pt>
                <c:pt idx="8">
                  <c:v>1.0804710500490677</c:v>
                </c:pt>
                <c:pt idx="9">
                  <c:v>0.29756844074137051</c:v>
                </c:pt>
                <c:pt idx="10">
                  <c:v>0.34245897269923464</c:v>
                </c:pt>
                <c:pt idx="11">
                  <c:v>0.64309733708988459</c:v>
                </c:pt>
                <c:pt idx="12">
                  <c:v>7.6182838813151563E-3</c:v>
                </c:pt>
                <c:pt idx="13">
                  <c:v>7.2727272727272724E-2</c:v>
                </c:pt>
                <c:pt idx="14">
                  <c:v>9.4564818215203822E-2</c:v>
                </c:pt>
                <c:pt idx="15">
                  <c:v>0.97732228521587439</c:v>
                </c:pt>
                <c:pt idx="16">
                  <c:v>0.12916246215943492</c:v>
                </c:pt>
                <c:pt idx="17">
                  <c:v>0</c:v>
                </c:pt>
                <c:pt idx="18">
                  <c:v>0</c:v>
                </c:pt>
                <c:pt idx="19">
                  <c:v>0.67651164854893464</c:v>
                </c:pt>
                <c:pt idx="20">
                  <c:v>1.189595592135231</c:v>
                </c:pt>
                <c:pt idx="21">
                  <c:v>0.17901899226560691</c:v>
                </c:pt>
                <c:pt idx="22">
                  <c:v>1.1122736936699982</c:v>
                </c:pt>
                <c:pt idx="23">
                  <c:v>0.85910295216250121</c:v>
                </c:pt>
                <c:pt idx="24">
                  <c:v>0.98060814099444116</c:v>
                </c:pt>
                <c:pt idx="25">
                  <c:v>0.54450632951838152</c:v>
                </c:pt>
                <c:pt idx="26">
                  <c:v>0.56422668334309645</c:v>
                </c:pt>
                <c:pt idx="27">
                  <c:v>0.30859076520030565</c:v>
                </c:pt>
                <c:pt idx="28">
                  <c:v>-5.088408644400786E-2</c:v>
                </c:pt>
                <c:pt idx="29">
                  <c:v>0.48655046266408436</c:v>
                </c:pt>
                <c:pt idx="30">
                  <c:v>5.8252427184466021E-2</c:v>
                </c:pt>
                <c:pt idx="31">
                  <c:v>0.57528207397007924</c:v>
                </c:pt>
                <c:pt idx="32">
                  <c:v>0</c:v>
                </c:pt>
                <c:pt idx="33">
                  <c:v>0.34969330141134647</c:v>
                </c:pt>
                <c:pt idx="34">
                  <c:v>9.3618913842698215E-2</c:v>
                </c:pt>
                <c:pt idx="35">
                  <c:v>0.39086369781125707</c:v>
                </c:pt>
                <c:pt idx="36">
                  <c:v>0.53102946813067886</c:v>
                </c:pt>
                <c:pt idx="37">
                  <c:v>0.30671829359418518</c:v>
                </c:pt>
                <c:pt idx="38">
                  <c:v>4.7373658397896083E-2</c:v>
                </c:pt>
                <c:pt idx="39">
                  <c:v>9.8011706773204491E-2</c:v>
                </c:pt>
                <c:pt idx="40">
                  <c:v>5.9622372365136428E-2</c:v>
                </c:pt>
                <c:pt idx="41">
                  <c:v>0.3325076129317282</c:v>
                </c:pt>
                <c:pt idx="42">
                  <c:v>1.6811941832822908E-2</c:v>
                </c:pt>
                <c:pt idx="43">
                  <c:v>0.13383247543284979</c:v>
                </c:pt>
                <c:pt idx="44">
                  <c:v>0.18520227334689512</c:v>
                </c:pt>
                <c:pt idx="45">
                  <c:v>0.15534287581423784</c:v>
                </c:pt>
                <c:pt idx="46">
                  <c:v>0.27216813979063992</c:v>
                </c:pt>
                <c:pt idx="47">
                  <c:v>0.14428544647878522</c:v>
                </c:pt>
                <c:pt idx="48">
                  <c:v>8.9574245868403263E-2</c:v>
                </c:pt>
                <c:pt idx="49">
                  <c:v>0.29961779961779961</c:v>
                </c:pt>
                <c:pt idx="50">
                  <c:v>0.32942695401728078</c:v>
                </c:pt>
                <c:pt idx="51">
                  <c:v>0.79519295870006768</c:v>
                </c:pt>
                <c:pt idx="52">
                  <c:v>5.1974626560261916E-2</c:v>
                </c:pt>
                <c:pt idx="53">
                  <c:v>-2.5057825751734774E-2</c:v>
                </c:pt>
                <c:pt idx="54">
                  <c:v>-0.28899835796387519</c:v>
                </c:pt>
                <c:pt idx="55">
                  <c:v>0</c:v>
                </c:pt>
                <c:pt idx="56" formatCode="0.00%">
                  <c:v>0.18520227334689512</c:v>
                </c:pt>
                <c:pt idx="57" formatCode="0.00%">
                  <c:v>0.15534287581423784</c:v>
                </c:pt>
                <c:pt idx="58" formatCode="0.00%">
                  <c:v>0.27216813979063992</c:v>
                </c:pt>
                <c:pt idx="59" formatCode="0.00%">
                  <c:v>0.14428544647878522</c:v>
                </c:pt>
                <c:pt idx="60" formatCode="0.00%">
                  <c:v>8.9574245868403263E-2</c:v>
                </c:pt>
                <c:pt idx="61" formatCode="0.00%">
                  <c:v>0.29961779961779961</c:v>
                </c:pt>
                <c:pt idx="62" formatCode="0.00%">
                  <c:v>0.32942695401728078</c:v>
                </c:pt>
                <c:pt idx="63" formatCode="0.00%">
                  <c:v>0.79519295870006768</c:v>
                </c:pt>
                <c:pt idx="64" formatCode="0.00%">
                  <c:v>5.1974626560261916E-2</c:v>
                </c:pt>
                <c:pt idx="65" formatCode="0.00%">
                  <c:v>-2.5057825751734774E-2</c:v>
                </c:pt>
                <c:pt idx="66" formatCode="0.00%">
                  <c:v>-0.28899835796387519</c:v>
                </c:pt>
                <c:pt idx="67" formatCode="0.00%">
                  <c:v>0</c:v>
                </c:pt>
                <c:pt idx="68" formatCode="General">
                  <c:v>0.18520227334689512</c:v>
                </c:pt>
                <c:pt idx="69" formatCode="General">
                  <c:v>0.15534287581423784</c:v>
                </c:pt>
                <c:pt idx="70" formatCode="General">
                  <c:v>0.27216813979063992</c:v>
                </c:pt>
                <c:pt idx="71" formatCode="General">
                  <c:v>0.14428544647878522</c:v>
                </c:pt>
                <c:pt idx="72" formatCode="General">
                  <c:v>8.9574245868403263E-2</c:v>
                </c:pt>
                <c:pt idx="73" formatCode="General">
                  <c:v>0.29961779961779961</c:v>
                </c:pt>
                <c:pt idx="74" formatCode="General">
                  <c:v>0.32942695401728078</c:v>
                </c:pt>
                <c:pt idx="75" formatCode="General">
                  <c:v>0.79519295870006768</c:v>
                </c:pt>
                <c:pt idx="76" formatCode="General">
                  <c:v>5.1974626560261916E-2</c:v>
                </c:pt>
                <c:pt idx="77" formatCode="General">
                  <c:v>-2.5057825751734774E-2</c:v>
                </c:pt>
                <c:pt idx="78" formatCode="General">
                  <c:v>-0.28899835796387519</c:v>
                </c:pt>
                <c:pt idx="79" formatCode="General">
                  <c:v>0</c:v>
                </c:pt>
                <c:pt idx="80" formatCode="General">
                  <c:v>0</c:v>
                </c:pt>
                <c:pt idx="81" formatCode="General">
                  <c:v>0.18520227334689512</c:v>
                </c:pt>
                <c:pt idx="82" formatCode="General">
                  <c:v>0.15534287581423784</c:v>
                </c:pt>
                <c:pt idx="83" formatCode="General">
                  <c:v>0.27216813979063992</c:v>
                </c:pt>
                <c:pt idx="84" formatCode="General">
                  <c:v>0.14428544647878522</c:v>
                </c:pt>
                <c:pt idx="85" formatCode="General">
                  <c:v>8.9574245868403263E-2</c:v>
                </c:pt>
                <c:pt idx="86" formatCode="General">
                  <c:v>0.29961779961779961</c:v>
                </c:pt>
                <c:pt idx="87" formatCode="General">
                  <c:v>0.32942695401728078</c:v>
                </c:pt>
                <c:pt idx="88" formatCode="General">
                  <c:v>0.79519295870006768</c:v>
                </c:pt>
                <c:pt idx="89" formatCode="General">
                  <c:v>5.1974626560261916E-2</c:v>
                </c:pt>
                <c:pt idx="90" formatCode="General">
                  <c:v>-2.5057825751734774E-2</c:v>
                </c:pt>
                <c:pt idx="91" formatCode="General">
                  <c:v>-0.28899835796387519</c:v>
                </c:pt>
                <c:pt idx="92" formatCode="General">
                  <c:v>0</c:v>
                </c:pt>
                <c:pt idx="93" formatCode="General">
                  <c:v>0.18520227334689512</c:v>
                </c:pt>
                <c:pt idx="94" formatCode="General">
                  <c:v>0.15534287581423784</c:v>
                </c:pt>
                <c:pt idx="95" formatCode="General">
                  <c:v>0.27216813979063992</c:v>
                </c:pt>
                <c:pt idx="96" formatCode="General">
                  <c:v>0.14428544647878522</c:v>
                </c:pt>
                <c:pt idx="97" formatCode="General">
                  <c:v>8.9574245868403263E-2</c:v>
                </c:pt>
                <c:pt idx="98" formatCode="General">
                  <c:v>0.29961779961779961</c:v>
                </c:pt>
                <c:pt idx="99" formatCode="General">
                  <c:v>0.32942695401728078</c:v>
                </c:pt>
                <c:pt idx="100" formatCode="General">
                  <c:v>0.79519295870006768</c:v>
                </c:pt>
                <c:pt idx="101" formatCode="General">
                  <c:v>5.1974626560261916E-2</c:v>
                </c:pt>
                <c:pt idx="102" formatCode="General">
                  <c:v>-2.5057825751734774E-2</c:v>
                </c:pt>
                <c:pt idx="103" formatCode="General">
                  <c:v>-0.28899835796387519</c:v>
                </c:pt>
                <c:pt idx="104" formatCode="General">
                  <c:v>0</c:v>
                </c:pt>
                <c:pt idx="105" formatCode="General">
                  <c:v>0.15534287581423784</c:v>
                </c:pt>
                <c:pt idx="106" formatCode="General">
                  <c:v>0.27216813979063992</c:v>
                </c:pt>
                <c:pt idx="107" formatCode="General">
                  <c:v>0.14428544647878522</c:v>
                </c:pt>
                <c:pt idx="108" formatCode="General">
                  <c:v>8.9574245868403263E-2</c:v>
                </c:pt>
                <c:pt idx="109" formatCode="General">
                  <c:v>0.29961779961779961</c:v>
                </c:pt>
                <c:pt idx="110" formatCode="General">
                  <c:v>0.32942695401728078</c:v>
                </c:pt>
                <c:pt idx="111" formatCode="General">
                  <c:v>0.79519295870006768</c:v>
                </c:pt>
                <c:pt idx="112" formatCode="General">
                  <c:v>5.1974626560261916E-2</c:v>
                </c:pt>
                <c:pt idx="113" formatCode="General">
                  <c:v>-2.5057825751734774E-2</c:v>
                </c:pt>
                <c:pt idx="114" formatCode="General">
                  <c:v>-0.28899835796387519</c:v>
                </c:pt>
                <c:pt idx="115" formatCode="General">
                  <c:v>0</c:v>
                </c:pt>
              </c:numCache>
            </c:numRef>
          </c:yVal>
          <c:bubbleSize>
            <c:numRef>
              <c:f>Sheet1!$C$2:$C$117</c:f>
              <c:numCache>
                <c:formatCode>0%;\-0%;0%</c:formatCode>
                <c:ptCount val="116"/>
                <c:pt idx="0">
                  <c:v>4111084</c:v>
                </c:pt>
                <c:pt idx="1">
                  <c:v>1160533</c:v>
                </c:pt>
                <c:pt idx="2">
                  <c:v>1117212</c:v>
                </c:pt>
                <c:pt idx="3">
                  <c:v>504428</c:v>
                </c:pt>
                <c:pt idx="4">
                  <c:v>459435</c:v>
                </c:pt>
                <c:pt idx="5">
                  <c:v>386077</c:v>
                </c:pt>
                <c:pt idx="6">
                  <c:v>277647</c:v>
                </c:pt>
                <c:pt idx="7">
                  <c:v>222216</c:v>
                </c:pt>
                <c:pt idx="8">
                  <c:v>108739</c:v>
                </c:pt>
                <c:pt idx="9">
                  <c:v>100141</c:v>
                </c:pt>
                <c:pt idx="10">
                  <c:v>18851</c:v>
                </c:pt>
                <c:pt idx="11">
                  <c:v>13981</c:v>
                </c:pt>
                <c:pt idx="12">
                  <c:v>10864</c:v>
                </c:pt>
                <c:pt idx="13">
                  <c:v>7717</c:v>
                </c:pt>
                <c:pt idx="14">
                  <c:v>7439</c:v>
                </c:pt>
                <c:pt idx="15">
                  <c:v>4428</c:v>
                </c:pt>
                <c:pt idx="16">
                  <c:v>1120</c:v>
                </c:pt>
                <c:pt idx="17">
                  <c:v>21</c:v>
                </c:pt>
                <c:pt idx="18">
                  <c:v>0</c:v>
                </c:pt>
                <c:pt idx="19">
                  <c:v>12037304</c:v>
                </c:pt>
                <c:pt idx="20">
                  <c:v>5124041</c:v>
                </c:pt>
                <c:pt idx="21">
                  <c:v>4271666</c:v>
                </c:pt>
                <c:pt idx="22">
                  <c:v>1061364</c:v>
                </c:pt>
                <c:pt idx="23">
                  <c:v>786468</c:v>
                </c:pt>
                <c:pt idx="24">
                  <c:v>606283</c:v>
                </c:pt>
                <c:pt idx="25">
                  <c:v>479058</c:v>
                </c:pt>
                <c:pt idx="26">
                  <c:v>306437</c:v>
                </c:pt>
                <c:pt idx="27">
                  <c:v>83930</c:v>
                </c:pt>
                <c:pt idx="28">
                  <c:v>32553</c:v>
                </c:pt>
                <c:pt idx="29">
                  <c:v>24613</c:v>
                </c:pt>
                <c:pt idx="30">
                  <c:v>42</c:v>
                </c:pt>
                <c:pt idx="31">
                  <c:v>16067456</c:v>
                </c:pt>
                <c:pt idx="32">
                  <c:v>0</c:v>
                </c:pt>
                <c:pt idx="33">
                  <c:v>2257543</c:v>
                </c:pt>
                <c:pt idx="34">
                  <c:v>350113</c:v>
                </c:pt>
                <c:pt idx="35">
                  <c:v>238922</c:v>
                </c:pt>
                <c:pt idx="36">
                  <c:v>178620</c:v>
                </c:pt>
                <c:pt idx="37">
                  <c:v>98148</c:v>
                </c:pt>
                <c:pt idx="38">
                  <c:v>76752</c:v>
                </c:pt>
                <c:pt idx="39">
                  <c:v>59927</c:v>
                </c:pt>
                <c:pt idx="40">
                  <c:v>59154</c:v>
                </c:pt>
                <c:pt idx="41">
                  <c:v>58860</c:v>
                </c:pt>
                <c:pt idx="42">
                  <c:v>53214</c:v>
                </c:pt>
                <c:pt idx="43">
                  <c:v>45806</c:v>
                </c:pt>
                <c:pt idx="44">
                  <c:v>33868</c:v>
                </c:pt>
                <c:pt idx="45">
                  <c:v>28590</c:v>
                </c:pt>
                <c:pt idx="46">
                  <c:v>26827</c:v>
                </c:pt>
                <c:pt idx="47">
                  <c:v>15746</c:v>
                </c:pt>
                <c:pt idx="48">
                  <c:v>10871</c:v>
                </c:pt>
                <c:pt idx="49">
                  <c:v>10018</c:v>
                </c:pt>
                <c:pt idx="50">
                  <c:v>4962</c:v>
                </c:pt>
                <c:pt idx="51">
                  <c:v>4865</c:v>
                </c:pt>
                <c:pt idx="52">
                  <c:v>3900</c:v>
                </c:pt>
                <c:pt idx="53">
                  <c:v>1677</c:v>
                </c:pt>
                <c:pt idx="54">
                  <c:v>297</c:v>
                </c:pt>
                <c:pt idx="55">
                  <c:v>0</c:v>
                </c:pt>
                <c:pt idx="56" formatCode="General">
                  <c:v>33868</c:v>
                </c:pt>
                <c:pt idx="57" formatCode="General">
                  <c:v>28590</c:v>
                </c:pt>
                <c:pt idx="58" formatCode="General">
                  <c:v>26827</c:v>
                </c:pt>
                <c:pt idx="59" formatCode="General">
                  <c:v>15746</c:v>
                </c:pt>
                <c:pt idx="60" formatCode="General">
                  <c:v>10871</c:v>
                </c:pt>
                <c:pt idx="61" formatCode="General">
                  <c:v>10018</c:v>
                </c:pt>
                <c:pt idx="62" formatCode="General">
                  <c:v>4962</c:v>
                </c:pt>
                <c:pt idx="63" formatCode="General">
                  <c:v>4865</c:v>
                </c:pt>
                <c:pt idx="64" formatCode="General">
                  <c:v>3900</c:v>
                </c:pt>
                <c:pt idx="65" formatCode="General">
                  <c:v>1677</c:v>
                </c:pt>
                <c:pt idx="66" formatCode="General">
                  <c:v>297</c:v>
                </c:pt>
                <c:pt idx="67" formatCode="General">
                  <c:v>0</c:v>
                </c:pt>
                <c:pt idx="68" formatCode="General">
                  <c:v>33868</c:v>
                </c:pt>
                <c:pt idx="69" formatCode="General">
                  <c:v>28590</c:v>
                </c:pt>
                <c:pt idx="70" formatCode="General">
                  <c:v>26827</c:v>
                </c:pt>
                <c:pt idx="71" formatCode="General">
                  <c:v>15746</c:v>
                </c:pt>
                <c:pt idx="72" formatCode="General">
                  <c:v>10871</c:v>
                </c:pt>
                <c:pt idx="73" formatCode="General">
                  <c:v>10018</c:v>
                </c:pt>
                <c:pt idx="74" formatCode="General">
                  <c:v>4962</c:v>
                </c:pt>
                <c:pt idx="75" formatCode="General">
                  <c:v>4865</c:v>
                </c:pt>
                <c:pt idx="76" formatCode="General">
                  <c:v>3900</c:v>
                </c:pt>
                <c:pt idx="77" formatCode="General">
                  <c:v>1677</c:v>
                </c:pt>
                <c:pt idx="78" formatCode="General">
                  <c:v>297</c:v>
                </c:pt>
                <c:pt idx="79" formatCode="General">
                  <c:v>0</c:v>
                </c:pt>
                <c:pt idx="80" formatCode="General">
                  <c:v>0</c:v>
                </c:pt>
                <c:pt idx="81" formatCode="General">
                  <c:v>33868</c:v>
                </c:pt>
                <c:pt idx="82" formatCode="General">
                  <c:v>28590</c:v>
                </c:pt>
                <c:pt idx="83" formatCode="General">
                  <c:v>26827</c:v>
                </c:pt>
                <c:pt idx="84" formatCode="General">
                  <c:v>15746</c:v>
                </c:pt>
                <c:pt idx="85" formatCode="General">
                  <c:v>10871</c:v>
                </c:pt>
                <c:pt idx="86" formatCode="General">
                  <c:v>10018</c:v>
                </c:pt>
                <c:pt idx="87" formatCode="General">
                  <c:v>4962</c:v>
                </c:pt>
                <c:pt idx="88" formatCode="General">
                  <c:v>4865</c:v>
                </c:pt>
                <c:pt idx="89" formatCode="General">
                  <c:v>3900</c:v>
                </c:pt>
                <c:pt idx="90" formatCode="General">
                  <c:v>1677</c:v>
                </c:pt>
                <c:pt idx="91" formatCode="General">
                  <c:v>297</c:v>
                </c:pt>
                <c:pt idx="92" formatCode="General">
                  <c:v>0</c:v>
                </c:pt>
                <c:pt idx="93" formatCode="General">
                  <c:v>33868</c:v>
                </c:pt>
                <c:pt idx="94" formatCode="General">
                  <c:v>28590</c:v>
                </c:pt>
                <c:pt idx="95" formatCode="General">
                  <c:v>26827</c:v>
                </c:pt>
                <c:pt idx="96" formatCode="General">
                  <c:v>15746</c:v>
                </c:pt>
                <c:pt idx="97" formatCode="General">
                  <c:v>10871</c:v>
                </c:pt>
                <c:pt idx="98" formatCode="General">
                  <c:v>10018</c:v>
                </c:pt>
                <c:pt idx="99" formatCode="General">
                  <c:v>4962</c:v>
                </c:pt>
                <c:pt idx="100" formatCode="General">
                  <c:v>4865</c:v>
                </c:pt>
                <c:pt idx="101" formatCode="General">
                  <c:v>3900</c:v>
                </c:pt>
                <c:pt idx="102" formatCode="General">
                  <c:v>1677</c:v>
                </c:pt>
                <c:pt idx="103" formatCode="General">
                  <c:v>297</c:v>
                </c:pt>
                <c:pt idx="104" formatCode="General">
                  <c:v>0</c:v>
                </c:pt>
                <c:pt idx="105" formatCode="General">
                  <c:v>28590</c:v>
                </c:pt>
                <c:pt idx="106" formatCode="General">
                  <c:v>26827</c:v>
                </c:pt>
                <c:pt idx="107" formatCode="General">
                  <c:v>15746</c:v>
                </c:pt>
                <c:pt idx="108" formatCode="General">
                  <c:v>10871</c:v>
                </c:pt>
                <c:pt idx="109" formatCode="General">
                  <c:v>10018</c:v>
                </c:pt>
                <c:pt idx="110" formatCode="General">
                  <c:v>4962</c:v>
                </c:pt>
                <c:pt idx="111" formatCode="General">
                  <c:v>4865</c:v>
                </c:pt>
                <c:pt idx="112" formatCode="General">
                  <c:v>3900</c:v>
                </c:pt>
                <c:pt idx="113" formatCode="General">
                  <c:v>1677</c:v>
                </c:pt>
                <c:pt idx="114" formatCode="General">
                  <c:v>297</c:v>
                </c:pt>
                <c:pt idx="115" formatCode="General">
                  <c:v>0</c:v>
                </c:pt>
              </c:numCache>
            </c:numRef>
          </c:bubbleSize>
          <c:bubble3D val="0"/>
          <c:extLst>
            <c:ext xmlns:c15="http://schemas.microsoft.com/office/drawing/2012/chart" uri="{02D57815-91ED-43cb-92C2-25804820EDAC}">
              <c15:datalabelsRange>
                <c15:f>Sheet1!$E$2:$E$150</c15:f>
                <c15:dlblRangeCache>
                  <c:ptCount val="149"/>
                  <c:pt idx="0">
                    <c:v>Findus</c:v>
                  </c:pt>
                  <c:pt idx="1">
                    <c:v>Pescanova S.A.</c:v>
                  </c:pt>
                  <c:pt idx="2">
                    <c:v>Private Label</c:v>
                  </c:pt>
                  <c:pt idx="3">
                    <c:v>Frosta</c:v>
                  </c:pt>
                  <c:pt idx="4">
                    <c:v>Panapesca</c:v>
                  </c:pt>
                  <c:pt idx="5">
                    <c:v>Other</c:v>
                  </c:pt>
                  <c:pt idx="6">
                    <c:v>Esca Srl</c:v>
                  </c:pt>
                  <c:pt idx="7">
                    <c:v>Arbi Dario Spa</c:v>
                  </c:pt>
                  <c:pt idx="8">
                    <c:v>Krusta Group</c:v>
                  </c:pt>
                  <c:pt idx="9">
                    <c:v>Fandicosta</c:v>
                  </c:pt>
                  <c:pt idx="10">
                    <c:v>Green Ice</c:v>
                  </c:pt>
                  <c:pt idx="11">
                    <c:v>Alpe Srl - Roma</c:v>
                  </c:pt>
                  <c:pt idx="12">
                    <c:v>Conserviera Adriatica Spa</c:v>
                  </c:pt>
                  <c:pt idx="13">
                    <c:v>New Food</c:v>
                  </c:pt>
                  <c:pt idx="14">
                    <c:v>Agras 1947</c:v>
                  </c:pt>
                  <c:pt idx="15">
                    <c:v>Garbo Snc Di Comanducci Andrea</c:v>
                  </c:pt>
                  <c:pt idx="16">
                    <c:v>Vis Industrie Alimentari</c:v>
                  </c:pt>
                  <c:pt idx="17">
                    <c:v>Buitoni</c:v>
                  </c:pt>
                  <c:pt idx="18">
                    <c:v>Mittico</c:v>
                  </c:pt>
                  <c:pt idx="19">
                    <c:v>Findus</c:v>
                  </c:pt>
                  <c:pt idx="20">
                    <c:v>Frosta</c:v>
                  </c:pt>
                  <c:pt idx="21">
                    <c:v>Private Label</c:v>
                  </c:pt>
                  <c:pt idx="22">
                    <c:v>Krusta Group</c:v>
                  </c:pt>
                  <c:pt idx="23">
                    <c:v>Pescanova S.A.</c:v>
                  </c:pt>
                  <c:pt idx="24">
                    <c:v>Esca Srl</c:v>
                  </c:pt>
                  <c:pt idx="25">
                    <c:v>Arbi Dario Spa</c:v>
                  </c:pt>
                  <c:pt idx="26">
                    <c:v>Emme Gel</c:v>
                  </c:pt>
                  <c:pt idx="27">
                    <c:v>Green Ice</c:v>
                  </c:pt>
                  <c:pt idx="28">
                    <c:v>Other</c:v>
                  </c:pt>
                  <c:pt idx="29">
                    <c:v>Soavegel</c:v>
                  </c:pt>
                  <c:pt idx="30">
                    <c:v>Buitoni</c:v>
                  </c:pt>
                  <c:pt idx="31">
                    <c:v>Findus</c:v>
                  </c:pt>
                  <c:pt idx="32">
                    <c:v>Other</c:v>
                  </c:pt>
                  <c:pt idx="33">
                    <c:v>Findus</c:v>
                  </c:pt>
                  <c:pt idx="34">
                    <c:v>Private Label</c:v>
                  </c:pt>
                  <c:pt idx="35">
                    <c:v>Esca Srl</c:v>
                  </c:pt>
                  <c:pt idx="36">
                    <c:v>Agras 1947</c:v>
                  </c:pt>
                  <c:pt idx="37">
                    <c:v>Frosta</c:v>
                  </c:pt>
                  <c:pt idx="38">
                    <c:v>Other</c:v>
                  </c:pt>
                  <c:pt idx="39">
                    <c:v>New Food</c:v>
                  </c:pt>
                  <c:pt idx="40">
                    <c:v>Noriberica</c:v>
                  </c:pt>
                  <c:pt idx="41">
                    <c:v>Krusta Group</c:v>
                  </c:pt>
                  <c:pt idx="42">
                    <c:v>Nai Prodotti Ittici</c:v>
                  </c:pt>
                  <c:pt idx="43">
                    <c:v>Green Ice</c:v>
                  </c:pt>
                  <c:pt idx="44">
                    <c:v>Pescanova S.A.</c:v>
                  </c:pt>
                  <c:pt idx="45">
                    <c:v>Alpe Srl - Roma</c:v>
                  </c:pt>
                  <c:pt idx="46">
                    <c:v>Appetais Italia Spa</c:v>
                  </c:pt>
                  <c:pt idx="47">
                    <c:v>Royal Greenland</c:v>
                  </c:pt>
                  <c:pt idx="48">
                    <c:v>Panapesca</c:v>
                  </c:pt>
                  <c:pt idx="49">
                    <c:v>Conserviera Adriatica Spa</c:v>
                  </c:pt>
                  <c:pt idx="50">
                    <c:v>Gerfrio</c:v>
                  </c:pt>
                  <c:pt idx="51">
                    <c:v>Garbo Snc Di Comanducci Andrea</c:v>
                  </c:pt>
                  <c:pt idx="52">
                    <c:v>Vis Industrie Alimentari</c:v>
                  </c:pt>
                  <c:pt idx="53">
                    <c:v>Soavegel</c:v>
                  </c:pt>
                  <c:pt idx="54">
                    <c:v>Nettuno Alimentari Srl</c:v>
                  </c:pt>
                  <c:pt idx="55">
                    <c:v>Buitoni</c:v>
                  </c:pt>
                  <c:pt idx="56">
                    <c:v>Pescanova S.A.</c:v>
                  </c:pt>
                  <c:pt idx="57">
                    <c:v>Alpe Srl - Roma</c:v>
                  </c:pt>
                  <c:pt idx="58">
                    <c:v>Appetais Italia Spa</c:v>
                  </c:pt>
                  <c:pt idx="59">
                    <c:v>Royal Greenland</c:v>
                  </c:pt>
                  <c:pt idx="60">
                    <c:v>Panapesca</c:v>
                  </c:pt>
                  <c:pt idx="61">
                    <c:v>Conserviera Adriatica Spa</c:v>
                  </c:pt>
                  <c:pt idx="62">
                    <c:v>Gerfrio</c:v>
                  </c:pt>
                  <c:pt idx="63">
                    <c:v>Garbo Snc Di Comanducci Andrea</c:v>
                  </c:pt>
                  <c:pt idx="64">
                    <c:v>Vis Industrie Alimentari</c:v>
                  </c:pt>
                  <c:pt idx="65">
                    <c:v>Soavegel</c:v>
                  </c:pt>
                  <c:pt idx="66">
                    <c:v>Nettuno Alimentari Srl</c:v>
                  </c:pt>
                  <c:pt idx="67">
                    <c:v>Buitoni</c:v>
                  </c:pt>
                  <c:pt idx="68">
                    <c:v>Pescanova S.A.</c:v>
                  </c:pt>
                  <c:pt idx="69">
                    <c:v>Alpe Srl - Roma</c:v>
                  </c:pt>
                  <c:pt idx="70">
                    <c:v>Appetais Italia Spa</c:v>
                  </c:pt>
                  <c:pt idx="71">
                    <c:v>Royal Greenland</c:v>
                  </c:pt>
                  <c:pt idx="72">
                    <c:v>Panapesca</c:v>
                  </c:pt>
                  <c:pt idx="73">
                    <c:v>Conserviera Adriatica Spa</c:v>
                  </c:pt>
                  <c:pt idx="74">
                    <c:v>Gerfrio</c:v>
                  </c:pt>
                  <c:pt idx="75">
                    <c:v>Garbo Snc Di Comanducci Andrea</c:v>
                  </c:pt>
                  <c:pt idx="76">
                    <c:v>Vis Industrie Alimentari</c:v>
                  </c:pt>
                  <c:pt idx="77">
                    <c:v>Soavegel</c:v>
                  </c:pt>
                  <c:pt idx="78">
                    <c:v>Nettuno Alimentari Srl</c:v>
                  </c:pt>
                  <c:pt idx="79">
                    <c:v>Buitoni</c:v>
                  </c:pt>
                  <c:pt idx="80">
                    <c:v>Buitoni</c:v>
                  </c:pt>
                  <c:pt idx="81">
                    <c:v>Pescanova S.A.</c:v>
                  </c:pt>
                  <c:pt idx="82">
                    <c:v>Alpe Srl - Roma</c:v>
                  </c:pt>
                  <c:pt idx="83">
                    <c:v>Appetais Italia Spa</c:v>
                  </c:pt>
                  <c:pt idx="84">
                    <c:v>Royal Greenland</c:v>
                  </c:pt>
                  <c:pt idx="85">
                    <c:v>Panapesca</c:v>
                  </c:pt>
                  <c:pt idx="86">
                    <c:v>Conserviera Adriatica Spa</c:v>
                  </c:pt>
                  <c:pt idx="87">
                    <c:v>Gerfrio</c:v>
                  </c:pt>
                  <c:pt idx="88">
                    <c:v>Garbo Snc Di Comanducci Andrea</c:v>
                  </c:pt>
                  <c:pt idx="89">
                    <c:v>Vis Industrie Alimentari</c:v>
                  </c:pt>
                  <c:pt idx="90">
                    <c:v>Soavegel</c:v>
                  </c:pt>
                  <c:pt idx="91">
                    <c:v>Nettuno Alimentari Srl</c:v>
                  </c:pt>
                  <c:pt idx="92">
                    <c:v>Buitoni</c:v>
                  </c:pt>
                  <c:pt idx="93">
                    <c:v>Pescanova S.A.</c:v>
                  </c:pt>
                  <c:pt idx="94">
                    <c:v>Alpe Srl - Roma</c:v>
                  </c:pt>
                  <c:pt idx="95">
                    <c:v>Appetais Italia Spa</c:v>
                  </c:pt>
                  <c:pt idx="96">
                    <c:v>Royal Greenland</c:v>
                  </c:pt>
                  <c:pt idx="97">
                    <c:v>Panapesca</c:v>
                  </c:pt>
                  <c:pt idx="98">
                    <c:v>Conserviera Adriatica Spa</c:v>
                  </c:pt>
                  <c:pt idx="99">
                    <c:v>Gerfrio</c:v>
                  </c:pt>
                  <c:pt idx="100">
                    <c:v>Garbo Snc Di Comanducci Andrea</c:v>
                  </c:pt>
                  <c:pt idx="101">
                    <c:v>Vis Industrie Alimentari</c:v>
                  </c:pt>
                  <c:pt idx="102">
                    <c:v>Soavegel</c:v>
                  </c:pt>
                  <c:pt idx="103">
                    <c:v>Nettuno Alimentari Srl</c:v>
                  </c:pt>
                  <c:pt idx="104">
                    <c:v>Buitoni</c:v>
                  </c:pt>
                  <c:pt idx="105">
                    <c:v>Alpe Srl - Roma</c:v>
                  </c:pt>
                  <c:pt idx="106">
                    <c:v>Appetais Italia Spa</c:v>
                  </c:pt>
                  <c:pt idx="107">
                    <c:v>Royal Greenland</c:v>
                  </c:pt>
                  <c:pt idx="108">
                    <c:v>Panapesca</c:v>
                  </c:pt>
                  <c:pt idx="109">
                    <c:v>Conserviera Adriatica Spa</c:v>
                  </c:pt>
                  <c:pt idx="110">
                    <c:v>Gerfrio</c:v>
                  </c:pt>
                  <c:pt idx="111">
                    <c:v>Garbo Snc Di Comanducci Andrea</c:v>
                  </c:pt>
                  <c:pt idx="112">
                    <c:v>Vis Industrie Alimentari</c:v>
                  </c:pt>
                  <c:pt idx="113">
                    <c:v>Soavegel</c:v>
                  </c:pt>
                  <c:pt idx="114">
                    <c:v>Nettuno Alimentari Srl</c:v>
                  </c:pt>
                  <c:pt idx="115">
                    <c:v>Buitoni</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5"/>
          <c:min val="0.5"/>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chemeClr val="bg2"/>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chemeClr val="bg2"/>
              </a:solidFill>
              <a:ln>
                <a:noFill/>
              </a:ln>
              <a:effectLst/>
            </c:spPr>
            <c:extLst>
              <c:ext xmlns:c16="http://schemas.microsoft.com/office/drawing/2014/chart" uri="{C3380CC4-5D6E-409C-BE32-E72D297353CC}">
                <c16:uniqueId val="{00000005-26FB-4B52-8D72-D56D618E8EAF}"/>
              </c:ext>
            </c:extLst>
          </c:dPt>
          <c:dPt>
            <c:idx val="3"/>
            <c:invertIfNegative val="0"/>
            <c:bubble3D val="0"/>
            <c:extLst>
              <c:ext xmlns:c16="http://schemas.microsoft.com/office/drawing/2014/chart" uri="{C3380CC4-5D6E-409C-BE32-E72D297353CC}">
                <c16:uniqueId val="{00000007-26FB-4B52-8D72-D56D618E8EAF}"/>
              </c:ext>
            </c:extLst>
          </c:dPt>
          <c:dPt>
            <c:idx val="4"/>
            <c:invertIfNegative val="0"/>
            <c:bubble3D val="0"/>
            <c:extLst>
              <c:ext xmlns:c16="http://schemas.microsoft.com/office/drawing/2014/chart" uri="{C3380CC4-5D6E-409C-BE32-E72D297353CC}">
                <c16:uniqueId val="{00000009-26FB-4B52-8D72-D56D618E8EAF}"/>
              </c:ext>
            </c:extLst>
          </c:dPt>
          <c:dPt>
            <c:idx val="5"/>
            <c:invertIfNegative val="0"/>
            <c:bubble3D val="0"/>
            <c:extLst>
              <c:ext xmlns:c16="http://schemas.microsoft.com/office/drawing/2014/chart" uri="{C3380CC4-5D6E-409C-BE32-E72D297353CC}">
                <c16:uniqueId val="{0000000B-26FB-4B52-8D72-D56D618E8EAF}"/>
              </c:ext>
            </c:extLst>
          </c:dPt>
          <c:dPt>
            <c:idx val="6"/>
            <c:invertIfNegative val="0"/>
            <c:bubble3D val="0"/>
            <c:spPr>
              <a:solidFill>
                <a:schemeClr val="bg2"/>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67EC0591-2C75-49B6-AD39-815F27631D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F5F5A649-C74F-471D-98EE-6659CACCFE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1D0FFCDB-06EC-458E-85D0-5DF6FC09AD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634F9168-5E45-4F41-8DFC-9F2DAAE5AD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60F2E5CC-9AA2-49E9-8482-69472B9489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ABE31670-CB16-448F-ACC4-8834CC3A86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3CA70B71-B643-40DB-A281-10B986E05B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59D62914-1E01-41B7-864E-F70743690E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592FA9B3-1D65-4AFC-92EC-A51E061AA4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192EC35D-F246-4EBB-9CE9-DBEEBB6EF2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9BA3B52C-E91B-4833-A24B-7707C42304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C5C8A561-3F3A-4D8C-8CA9-DF7944EBBB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26FB-4B52-8D72-D56D618E8EAF}"/>
                </c:ext>
              </c:extLst>
            </c:dLbl>
            <c:dLbl>
              <c:idx val="12"/>
              <c:tx>
                <c:rich>
                  <a:bodyPr/>
                  <a:lstStyle/>
                  <a:p>
                    <a:fld id="{3E9A8FDC-4DE6-499E-896C-60D7310959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B2D-4A32-96D2-9C641BCDE5CC}"/>
                </c:ext>
              </c:extLst>
            </c:dLbl>
            <c:dLbl>
              <c:idx val="13"/>
              <c:tx>
                <c:rich>
                  <a:bodyPr/>
                  <a:lstStyle/>
                  <a:p>
                    <a:fld id="{3D0244AD-7F4C-46E6-B132-8393640AD1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26FB-4B52-8D72-D56D618E8EAF}"/>
                </c:ext>
              </c:extLst>
            </c:dLbl>
            <c:dLbl>
              <c:idx val="14"/>
              <c:tx>
                <c:rich>
                  <a:bodyPr/>
                  <a:lstStyle/>
                  <a:p>
                    <a:fld id="{B03EFDBE-169D-4E5B-A700-E7F421FB8F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26FB-4B52-8D72-D56D618E8EAF}"/>
                </c:ext>
              </c:extLst>
            </c:dLbl>
            <c:dLbl>
              <c:idx val="15"/>
              <c:tx>
                <c:rich>
                  <a:bodyPr/>
                  <a:lstStyle/>
                  <a:p>
                    <a:fld id="{4CFE55B2-0E38-4BBA-AD36-79123ABB31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26FB-4B52-8D72-D56D618E8EAF}"/>
                </c:ext>
              </c:extLst>
            </c:dLbl>
            <c:dLbl>
              <c:idx val="16"/>
              <c:tx>
                <c:rich>
                  <a:bodyPr/>
                  <a:lstStyle/>
                  <a:p>
                    <a:fld id="{2D4DC619-AC82-418D-B4DD-50B2B6B110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A6E-4C83-9A06-9C3309B2855E}"/>
                </c:ext>
              </c:extLst>
            </c:dLbl>
            <c:dLbl>
              <c:idx val="17"/>
              <c:tx>
                <c:rich>
                  <a:bodyPr/>
                  <a:lstStyle/>
                  <a:p>
                    <a:fld id="{D96AEAF6-4234-4CE7-97D1-0DA49C5382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0A6E-4C83-9A06-9C3309B2855E}"/>
                </c:ext>
              </c:extLst>
            </c:dLbl>
            <c:dLbl>
              <c:idx val="18"/>
              <c:tx>
                <c:rich>
                  <a:bodyPr/>
                  <a:lstStyle/>
                  <a:p>
                    <a:fld id="{7243616D-F29C-48EB-8B3E-04DE543503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A6E-4C83-9A06-9C3309B2855E}"/>
                </c:ext>
              </c:extLst>
            </c:dLbl>
            <c:dLbl>
              <c:idx val="19"/>
              <c:tx>
                <c:rich>
                  <a:bodyPr/>
                  <a:lstStyle/>
                  <a:p>
                    <a:fld id="{CCADA7D6-F602-47B8-B529-10FA3DCAF8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A6E-4C83-9A06-9C3309B2855E}"/>
                </c:ext>
              </c:extLst>
            </c:dLbl>
            <c:dLbl>
              <c:idx val="20"/>
              <c:tx>
                <c:rich>
                  <a:bodyPr/>
                  <a:lstStyle/>
                  <a:p>
                    <a:fld id="{728A0CDC-3721-4733-A45E-5F2CB5D60B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C5AD-4BCF-9CB2-60EDA2D7DB42}"/>
                </c:ext>
              </c:extLst>
            </c:dLbl>
            <c:dLbl>
              <c:idx val="21"/>
              <c:tx>
                <c:rich>
                  <a:bodyPr/>
                  <a:lstStyle/>
                  <a:p>
                    <a:fld id="{E8F81E68-79A4-41C7-AD48-D5F840F7A5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5AD-4BCF-9CB2-60EDA2D7DB42}"/>
                </c:ext>
              </c:extLst>
            </c:dLbl>
            <c:dLbl>
              <c:idx val="22"/>
              <c:tx>
                <c:rich>
                  <a:bodyPr/>
                  <a:lstStyle/>
                  <a:p>
                    <a:fld id="{EEAA13BF-78FD-477F-9288-C7D817738B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5AD-4BCF-9CB2-60EDA2D7DB42}"/>
                </c:ext>
              </c:extLst>
            </c:dLbl>
            <c:dLbl>
              <c:idx val="23"/>
              <c:tx>
                <c:rich>
                  <a:bodyPr/>
                  <a:lstStyle/>
                  <a:p>
                    <a:fld id="{3D0AEA53-16B1-4F23-8E40-11251B460A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5AD-4BCF-9CB2-60EDA2D7DB42}"/>
                </c:ext>
              </c:extLst>
            </c:dLbl>
            <c:dLbl>
              <c:idx val="24"/>
              <c:tx>
                <c:rich>
                  <a:bodyPr/>
                  <a:lstStyle/>
                  <a:p>
                    <a:fld id="{B7F122AF-EB10-4543-AE6E-9D38239F09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A6E-4C83-9A06-9C3309B2855E}"/>
                </c:ext>
              </c:extLst>
            </c:dLbl>
            <c:dLbl>
              <c:idx val="25"/>
              <c:tx>
                <c:rich>
                  <a:bodyPr/>
                  <a:lstStyle/>
                  <a:p>
                    <a:fld id="{3DDEFAD9-E27C-4ECB-9B07-177178CDA9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D12-44DE-B956-CABCB15EBC04}"/>
                </c:ext>
              </c:extLst>
            </c:dLbl>
            <c:dLbl>
              <c:idx val="26"/>
              <c:tx>
                <c:rich>
                  <a:bodyPr/>
                  <a:lstStyle/>
                  <a:p>
                    <a:fld id="{C8639B4A-43C7-4981-B194-253AE378E2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D12-44DE-B956-CABCB15EBC04}"/>
                </c:ext>
              </c:extLst>
            </c:dLbl>
            <c:dLbl>
              <c:idx val="27"/>
              <c:tx>
                <c:rich>
                  <a:bodyPr/>
                  <a:lstStyle/>
                  <a:p>
                    <a:fld id="{72DFE98A-BFA2-41B5-8467-C76C708354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D12-44DE-B956-CABCB15EBC04}"/>
                </c:ext>
              </c:extLst>
            </c:dLbl>
            <c:dLbl>
              <c:idx val="28"/>
              <c:tx>
                <c:rich>
                  <a:bodyPr/>
                  <a:lstStyle/>
                  <a:p>
                    <a:fld id="{2C7D636C-EA08-4711-A55B-2D409F5AA5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D12-44DE-B956-CABCB15EBC04}"/>
                </c:ext>
              </c:extLst>
            </c:dLbl>
            <c:dLbl>
              <c:idx val="29"/>
              <c:tx>
                <c:rich>
                  <a:bodyPr/>
                  <a:lstStyle/>
                  <a:p>
                    <a:fld id="{51F66994-D8F5-430A-8CA6-0ED749EDA8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47-486F-B734-6012CEA493B3}"/>
                </c:ext>
              </c:extLst>
            </c:dLbl>
            <c:dLbl>
              <c:idx val="30"/>
              <c:tx>
                <c:rich>
                  <a:bodyPr/>
                  <a:lstStyle/>
                  <a:p>
                    <a:fld id="{761BD2E2-34ED-46EA-A1D6-025D2ADAB3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D12-44DE-B956-CABCB15EBC04}"/>
                </c:ext>
              </c:extLst>
            </c:dLbl>
            <c:dLbl>
              <c:idx val="31"/>
              <c:tx>
                <c:rich>
                  <a:bodyPr/>
                  <a:lstStyle/>
                  <a:p>
                    <a:fld id="{43C25C4B-FCF0-4DDF-9B34-DEFC842971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D12-44DE-B956-CABCB15EBC04}"/>
                </c:ext>
              </c:extLst>
            </c:dLbl>
            <c:dLbl>
              <c:idx val="32"/>
              <c:tx>
                <c:rich>
                  <a:bodyPr/>
                  <a:lstStyle/>
                  <a:p>
                    <a:fld id="{2B784A6E-02C0-4989-98AC-D9AE5A9A37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D12-44DE-B956-CABCB15EBC04}"/>
                </c:ext>
              </c:extLst>
            </c:dLbl>
            <c:dLbl>
              <c:idx val="33"/>
              <c:tx>
                <c:rich>
                  <a:bodyPr/>
                  <a:lstStyle/>
                  <a:p>
                    <a:fld id="{FD4F8D34-C16F-4000-B6CF-4EFF8C0E0E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D12-44DE-B956-CABCB15EBC04}"/>
                </c:ext>
              </c:extLst>
            </c:dLbl>
            <c:dLbl>
              <c:idx val="34"/>
              <c:tx>
                <c:rich>
                  <a:bodyPr/>
                  <a:lstStyle/>
                  <a:p>
                    <a:fld id="{8896AF84-39AA-4087-81D2-689C0FCFCA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D12-44DE-B956-CABCB15EBC04}"/>
                </c:ext>
              </c:extLst>
            </c:dLbl>
            <c:dLbl>
              <c:idx val="35"/>
              <c:tx>
                <c:rich>
                  <a:bodyPr/>
                  <a:lstStyle/>
                  <a:p>
                    <a:fld id="{927A879C-B9F8-4682-B64C-3FBC8297E5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D12-44DE-B956-CABCB15EBC04}"/>
                </c:ext>
              </c:extLst>
            </c:dLbl>
            <c:dLbl>
              <c:idx val="36"/>
              <c:tx>
                <c:rich>
                  <a:bodyPr/>
                  <a:lstStyle/>
                  <a:p>
                    <a:fld id="{04A3DDAE-BD26-4C7F-9C9E-9FF5404CB9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D12-44DE-B956-CABCB15EBC04}"/>
                </c:ext>
              </c:extLst>
            </c:dLbl>
            <c:dLbl>
              <c:idx val="37"/>
              <c:tx>
                <c:rich>
                  <a:bodyPr/>
                  <a:lstStyle/>
                  <a:p>
                    <a:fld id="{C442FEDD-78CF-4935-A545-4651233F50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D12-44DE-B956-CABCB15EBC04}"/>
                </c:ext>
              </c:extLst>
            </c:dLbl>
            <c:dLbl>
              <c:idx val="38"/>
              <c:tx>
                <c:rich>
                  <a:bodyPr/>
                  <a:lstStyle/>
                  <a:p>
                    <a:fld id="{5D089BC7-CAA5-4E22-85E5-611F19F08D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D12-44DE-B956-CABCB15EBC04}"/>
                </c:ext>
              </c:extLst>
            </c:dLbl>
            <c:dLbl>
              <c:idx val="39"/>
              <c:tx>
                <c:rich>
                  <a:bodyPr/>
                  <a:lstStyle/>
                  <a:p>
                    <a:fld id="{08CC1CD7-833B-4733-B7BA-72A510D2E9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D12-44DE-B956-CABCB15EBC04}"/>
                </c:ext>
              </c:extLst>
            </c:dLbl>
            <c:dLbl>
              <c:idx val="40"/>
              <c:tx>
                <c:rich>
                  <a:bodyPr/>
                  <a:lstStyle/>
                  <a:p>
                    <a:fld id="{28938E86-F027-4AAF-A946-D4C6C6B765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D12-44DE-B956-CABCB15EBC04}"/>
                </c:ext>
              </c:extLst>
            </c:dLbl>
            <c:dLbl>
              <c:idx val="41"/>
              <c:tx>
                <c:rich>
                  <a:bodyPr/>
                  <a:lstStyle/>
                  <a:p>
                    <a:fld id="{77DA1B35-9A7E-4059-A8B6-B41559FC5D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D12-44DE-B956-CABCB15EBC04}"/>
                </c:ext>
              </c:extLst>
            </c:dLbl>
            <c:dLbl>
              <c:idx val="42"/>
              <c:tx>
                <c:rich>
                  <a:bodyPr/>
                  <a:lstStyle/>
                  <a:p>
                    <a:fld id="{C4D81521-AC40-4107-AA7B-F4EEB7E669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D12-44DE-B956-CABCB15EBC04}"/>
                </c:ext>
              </c:extLst>
            </c:dLbl>
            <c:dLbl>
              <c:idx val="43"/>
              <c:tx>
                <c:rich>
                  <a:bodyPr/>
                  <a:lstStyle/>
                  <a:p>
                    <a:fld id="{E16E12EF-C77D-4E1C-A8AA-6F38313361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D12-44DE-B956-CABCB15EBC04}"/>
                </c:ext>
              </c:extLst>
            </c:dLbl>
            <c:dLbl>
              <c:idx val="44"/>
              <c:tx>
                <c:rich>
                  <a:bodyPr/>
                  <a:lstStyle/>
                  <a:p>
                    <a:fld id="{394BAA98-8FD3-4F96-853E-FECE2A69FB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D12-44DE-B956-CABCB15EBC04}"/>
                </c:ext>
              </c:extLst>
            </c:dLbl>
            <c:dLbl>
              <c:idx val="45"/>
              <c:tx>
                <c:rich>
                  <a:bodyPr/>
                  <a:lstStyle/>
                  <a:p>
                    <a:fld id="{8F1904EA-E2CC-4C2C-A8EF-136077C3EE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D12-44DE-B956-CABCB15EBC04}"/>
                </c:ext>
              </c:extLst>
            </c:dLbl>
            <c:dLbl>
              <c:idx val="46"/>
              <c:tx>
                <c:rich>
                  <a:bodyPr/>
                  <a:lstStyle/>
                  <a:p>
                    <a:fld id="{DD37E290-A812-4BA1-9963-A6230AD23A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D12-44DE-B956-CABCB15EBC04}"/>
                </c:ext>
              </c:extLst>
            </c:dLbl>
            <c:dLbl>
              <c:idx val="47"/>
              <c:tx>
                <c:rich>
                  <a:bodyPr/>
                  <a:lstStyle/>
                  <a:p>
                    <a:fld id="{A609DD59-4DC6-4618-BF9E-E895459BAD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D12-44DE-B956-CABCB15EBC04}"/>
                </c:ext>
              </c:extLst>
            </c:dLbl>
            <c:dLbl>
              <c:idx val="48"/>
              <c:tx>
                <c:rich>
                  <a:bodyPr/>
                  <a:lstStyle/>
                  <a:p>
                    <a:fld id="{5964265E-0922-404C-BEA3-6145C82FC2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D12-44DE-B956-CABCB15EBC04}"/>
                </c:ext>
              </c:extLst>
            </c:dLbl>
            <c:dLbl>
              <c:idx val="49"/>
              <c:tx>
                <c:rich>
                  <a:bodyPr/>
                  <a:lstStyle/>
                  <a:p>
                    <a:fld id="{CF2BB90E-0F53-4630-B907-8B290DA1A4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D12-44DE-B956-CABCB15EBC04}"/>
                </c:ext>
              </c:extLst>
            </c:dLbl>
            <c:dLbl>
              <c:idx val="50"/>
              <c:tx>
                <c:rich>
                  <a:bodyPr/>
                  <a:lstStyle/>
                  <a:p>
                    <a:fld id="{88F63ADA-C737-486C-924C-ABD526D869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D12-44DE-B956-CABCB15EBC04}"/>
                </c:ext>
              </c:extLst>
            </c:dLbl>
            <c:dLbl>
              <c:idx val="51"/>
              <c:tx>
                <c:rich>
                  <a:bodyPr/>
                  <a:lstStyle/>
                  <a:p>
                    <a:fld id="{CDB80CDE-901E-4FAB-BAFE-062BC9E66D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D12-44DE-B956-CABCB15EBC04}"/>
                </c:ext>
              </c:extLst>
            </c:dLbl>
            <c:dLbl>
              <c:idx val="52"/>
              <c:tx>
                <c:rich>
                  <a:bodyPr/>
                  <a:lstStyle/>
                  <a:p>
                    <a:fld id="{65DECE82-D057-4B38-912F-0C1E3747DF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D12-44DE-B956-CABCB15EBC04}"/>
                </c:ext>
              </c:extLst>
            </c:dLbl>
            <c:dLbl>
              <c:idx val="53"/>
              <c:tx>
                <c:rich>
                  <a:bodyPr/>
                  <a:lstStyle/>
                  <a:p>
                    <a:fld id="{1FA73FBC-ABC2-4C03-BC85-5B748F2710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D12-44DE-B956-CABCB15EBC04}"/>
                </c:ext>
              </c:extLst>
            </c:dLbl>
            <c:dLbl>
              <c:idx val="54"/>
              <c:tx>
                <c:rich>
                  <a:bodyPr/>
                  <a:lstStyle/>
                  <a:p>
                    <a:fld id="{919E3C5E-9189-4264-AC2D-EFA2C02D1D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D12-44DE-B956-CABCB15EBC04}"/>
                </c:ext>
              </c:extLst>
            </c:dLbl>
            <c:dLbl>
              <c:idx val="55"/>
              <c:tx>
                <c:rich>
                  <a:bodyPr/>
                  <a:lstStyle/>
                  <a:p>
                    <a:fld id="{7B187009-2581-4643-B10D-030F8A0569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D12-44DE-B956-CABCB15EBC04}"/>
                </c:ext>
              </c:extLst>
            </c:dLbl>
            <c:dLbl>
              <c:idx val="56"/>
              <c:tx>
                <c:rich>
                  <a:bodyPr/>
                  <a:lstStyle/>
                  <a:p>
                    <a:fld id="{DB324465-FD1F-4D9C-B769-B131EBA6F8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8E3F-4D1B-A313-C02BEC0FDBD1}"/>
                </c:ext>
              </c:extLst>
            </c:dLbl>
            <c:dLbl>
              <c:idx val="57"/>
              <c:tx>
                <c:rich>
                  <a:bodyPr/>
                  <a:lstStyle/>
                  <a:p>
                    <a:fld id="{0FFE520E-DBCE-427C-8F5E-DD1EE95CE5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8E3F-4D1B-A313-C02BEC0FDBD1}"/>
                </c:ext>
              </c:extLst>
            </c:dLbl>
            <c:dLbl>
              <c:idx val="58"/>
              <c:tx>
                <c:rich>
                  <a:bodyPr/>
                  <a:lstStyle/>
                  <a:p>
                    <a:fld id="{B1FE5880-7385-4FBE-8BA3-5F658FFD59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8E3F-4D1B-A313-C02BEC0FDBD1}"/>
                </c:ext>
              </c:extLst>
            </c:dLbl>
            <c:dLbl>
              <c:idx val="59"/>
              <c:tx>
                <c:rich>
                  <a:bodyPr/>
                  <a:lstStyle/>
                  <a:p>
                    <a:fld id="{6BB7F219-EE5F-4E70-B066-C261F29068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8E3F-4D1B-A313-C02BEC0FDBD1}"/>
                </c:ext>
              </c:extLst>
            </c:dLbl>
            <c:dLbl>
              <c:idx val="60"/>
              <c:tx>
                <c:rich>
                  <a:bodyPr/>
                  <a:lstStyle/>
                  <a:p>
                    <a:fld id="{DF442BA3-50B2-4102-A5AD-7E11260F53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8E3F-4D1B-A313-C02BEC0FDBD1}"/>
                </c:ext>
              </c:extLst>
            </c:dLbl>
            <c:dLbl>
              <c:idx val="61"/>
              <c:tx>
                <c:rich>
                  <a:bodyPr/>
                  <a:lstStyle/>
                  <a:p>
                    <a:fld id="{79E72EE8-A734-41B9-8D50-764DE4DE81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8E3F-4D1B-A313-C02BEC0FDBD1}"/>
                </c:ext>
              </c:extLst>
            </c:dLbl>
            <c:dLbl>
              <c:idx val="62"/>
              <c:tx>
                <c:rich>
                  <a:bodyPr/>
                  <a:lstStyle/>
                  <a:p>
                    <a:fld id="{6C1055E6-6DA4-4EDC-91DA-84304579A1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8E3F-4D1B-A313-C02BEC0FDBD1}"/>
                </c:ext>
              </c:extLst>
            </c:dLbl>
            <c:dLbl>
              <c:idx val="63"/>
              <c:tx>
                <c:rich>
                  <a:bodyPr/>
                  <a:lstStyle/>
                  <a:p>
                    <a:fld id="{22C377F7-DA14-4FDF-85E0-AF02915E11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8E3F-4D1B-A313-C02BEC0FDBD1}"/>
                </c:ext>
              </c:extLst>
            </c:dLbl>
            <c:dLbl>
              <c:idx val="64"/>
              <c:tx>
                <c:rich>
                  <a:bodyPr/>
                  <a:lstStyle/>
                  <a:p>
                    <a:fld id="{7286A874-42D3-4356-92D8-8A6B453B13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8E3F-4D1B-A313-C02BEC0FDBD1}"/>
                </c:ext>
              </c:extLst>
            </c:dLbl>
            <c:dLbl>
              <c:idx val="65"/>
              <c:tx>
                <c:rich>
                  <a:bodyPr/>
                  <a:lstStyle/>
                  <a:p>
                    <a:fld id="{515E9957-AE55-4657-844F-9E5FF81514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8E3F-4D1B-A313-C02BEC0FDBD1}"/>
                </c:ext>
              </c:extLst>
            </c:dLbl>
            <c:dLbl>
              <c:idx val="66"/>
              <c:tx>
                <c:rich>
                  <a:bodyPr/>
                  <a:lstStyle/>
                  <a:p>
                    <a:fld id="{566D946F-59F5-4051-8FD2-8CC3BC82D0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8E3F-4D1B-A313-C02BEC0FDBD1}"/>
                </c:ext>
              </c:extLst>
            </c:dLbl>
            <c:dLbl>
              <c:idx val="67"/>
              <c:tx>
                <c:rich>
                  <a:bodyPr/>
                  <a:lstStyle/>
                  <a:p>
                    <a:fld id="{12586139-4778-436F-9C7E-5EA7B4CE6F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8E3F-4D1B-A313-C02BEC0FDBD1}"/>
                </c:ext>
              </c:extLst>
            </c:dLbl>
            <c:dLbl>
              <c:idx val="68"/>
              <c:tx>
                <c:rich>
                  <a:bodyPr/>
                  <a:lstStyle/>
                  <a:p>
                    <a:fld id="{992ED50F-F80F-4BE9-9934-2E2300EB78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8E3F-4D1B-A313-C02BEC0FDBD1}"/>
                </c:ext>
              </c:extLst>
            </c:dLbl>
            <c:dLbl>
              <c:idx val="69"/>
              <c:tx>
                <c:rich>
                  <a:bodyPr/>
                  <a:lstStyle/>
                  <a:p>
                    <a:fld id="{C51AA67F-0D55-484C-99D5-EFEC094AC7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8E3F-4D1B-A313-C02BEC0FDBD1}"/>
                </c:ext>
              </c:extLst>
            </c:dLbl>
            <c:dLbl>
              <c:idx val="70"/>
              <c:tx>
                <c:rich>
                  <a:bodyPr/>
                  <a:lstStyle/>
                  <a:p>
                    <a:fld id="{C0169FC4-6085-43D8-A05C-6F950DF366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8E3F-4D1B-A313-C02BEC0FDBD1}"/>
                </c:ext>
              </c:extLst>
            </c:dLbl>
            <c:dLbl>
              <c:idx val="71"/>
              <c:tx>
                <c:rich>
                  <a:bodyPr/>
                  <a:lstStyle/>
                  <a:p>
                    <a:fld id="{22417674-B050-4902-A61D-EA20B72C01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8E3F-4D1B-A313-C02BEC0FDBD1}"/>
                </c:ext>
              </c:extLst>
            </c:dLbl>
            <c:dLbl>
              <c:idx val="72"/>
              <c:tx>
                <c:rich>
                  <a:bodyPr/>
                  <a:lstStyle/>
                  <a:p>
                    <a:fld id="{0C728124-2CF7-4FB6-B291-27F27D5365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8E3F-4D1B-A313-C02BEC0FDBD1}"/>
                </c:ext>
              </c:extLst>
            </c:dLbl>
            <c:dLbl>
              <c:idx val="73"/>
              <c:tx>
                <c:rich>
                  <a:bodyPr/>
                  <a:lstStyle/>
                  <a:p>
                    <a:fld id="{34B25E3F-0D2E-4858-A488-F80B89F58B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8E3F-4D1B-A313-C02BEC0FDBD1}"/>
                </c:ext>
              </c:extLst>
            </c:dLbl>
            <c:dLbl>
              <c:idx val="74"/>
              <c:tx>
                <c:rich>
                  <a:bodyPr/>
                  <a:lstStyle/>
                  <a:p>
                    <a:fld id="{491D5C9E-3BF3-47E0-A040-E68A1A988F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8E3F-4D1B-A313-C02BEC0FDBD1}"/>
                </c:ext>
              </c:extLst>
            </c:dLbl>
            <c:dLbl>
              <c:idx val="75"/>
              <c:tx>
                <c:rich>
                  <a:bodyPr/>
                  <a:lstStyle/>
                  <a:p>
                    <a:fld id="{1B5A26D5-1C60-48EF-A8BF-275F73E6F7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8E3F-4D1B-A313-C02BEC0FDBD1}"/>
                </c:ext>
              </c:extLst>
            </c:dLbl>
            <c:dLbl>
              <c:idx val="76"/>
              <c:tx>
                <c:rich>
                  <a:bodyPr/>
                  <a:lstStyle/>
                  <a:p>
                    <a:fld id="{3972C28D-1270-49EB-9E5D-0BBF474873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8E3F-4D1B-A313-C02BEC0FDBD1}"/>
                </c:ext>
              </c:extLst>
            </c:dLbl>
            <c:dLbl>
              <c:idx val="77"/>
              <c:tx>
                <c:rich>
                  <a:bodyPr/>
                  <a:lstStyle/>
                  <a:p>
                    <a:fld id="{BBC5512D-E620-481F-8DD9-02159B6B4D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8E3F-4D1B-A313-C02BEC0FDBD1}"/>
                </c:ext>
              </c:extLst>
            </c:dLbl>
            <c:dLbl>
              <c:idx val="78"/>
              <c:tx>
                <c:rich>
                  <a:bodyPr/>
                  <a:lstStyle/>
                  <a:p>
                    <a:fld id="{65610954-E14C-4C49-BDF5-FFA80428F5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8E3F-4D1B-A313-C02BEC0FDBD1}"/>
                </c:ext>
              </c:extLst>
            </c:dLbl>
            <c:dLbl>
              <c:idx val="79"/>
              <c:tx>
                <c:rich>
                  <a:bodyPr/>
                  <a:lstStyle/>
                  <a:p>
                    <a:fld id="{082C2899-470A-404F-A503-3D9C29A590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8E3F-4D1B-A313-C02BEC0FDBD1}"/>
                </c:ext>
              </c:extLst>
            </c:dLbl>
            <c:dLbl>
              <c:idx val="80"/>
              <c:tx>
                <c:rich>
                  <a:bodyPr/>
                  <a:lstStyle/>
                  <a:p>
                    <a:fld id="{5DBFB62B-3069-438E-B748-2A1558FB56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8E3F-4D1B-A313-C02BEC0FDBD1}"/>
                </c:ext>
              </c:extLst>
            </c:dLbl>
            <c:dLbl>
              <c:idx val="81"/>
              <c:tx>
                <c:rich>
                  <a:bodyPr/>
                  <a:lstStyle/>
                  <a:p>
                    <a:fld id="{CB5EA4DA-9180-440A-8120-A386C79926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9-8E3F-4D1B-A313-C02BEC0FDBD1}"/>
                </c:ext>
              </c:extLst>
            </c:dLbl>
            <c:dLbl>
              <c:idx val="82"/>
              <c:tx>
                <c:rich>
                  <a:bodyPr/>
                  <a:lstStyle/>
                  <a:p>
                    <a:fld id="{9895093F-015C-44B7-9CC7-F5E9C0C38A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A-8E3F-4D1B-A313-C02BEC0FDBD1}"/>
                </c:ext>
              </c:extLst>
            </c:dLbl>
            <c:dLbl>
              <c:idx val="83"/>
              <c:tx>
                <c:rich>
                  <a:bodyPr/>
                  <a:lstStyle/>
                  <a:p>
                    <a:fld id="{68C457D8-D078-43A8-957E-748DF2D970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B-8E3F-4D1B-A313-C02BEC0FDBD1}"/>
                </c:ext>
              </c:extLst>
            </c:dLbl>
            <c:dLbl>
              <c:idx val="84"/>
              <c:tx>
                <c:rich>
                  <a:bodyPr/>
                  <a:lstStyle/>
                  <a:p>
                    <a:fld id="{A56B1914-C364-4F89-B6AA-59D59CB2C1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C-8E3F-4D1B-A313-C02BEC0FDBD1}"/>
                </c:ext>
              </c:extLst>
            </c:dLbl>
            <c:dLbl>
              <c:idx val="85"/>
              <c:tx>
                <c:rich>
                  <a:bodyPr/>
                  <a:lstStyle/>
                  <a:p>
                    <a:fld id="{E7644DAD-DD7B-48C2-BC60-39AC89FA24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D-8E3F-4D1B-A313-C02BEC0FDBD1}"/>
                </c:ext>
              </c:extLst>
            </c:dLbl>
            <c:dLbl>
              <c:idx val="86"/>
              <c:tx>
                <c:rich>
                  <a:bodyPr/>
                  <a:lstStyle/>
                  <a:p>
                    <a:fld id="{363CEB31-7A08-41EE-B53B-C2D2B82D5A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E-8E3F-4D1B-A313-C02BEC0FDBD1}"/>
                </c:ext>
              </c:extLst>
            </c:dLbl>
            <c:dLbl>
              <c:idx val="87"/>
              <c:tx>
                <c:rich>
                  <a:bodyPr/>
                  <a:lstStyle/>
                  <a:p>
                    <a:fld id="{2B98DDBC-0133-4B0A-BA1A-08EF521E38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F-8E3F-4D1B-A313-C02BEC0FDBD1}"/>
                </c:ext>
              </c:extLst>
            </c:dLbl>
            <c:dLbl>
              <c:idx val="88"/>
              <c:tx>
                <c:rich>
                  <a:bodyPr/>
                  <a:lstStyle/>
                  <a:p>
                    <a:fld id="{209942B8-91EC-4B31-8569-5441375AB3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0-8E3F-4D1B-A313-C02BEC0FDBD1}"/>
                </c:ext>
              </c:extLst>
            </c:dLbl>
            <c:dLbl>
              <c:idx val="89"/>
              <c:tx>
                <c:rich>
                  <a:bodyPr/>
                  <a:lstStyle/>
                  <a:p>
                    <a:fld id="{EA9D4F8F-A852-4336-BB0B-797AF15853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1-8E3F-4D1B-A313-C02BEC0FDBD1}"/>
                </c:ext>
              </c:extLst>
            </c:dLbl>
            <c:dLbl>
              <c:idx val="90"/>
              <c:tx>
                <c:rich>
                  <a:bodyPr/>
                  <a:lstStyle/>
                  <a:p>
                    <a:fld id="{90D0D3F3-8F44-42F8-981F-30CA31CD37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2-8E3F-4D1B-A313-C02BEC0FDBD1}"/>
                </c:ext>
              </c:extLst>
            </c:dLbl>
            <c:dLbl>
              <c:idx val="91"/>
              <c:tx>
                <c:rich>
                  <a:bodyPr/>
                  <a:lstStyle/>
                  <a:p>
                    <a:fld id="{B26DE0EA-B821-48AC-83F4-074697EB3C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3-8E3F-4D1B-A313-C02BEC0FDBD1}"/>
                </c:ext>
              </c:extLst>
            </c:dLbl>
            <c:dLbl>
              <c:idx val="92"/>
              <c:tx>
                <c:rich>
                  <a:bodyPr/>
                  <a:lstStyle/>
                  <a:p>
                    <a:fld id="{20DB985D-57EC-47EC-9FF8-331232239B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4-8E3F-4D1B-A313-C02BEC0FDBD1}"/>
                </c:ext>
              </c:extLst>
            </c:dLbl>
            <c:dLbl>
              <c:idx val="93"/>
              <c:tx>
                <c:rich>
                  <a:bodyPr/>
                  <a:lstStyle/>
                  <a:p>
                    <a:fld id="{C489308B-AD64-4885-8784-D708604DAB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5-8E3F-4D1B-A313-C02BEC0FDBD1}"/>
                </c:ext>
              </c:extLst>
            </c:dLbl>
            <c:dLbl>
              <c:idx val="94"/>
              <c:tx>
                <c:rich>
                  <a:bodyPr/>
                  <a:lstStyle/>
                  <a:p>
                    <a:fld id="{157C8E7B-A76F-48D7-8744-4652E46890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6-8E3F-4D1B-A313-C02BEC0FDBD1}"/>
                </c:ext>
              </c:extLst>
            </c:dLbl>
            <c:dLbl>
              <c:idx val="95"/>
              <c:tx>
                <c:rich>
                  <a:bodyPr/>
                  <a:lstStyle/>
                  <a:p>
                    <a:fld id="{FD1B2DE6-6609-407F-B124-C12F2DE73A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7-8E3F-4D1B-A313-C02BEC0FDBD1}"/>
                </c:ext>
              </c:extLst>
            </c:dLbl>
            <c:dLbl>
              <c:idx val="96"/>
              <c:tx>
                <c:rich>
                  <a:bodyPr/>
                  <a:lstStyle/>
                  <a:p>
                    <a:fld id="{8DA9D55A-0CDB-4C9D-8954-B4F1DE27A2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8-8E3F-4D1B-A313-C02BEC0FDBD1}"/>
                </c:ext>
              </c:extLst>
            </c:dLbl>
            <c:dLbl>
              <c:idx val="97"/>
              <c:tx>
                <c:rich>
                  <a:bodyPr/>
                  <a:lstStyle/>
                  <a:p>
                    <a:fld id="{3F280FCE-9356-4FF0-9EF8-E694D93BD5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9-8E3F-4D1B-A313-C02BEC0FDBD1}"/>
                </c:ext>
              </c:extLst>
            </c:dLbl>
            <c:dLbl>
              <c:idx val="98"/>
              <c:tx>
                <c:rich>
                  <a:bodyPr/>
                  <a:lstStyle/>
                  <a:p>
                    <a:fld id="{6CA1562F-8862-4F18-90A1-12859F7300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A-8E3F-4D1B-A313-C02BEC0FDBD1}"/>
                </c:ext>
              </c:extLst>
            </c:dLbl>
            <c:dLbl>
              <c:idx val="99"/>
              <c:tx>
                <c:rich>
                  <a:bodyPr/>
                  <a:lstStyle/>
                  <a:p>
                    <a:fld id="{C3DE6015-DBD5-4794-91A5-D8EAD0D139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B-8E3F-4D1B-A313-C02BEC0FDBD1}"/>
                </c:ext>
              </c:extLst>
            </c:dLbl>
            <c:dLbl>
              <c:idx val="100"/>
              <c:tx>
                <c:rich>
                  <a:bodyPr/>
                  <a:lstStyle/>
                  <a:p>
                    <a:fld id="{32D4291F-CB83-4FA6-8AFD-1F2B9509F5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C-8E3F-4D1B-A313-C02BEC0FDBD1}"/>
                </c:ext>
              </c:extLst>
            </c:dLbl>
            <c:dLbl>
              <c:idx val="101"/>
              <c:tx>
                <c:rich>
                  <a:bodyPr/>
                  <a:lstStyle/>
                  <a:p>
                    <a:fld id="{6C0171F7-D0F5-48EA-8590-1F34F08534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D-8E3F-4D1B-A313-C02BEC0FDBD1}"/>
                </c:ext>
              </c:extLst>
            </c:dLbl>
            <c:dLbl>
              <c:idx val="102"/>
              <c:tx>
                <c:rich>
                  <a:bodyPr/>
                  <a:lstStyle/>
                  <a:p>
                    <a:fld id="{DFA4D93B-622A-4B6B-B92C-EEEBD43153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E-8E3F-4D1B-A313-C02BEC0FDBD1}"/>
                </c:ext>
              </c:extLst>
            </c:dLbl>
            <c:dLbl>
              <c:idx val="103"/>
              <c:tx>
                <c:rich>
                  <a:bodyPr/>
                  <a:lstStyle/>
                  <a:p>
                    <a:fld id="{42B22FAB-B2CB-4FFF-BCA9-3D5C184DF0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F-8E3F-4D1B-A313-C02BEC0FDBD1}"/>
                </c:ext>
              </c:extLst>
            </c:dLbl>
            <c:dLbl>
              <c:idx val="104"/>
              <c:tx>
                <c:rich>
                  <a:bodyPr/>
                  <a:lstStyle/>
                  <a:p>
                    <a:fld id="{F37844C4-B598-46DC-A02F-188393B2D0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0-8E3F-4D1B-A313-C02BEC0FDBD1}"/>
                </c:ext>
              </c:extLst>
            </c:dLbl>
            <c:dLbl>
              <c:idx val="105"/>
              <c:tx>
                <c:rich>
                  <a:bodyPr/>
                  <a:lstStyle/>
                  <a:p>
                    <a:fld id="{D1137E43-7153-47FD-AA28-2843B1E8DC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1-8E3F-4D1B-A313-C02BEC0FDBD1}"/>
                </c:ext>
              </c:extLst>
            </c:dLbl>
            <c:dLbl>
              <c:idx val="106"/>
              <c:tx>
                <c:rich>
                  <a:bodyPr/>
                  <a:lstStyle/>
                  <a:p>
                    <a:fld id="{C3EC19A1-A9F0-4D86-A8D2-BDA50F0FA6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2-8E3F-4D1B-A313-C02BEC0FDBD1}"/>
                </c:ext>
              </c:extLst>
            </c:dLbl>
            <c:dLbl>
              <c:idx val="107"/>
              <c:tx>
                <c:rich>
                  <a:bodyPr/>
                  <a:lstStyle/>
                  <a:p>
                    <a:fld id="{D0274147-7D43-43ED-BE8D-4424AEA35F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3-8E3F-4D1B-A313-C02BEC0FDBD1}"/>
                </c:ext>
              </c:extLst>
            </c:dLbl>
            <c:dLbl>
              <c:idx val="108"/>
              <c:tx>
                <c:rich>
                  <a:bodyPr/>
                  <a:lstStyle/>
                  <a:p>
                    <a:fld id="{7D3F8AFE-D506-4E7F-87B8-41864215B8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4-8E3F-4D1B-A313-C02BEC0FDBD1}"/>
                </c:ext>
              </c:extLst>
            </c:dLbl>
            <c:dLbl>
              <c:idx val="109"/>
              <c:tx>
                <c:rich>
                  <a:bodyPr/>
                  <a:lstStyle/>
                  <a:p>
                    <a:fld id="{0F6AC374-EC7F-40AC-A2CE-478C64922E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5-8E3F-4D1B-A313-C02BEC0FDBD1}"/>
                </c:ext>
              </c:extLst>
            </c:dLbl>
            <c:dLbl>
              <c:idx val="110"/>
              <c:tx>
                <c:rich>
                  <a:bodyPr/>
                  <a:lstStyle/>
                  <a:p>
                    <a:fld id="{F1219231-A8DA-4010-8F5D-568DAD318E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6-8E3F-4D1B-A313-C02BEC0FDBD1}"/>
                </c:ext>
              </c:extLst>
            </c:dLbl>
            <c:dLbl>
              <c:idx val="111"/>
              <c:tx>
                <c:rich>
                  <a:bodyPr/>
                  <a:lstStyle/>
                  <a:p>
                    <a:fld id="{95471A82-DE57-4210-AE99-7021687DBB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7-8E3F-4D1B-A313-C02BEC0FDBD1}"/>
                </c:ext>
              </c:extLst>
            </c:dLbl>
            <c:dLbl>
              <c:idx val="112"/>
              <c:tx>
                <c:rich>
                  <a:bodyPr/>
                  <a:lstStyle/>
                  <a:p>
                    <a:fld id="{4E670FCD-F059-42F6-B1F9-403DF59B34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8-8E3F-4D1B-A313-C02BEC0FDBD1}"/>
                </c:ext>
              </c:extLst>
            </c:dLbl>
            <c:dLbl>
              <c:idx val="113"/>
              <c:tx>
                <c:rich>
                  <a:bodyPr/>
                  <a:lstStyle/>
                  <a:p>
                    <a:fld id="{B5FA6D02-155D-4B52-8DA3-809A455B79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9-8E3F-4D1B-A313-C02BEC0FDBD1}"/>
                </c:ext>
              </c:extLst>
            </c:dLbl>
            <c:dLbl>
              <c:idx val="114"/>
              <c:tx>
                <c:rich>
                  <a:bodyPr/>
                  <a:lstStyle/>
                  <a:p>
                    <a:fld id="{AB83219F-7D82-4640-B323-5ED1380278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A-8E3F-4D1B-A313-C02BEC0FDBD1}"/>
                </c:ext>
              </c:extLst>
            </c:dLbl>
            <c:dLbl>
              <c:idx val="115"/>
              <c:tx>
                <c:rich>
                  <a:bodyPr/>
                  <a:lstStyle/>
                  <a:p>
                    <a:fld id="{7CDFAC96-7934-4A14-8ACC-4E50A78B67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D$2:$D$117</c:f>
              <c:numCache>
                <c:formatCode>General</c:formatCode>
                <c:ptCount val="116"/>
                <c:pt idx="0">
                  <c:v>1</c:v>
                </c:pt>
                <c:pt idx="1">
                  <c:v>1</c:v>
                </c:pt>
                <c:pt idx="2">
                  <c:v>1</c:v>
                </c:pt>
                <c:pt idx="3">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15" formatCode="0">
                  <c:v>1</c:v>
                </c:pt>
                <c:pt idx="16" formatCode="0">
                  <c:v>1</c:v>
                </c:pt>
                <c:pt idx="17" formatCode="0">
                  <c:v>2</c:v>
                </c:pt>
                <c:pt idx="18" formatCode="0">
                  <c:v>1</c:v>
                </c:pt>
                <c:pt idx="19" formatCode="0">
                  <c:v>2</c:v>
                </c:pt>
                <c:pt idx="20" formatCode="0">
                  <c:v>2</c:v>
                </c:pt>
                <c:pt idx="21" formatCode="0">
                  <c:v>2</c:v>
                </c:pt>
                <c:pt idx="22" formatCode="0">
                  <c:v>2</c:v>
                </c:pt>
                <c:pt idx="23" formatCode="0">
                  <c:v>2</c:v>
                </c:pt>
                <c:pt idx="24" formatCode="0">
                  <c:v>2</c:v>
                </c:pt>
                <c:pt idx="25" formatCode="0">
                  <c:v>2</c:v>
                </c:pt>
                <c:pt idx="26" formatCode="0">
                  <c:v>2</c:v>
                </c:pt>
                <c:pt idx="27">
                  <c:v>2</c:v>
                </c:pt>
                <c:pt idx="28">
                  <c:v>2</c:v>
                </c:pt>
                <c:pt idx="29">
                  <c:v>2</c:v>
                </c:pt>
                <c:pt idx="30">
                  <c:v>2</c:v>
                </c:pt>
                <c:pt idx="31">
                  <c:v>3</c:v>
                </c:pt>
                <c:pt idx="32">
                  <c:v>3</c:v>
                </c:pt>
                <c:pt idx="33">
                  <c:v>3</c:v>
                </c:pt>
                <c:pt idx="34">
                  <c:v>3</c:v>
                </c:pt>
                <c:pt idx="35">
                  <c:v>3</c:v>
                </c:pt>
                <c:pt idx="36">
                  <c:v>3</c:v>
                </c:pt>
                <c:pt idx="37">
                  <c:v>3</c:v>
                </c:pt>
                <c:pt idx="38">
                  <c:v>3</c:v>
                </c:pt>
                <c:pt idx="39">
                  <c:v>3</c:v>
                </c:pt>
                <c:pt idx="40">
                  <c:v>3</c:v>
                </c:pt>
                <c:pt idx="41">
                  <c:v>3</c:v>
                </c:pt>
                <c:pt idx="42">
                  <c:v>3</c:v>
                </c:pt>
                <c:pt idx="43">
                  <c:v>3</c:v>
                </c:pt>
                <c:pt idx="44">
                  <c:v>4</c:v>
                </c:pt>
                <c:pt idx="45">
                  <c:v>4</c:v>
                </c:pt>
                <c:pt idx="46">
                  <c:v>4</c:v>
                </c:pt>
                <c:pt idx="47">
                  <c:v>4</c:v>
                </c:pt>
                <c:pt idx="48">
                  <c:v>4</c:v>
                </c:pt>
                <c:pt idx="49">
                  <c:v>4</c:v>
                </c:pt>
                <c:pt idx="50">
                  <c:v>4</c:v>
                </c:pt>
                <c:pt idx="51">
                  <c:v>4</c:v>
                </c:pt>
                <c:pt idx="52">
                  <c:v>4</c:v>
                </c:pt>
                <c:pt idx="53">
                  <c:v>4</c:v>
                </c:pt>
                <c:pt idx="54">
                  <c:v>4</c:v>
                </c:pt>
                <c:pt idx="55">
                  <c:v>4</c:v>
                </c:pt>
                <c:pt idx="56">
                  <c:v>4</c:v>
                </c:pt>
                <c:pt idx="57">
                  <c:v>4</c:v>
                </c:pt>
                <c:pt idx="58">
                  <c:v>4</c:v>
                </c:pt>
                <c:pt idx="59">
                  <c:v>4</c:v>
                </c:pt>
                <c:pt idx="60">
                  <c:v>4</c:v>
                </c:pt>
                <c:pt idx="61">
                  <c:v>4</c:v>
                </c:pt>
                <c:pt idx="62">
                  <c:v>4</c:v>
                </c:pt>
                <c:pt idx="63">
                  <c:v>4</c:v>
                </c:pt>
                <c:pt idx="64">
                  <c:v>4</c:v>
                </c:pt>
                <c:pt idx="65">
                  <c:v>4</c:v>
                </c:pt>
                <c:pt idx="66">
                  <c:v>4</c:v>
                </c:pt>
                <c:pt idx="67">
                  <c:v>4</c:v>
                </c:pt>
                <c:pt idx="68">
                  <c:v>5</c:v>
                </c:pt>
                <c:pt idx="69">
                  <c:v>5</c:v>
                </c:pt>
                <c:pt idx="70">
                  <c:v>5</c:v>
                </c:pt>
                <c:pt idx="71">
                  <c:v>5</c:v>
                </c:pt>
                <c:pt idx="72">
                  <c:v>5</c:v>
                </c:pt>
                <c:pt idx="73">
                  <c:v>5</c:v>
                </c:pt>
                <c:pt idx="74">
                  <c:v>5</c:v>
                </c:pt>
                <c:pt idx="75">
                  <c:v>5</c:v>
                </c:pt>
                <c:pt idx="76">
                  <c:v>5</c:v>
                </c:pt>
                <c:pt idx="77">
                  <c:v>5</c:v>
                </c:pt>
                <c:pt idx="78">
                  <c:v>5</c:v>
                </c:pt>
                <c:pt idx="79">
                  <c:v>5</c:v>
                </c:pt>
                <c:pt idx="80">
                  <c:v>6</c:v>
                </c:pt>
                <c:pt idx="81">
                  <c:v>6</c:v>
                </c:pt>
                <c:pt idx="82">
                  <c:v>6</c:v>
                </c:pt>
                <c:pt idx="83">
                  <c:v>6</c:v>
                </c:pt>
                <c:pt idx="84">
                  <c:v>6</c:v>
                </c:pt>
                <c:pt idx="85">
                  <c:v>6</c:v>
                </c:pt>
                <c:pt idx="86">
                  <c:v>6</c:v>
                </c:pt>
                <c:pt idx="87">
                  <c:v>6</c:v>
                </c:pt>
                <c:pt idx="88">
                  <c:v>6</c:v>
                </c:pt>
                <c:pt idx="89">
                  <c:v>6</c:v>
                </c:pt>
                <c:pt idx="90">
                  <c:v>6</c:v>
                </c:pt>
                <c:pt idx="91">
                  <c:v>6</c:v>
                </c:pt>
                <c:pt idx="92">
                  <c:v>6</c:v>
                </c:pt>
                <c:pt idx="93">
                  <c:v>7</c:v>
                </c:pt>
                <c:pt idx="94">
                  <c:v>7</c:v>
                </c:pt>
                <c:pt idx="95">
                  <c:v>7</c:v>
                </c:pt>
                <c:pt idx="96">
                  <c:v>7</c:v>
                </c:pt>
                <c:pt idx="97">
                  <c:v>7</c:v>
                </c:pt>
                <c:pt idx="98">
                  <c:v>7</c:v>
                </c:pt>
                <c:pt idx="99">
                  <c:v>7</c:v>
                </c:pt>
                <c:pt idx="100">
                  <c:v>7</c:v>
                </c:pt>
                <c:pt idx="101">
                  <c:v>7</c:v>
                </c:pt>
                <c:pt idx="102">
                  <c:v>7</c:v>
                </c:pt>
                <c:pt idx="103">
                  <c:v>7</c:v>
                </c:pt>
                <c:pt idx="104">
                  <c:v>7</c:v>
                </c:pt>
                <c:pt idx="105">
                  <c:v>8</c:v>
                </c:pt>
                <c:pt idx="106">
                  <c:v>8</c:v>
                </c:pt>
                <c:pt idx="107">
                  <c:v>8</c:v>
                </c:pt>
                <c:pt idx="108">
                  <c:v>8</c:v>
                </c:pt>
                <c:pt idx="109">
                  <c:v>8</c:v>
                </c:pt>
                <c:pt idx="110">
                  <c:v>8</c:v>
                </c:pt>
                <c:pt idx="111">
                  <c:v>8</c:v>
                </c:pt>
                <c:pt idx="112">
                  <c:v>8</c:v>
                </c:pt>
                <c:pt idx="113">
                  <c:v>8</c:v>
                </c:pt>
                <c:pt idx="114">
                  <c:v>8</c:v>
                </c:pt>
                <c:pt idx="115">
                  <c:v>8</c:v>
                </c:pt>
              </c:numCache>
            </c:numRef>
          </c:xVal>
          <c:yVal>
            <c:numRef>
              <c:f>Sheet1!$B$2:$B$117</c:f>
              <c:numCache>
                <c:formatCode>0%;\-0%;0%</c:formatCode>
                <c:ptCount val="116"/>
                <c:pt idx="0">
                  <c:v>0.33537119853666614</c:v>
                </c:pt>
                <c:pt idx="1">
                  <c:v>1.3110575620733895</c:v>
                </c:pt>
                <c:pt idx="2">
                  <c:v>0.12281129115912857</c:v>
                </c:pt>
                <c:pt idx="3">
                  <c:v>0.52740423038450002</c:v>
                </c:pt>
                <c:pt idx="4">
                  <c:v>0.23394614817291179</c:v>
                </c:pt>
                <c:pt idx="5">
                  <c:v>0.40424723346828612</c:v>
                </c:pt>
                <c:pt idx="6">
                  <c:v>1.0381094546405629</c:v>
                </c:pt>
                <c:pt idx="7">
                  <c:v>0.39464140468177511</c:v>
                </c:pt>
                <c:pt idx="8">
                  <c:v>1.0804710500490677</c:v>
                </c:pt>
                <c:pt idx="9">
                  <c:v>0.29756844074137051</c:v>
                </c:pt>
                <c:pt idx="10">
                  <c:v>0.34245897269923464</c:v>
                </c:pt>
                <c:pt idx="11">
                  <c:v>0.64309733708988459</c:v>
                </c:pt>
                <c:pt idx="12">
                  <c:v>7.6182838813151563E-3</c:v>
                </c:pt>
                <c:pt idx="13">
                  <c:v>7.2727272727272724E-2</c:v>
                </c:pt>
                <c:pt idx="14">
                  <c:v>9.4564818215203822E-2</c:v>
                </c:pt>
                <c:pt idx="15">
                  <c:v>0.97732228521587439</c:v>
                </c:pt>
                <c:pt idx="16">
                  <c:v>0.12916246215943492</c:v>
                </c:pt>
                <c:pt idx="17">
                  <c:v>0</c:v>
                </c:pt>
                <c:pt idx="18">
                  <c:v>0</c:v>
                </c:pt>
                <c:pt idx="19">
                  <c:v>0.67651164854893464</c:v>
                </c:pt>
                <c:pt idx="20">
                  <c:v>1.189595592135231</c:v>
                </c:pt>
                <c:pt idx="21">
                  <c:v>0.17901899226560691</c:v>
                </c:pt>
                <c:pt idx="22">
                  <c:v>1.1122736936699982</c:v>
                </c:pt>
                <c:pt idx="23">
                  <c:v>0.85910295216250121</c:v>
                </c:pt>
                <c:pt idx="24">
                  <c:v>0.98060814099444116</c:v>
                </c:pt>
                <c:pt idx="25">
                  <c:v>0.54450632951838152</c:v>
                </c:pt>
                <c:pt idx="26">
                  <c:v>0.56422668334309645</c:v>
                </c:pt>
                <c:pt idx="27">
                  <c:v>0.30859076520030565</c:v>
                </c:pt>
                <c:pt idx="28">
                  <c:v>-5.088408644400786E-2</c:v>
                </c:pt>
                <c:pt idx="29">
                  <c:v>0.48655046266408436</c:v>
                </c:pt>
                <c:pt idx="30">
                  <c:v>5.8252427184466021E-2</c:v>
                </c:pt>
                <c:pt idx="31">
                  <c:v>0.57528207397007924</c:v>
                </c:pt>
                <c:pt idx="32">
                  <c:v>0</c:v>
                </c:pt>
                <c:pt idx="33">
                  <c:v>0.34969330141134647</c:v>
                </c:pt>
                <c:pt idx="34">
                  <c:v>9.3618913842698215E-2</c:v>
                </c:pt>
                <c:pt idx="35">
                  <c:v>0.39086369781125707</c:v>
                </c:pt>
                <c:pt idx="36">
                  <c:v>0.53102946813067886</c:v>
                </c:pt>
                <c:pt idx="37">
                  <c:v>0.30671829359418518</c:v>
                </c:pt>
                <c:pt idx="38">
                  <c:v>4.7373658397896083E-2</c:v>
                </c:pt>
                <c:pt idx="39">
                  <c:v>9.8011706773204491E-2</c:v>
                </c:pt>
                <c:pt idx="40">
                  <c:v>5.9622372365136428E-2</c:v>
                </c:pt>
                <c:pt idx="41">
                  <c:v>0.3325076129317282</c:v>
                </c:pt>
                <c:pt idx="42">
                  <c:v>1.6811941832822908E-2</c:v>
                </c:pt>
                <c:pt idx="43">
                  <c:v>0.13383247543284979</c:v>
                </c:pt>
                <c:pt idx="44">
                  <c:v>0.18520227334689512</c:v>
                </c:pt>
                <c:pt idx="45">
                  <c:v>0.15534287581423784</c:v>
                </c:pt>
                <c:pt idx="46">
                  <c:v>0.27216813979063992</c:v>
                </c:pt>
                <c:pt idx="47">
                  <c:v>0.14428544647878522</c:v>
                </c:pt>
                <c:pt idx="48">
                  <c:v>8.9574245868403263E-2</c:v>
                </c:pt>
                <c:pt idx="49">
                  <c:v>0.29961779961779961</c:v>
                </c:pt>
                <c:pt idx="50">
                  <c:v>0.32942695401728078</c:v>
                </c:pt>
                <c:pt idx="51">
                  <c:v>0.79519295870006768</c:v>
                </c:pt>
                <c:pt idx="52">
                  <c:v>5.1974626560261916E-2</c:v>
                </c:pt>
                <c:pt idx="53">
                  <c:v>-2.5057825751734774E-2</c:v>
                </c:pt>
                <c:pt idx="54">
                  <c:v>-0.28899835796387519</c:v>
                </c:pt>
                <c:pt idx="55">
                  <c:v>0</c:v>
                </c:pt>
                <c:pt idx="56" formatCode="0.00%">
                  <c:v>0.18520227334689512</c:v>
                </c:pt>
                <c:pt idx="57" formatCode="0.00%">
                  <c:v>0.15534287581423784</c:v>
                </c:pt>
                <c:pt idx="58" formatCode="0.00%">
                  <c:v>0.27216813979063992</c:v>
                </c:pt>
                <c:pt idx="59" formatCode="0.00%">
                  <c:v>0.14428544647878522</c:v>
                </c:pt>
                <c:pt idx="60" formatCode="0.00%">
                  <c:v>8.9574245868403263E-2</c:v>
                </c:pt>
                <c:pt idx="61" formatCode="0.00%">
                  <c:v>0.29961779961779961</c:v>
                </c:pt>
                <c:pt idx="62" formatCode="0.00%">
                  <c:v>0.32942695401728078</c:v>
                </c:pt>
                <c:pt idx="63" formatCode="0.00%">
                  <c:v>0.79519295870006768</c:v>
                </c:pt>
                <c:pt idx="64" formatCode="0.00%">
                  <c:v>5.1974626560261916E-2</c:v>
                </c:pt>
                <c:pt idx="65" formatCode="0.00%">
                  <c:v>-2.5057825751734774E-2</c:v>
                </c:pt>
                <c:pt idx="66" formatCode="0.00%">
                  <c:v>-0.28899835796387519</c:v>
                </c:pt>
                <c:pt idx="67" formatCode="0.00%">
                  <c:v>0</c:v>
                </c:pt>
                <c:pt idx="68" formatCode="General">
                  <c:v>0.18520227334689512</c:v>
                </c:pt>
                <c:pt idx="69" formatCode="General">
                  <c:v>0.15534287581423784</c:v>
                </c:pt>
                <c:pt idx="70" formatCode="General">
                  <c:v>0.27216813979063992</c:v>
                </c:pt>
                <c:pt idx="71" formatCode="General">
                  <c:v>0.14428544647878522</c:v>
                </c:pt>
                <c:pt idx="72" formatCode="General">
                  <c:v>8.9574245868403263E-2</c:v>
                </c:pt>
                <c:pt idx="73" formatCode="General">
                  <c:v>0.29961779961779961</c:v>
                </c:pt>
                <c:pt idx="74" formatCode="General">
                  <c:v>0.32942695401728078</c:v>
                </c:pt>
                <c:pt idx="75" formatCode="General">
                  <c:v>0.79519295870006768</c:v>
                </c:pt>
                <c:pt idx="76" formatCode="General">
                  <c:v>5.1974626560261916E-2</c:v>
                </c:pt>
                <c:pt idx="77" formatCode="General">
                  <c:v>-2.5057825751734774E-2</c:v>
                </c:pt>
                <c:pt idx="78" formatCode="General">
                  <c:v>-0.28899835796387519</c:v>
                </c:pt>
                <c:pt idx="79" formatCode="General">
                  <c:v>0</c:v>
                </c:pt>
                <c:pt idx="80" formatCode="General">
                  <c:v>0</c:v>
                </c:pt>
                <c:pt idx="81" formatCode="General">
                  <c:v>0.18520227334689512</c:v>
                </c:pt>
                <c:pt idx="82" formatCode="General">
                  <c:v>0.15534287581423784</c:v>
                </c:pt>
                <c:pt idx="83" formatCode="General">
                  <c:v>0.27216813979063992</c:v>
                </c:pt>
                <c:pt idx="84" formatCode="General">
                  <c:v>0.14428544647878522</c:v>
                </c:pt>
                <c:pt idx="85" formatCode="General">
                  <c:v>8.9574245868403263E-2</c:v>
                </c:pt>
                <c:pt idx="86" formatCode="General">
                  <c:v>0.29961779961779961</c:v>
                </c:pt>
                <c:pt idx="87" formatCode="General">
                  <c:v>0.32942695401728078</c:v>
                </c:pt>
                <c:pt idx="88" formatCode="General">
                  <c:v>0.79519295870006768</c:v>
                </c:pt>
                <c:pt idx="89" formatCode="General">
                  <c:v>5.1974626560261916E-2</c:v>
                </c:pt>
                <c:pt idx="90" formatCode="General">
                  <c:v>-2.5057825751734774E-2</c:v>
                </c:pt>
                <c:pt idx="91" formatCode="General">
                  <c:v>-0.28899835796387519</c:v>
                </c:pt>
                <c:pt idx="92" formatCode="General">
                  <c:v>0</c:v>
                </c:pt>
                <c:pt idx="93" formatCode="General">
                  <c:v>0.18520227334689512</c:v>
                </c:pt>
                <c:pt idx="94" formatCode="General">
                  <c:v>0.15534287581423784</c:v>
                </c:pt>
                <c:pt idx="95" formatCode="General">
                  <c:v>0.27216813979063992</c:v>
                </c:pt>
                <c:pt idx="96" formatCode="General">
                  <c:v>0.14428544647878522</c:v>
                </c:pt>
                <c:pt idx="97" formatCode="General">
                  <c:v>8.9574245868403263E-2</c:v>
                </c:pt>
                <c:pt idx="98" formatCode="General">
                  <c:v>0.29961779961779961</c:v>
                </c:pt>
                <c:pt idx="99" formatCode="General">
                  <c:v>0.32942695401728078</c:v>
                </c:pt>
                <c:pt idx="100" formatCode="General">
                  <c:v>0.79519295870006768</c:v>
                </c:pt>
                <c:pt idx="101" formatCode="General">
                  <c:v>5.1974626560261916E-2</c:v>
                </c:pt>
                <c:pt idx="102" formatCode="General">
                  <c:v>-2.5057825751734774E-2</c:v>
                </c:pt>
                <c:pt idx="103" formatCode="General">
                  <c:v>-0.28899835796387519</c:v>
                </c:pt>
                <c:pt idx="104" formatCode="General">
                  <c:v>0</c:v>
                </c:pt>
                <c:pt idx="105" formatCode="General">
                  <c:v>0.15534287581423784</c:v>
                </c:pt>
                <c:pt idx="106" formatCode="General">
                  <c:v>0.27216813979063992</c:v>
                </c:pt>
                <c:pt idx="107" formatCode="General">
                  <c:v>0.14428544647878522</c:v>
                </c:pt>
                <c:pt idx="108" formatCode="General">
                  <c:v>8.9574245868403263E-2</c:v>
                </c:pt>
                <c:pt idx="109" formatCode="General">
                  <c:v>0.29961779961779961</c:v>
                </c:pt>
                <c:pt idx="110" formatCode="General">
                  <c:v>0.32942695401728078</c:v>
                </c:pt>
                <c:pt idx="111" formatCode="General">
                  <c:v>0.79519295870006768</c:v>
                </c:pt>
                <c:pt idx="112" formatCode="General">
                  <c:v>5.1974626560261916E-2</c:v>
                </c:pt>
                <c:pt idx="113" formatCode="General">
                  <c:v>-2.5057825751734774E-2</c:v>
                </c:pt>
                <c:pt idx="114" formatCode="General">
                  <c:v>-0.28899835796387519</c:v>
                </c:pt>
                <c:pt idx="115" formatCode="General">
                  <c:v>0</c:v>
                </c:pt>
              </c:numCache>
            </c:numRef>
          </c:yVal>
          <c:bubbleSize>
            <c:numRef>
              <c:f>Sheet1!$C$2:$C$117</c:f>
              <c:numCache>
                <c:formatCode>0%;\-0%;0%</c:formatCode>
                <c:ptCount val="116"/>
                <c:pt idx="0">
                  <c:v>4111084</c:v>
                </c:pt>
                <c:pt idx="1">
                  <c:v>1160533</c:v>
                </c:pt>
                <c:pt idx="2">
                  <c:v>1117212</c:v>
                </c:pt>
                <c:pt idx="3">
                  <c:v>504428</c:v>
                </c:pt>
                <c:pt idx="4">
                  <c:v>459435</c:v>
                </c:pt>
                <c:pt idx="5">
                  <c:v>386077</c:v>
                </c:pt>
                <c:pt idx="6">
                  <c:v>277647</c:v>
                </c:pt>
                <c:pt idx="7">
                  <c:v>222216</c:v>
                </c:pt>
                <c:pt idx="8">
                  <c:v>108739</c:v>
                </c:pt>
                <c:pt idx="9">
                  <c:v>100141</c:v>
                </c:pt>
                <c:pt idx="10">
                  <c:v>18851</c:v>
                </c:pt>
                <c:pt idx="11">
                  <c:v>13981</c:v>
                </c:pt>
                <c:pt idx="12">
                  <c:v>10864</c:v>
                </c:pt>
                <c:pt idx="13">
                  <c:v>7717</c:v>
                </c:pt>
                <c:pt idx="14">
                  <c:v>7439</c:v>
                </c:pt>
                <c:pt idx="15">
                  <c:v>4428</c:v>
                </c:pt>
                <c:pt idx="16">
                  <c:v>1120</c:v>
                </c:pt>
                <c:pt idx="17">
                  <c:v>21</c:v>
                </c:pt>
                <c:pt idx="18">
                  <c:v>0</c:v>
                </c:pt>
                <c:pt idx="19">
                  <c:v>12037304</c:v>
                </c:pt>
                <c:pt idx="20">
                  <c:v>5124041</c:v>
                </c:pt>
                <c:pt idx="21">
                  <c:v>4271666</c:v>
                </c:pt>
                <c:pt idx="22">
                  <c:v>1061364</c:v>
                </c:pt>
                <c:pt idx="23">
                  <c:v>786468</c:v>
                </c:pt>
                <c:pt idx="24">
                  <c:v>606283</c:v>
                </c:pt>
                <c:pt idx="25">
                  <c:v>479058</c:v>
                </c:pt>
                <c:pt idx="26">
                  <c:v>306437</c:v>
                </c:pt>
                <c:pt idx="27">
                  <c:v>83930</c:v>
                </c:pt>
                <c:pt idx="28">
                  <c:v>32553</c:v>
                </c:pt>
                <c:pt idx="29">
                  <c:v>24613</c:v>
                </c:pt>
                <c:pt idx="30">
                  <c:v>42</c:v>
                </c:pt>
                <c:pt idx="31">
                  <c:v>16067456</c:v>
                </c:pt>
                <c:pt idx="32">
                  <c:v>0</c:v>
                </c:pt>
                <c:pt idx="33">
                  <c:v>2257543</c:v>
                </c:pt>
                <c:pt idx="34">
                  <c:v>350113</c:v>
                </c:pt>
                <c:pt idx="35">
                  <c:v>238922</c:v>
                </c:pt>
                <c:pt idx="36">
                  <c:v>178620</c:v>
                </c:pt>
                <c:pt idx="37">
                  <c:v>98148</c:v>
                </c:pt>
                <c:pt idx="38">
                  <c:v>76752</c:v>
                </c:pt>
                <c:pt idx="39">
                  <c:v>59927</c:v>
                </c:pt>
                <c:pt idx="40">
                  <c:v>59154</c:v>
                </c:pt>
                <c:pt idx="41">
                  <c:v>58860</c:v>
                </c:pt>
                <c:pt idx="42">
                  <c:v>53214</c:v>
                </c:pt>
                <c:pt idx="43">
                  <c:v>45806</c:v>
                </c:pt>
                <c:pt idx="44">
                  <c:v>33868</c:v>
                </c:pt>
                <c:pt idx="45">
                  <c:v>28590</c:v>
                </c:pt>
                <c:pt idx="46">
                  <c:v>26827</c:v>
                </c:pt>
                <c:pt idx="47">
                  <c:v>15746</c:v>
                </c:pt>
                <c:pt idx="48">
                  <c:v>10871</c:v>
                </c:pt>
                <c:pt idx="49">
                  <c:v>10018</c:v>
                </c:pt>
                <c:pt idx="50">
                  <c:v>4962</c:v>
                </c:pt>
                <c:pt idx="51">
                  <c:v>4865</c:v>
                </c:pt>
                <c:pt idx="52">
                  <c:v>3900</c:v>
                </c:pt>
                <c:pt idx="53">
                  <c:v>1677</c:v>
                </c:pt>
                <c:pt idx="54">
                  <c:v>297</c:v>
                </c:pt>
                <c:pt idx="55">
                  <c:v>0</c:v>
                </c:pt>
                <c:pt idx="56" formatCode="General">
                  <c:v>33868</c:v>
                </c:pt>
                <c:pt idx="57" formatCode="General">
                  <c:v>28590</c:v>
                </c:pt>
                <c:pt idx="58" formatCode="General">
                  <c:v>26827</c:v>
                </c:pt>
                <c:pt idx="59" formatCode="General">
                  <c:v>15746</c:v>
                </c:pt>
                <c:pt idx="60" formatCode="General">
                  <c:v>10871</c:v>
                </c:pt>
                <c:pt idx="61" formatCode="General">
                  <c:v>10018</c:v>
                </c:pt>
                <c:pt idx="62" formatCode="General">
                  <c:v>4962</c:v>
                </c:pt>
                <c:pt idx="63" formatCode="General">
                  <c:v>4865</c:v>
                </c:pt>
                <c:pt idx="64" formatCode="General">
                  <c:v>3900</c:v>
                </c:pt>
                <c:pt idx="65" formatCode="General">
                  <c:v>1677</c:v>
                </c:pt>
                <c:pt idx="66" formatCode="General">
                  <c:v>297</c:v>
                </c:pt>
                <c:pt idx="67" formatCode="General">
                  <c:v>0</c:v>
                </c:pt>
                <c:pt idx="68" formatCode="General">
                  <c:v>33868</c:v>
                </c:pt>
                <c:pt idx="69" formatCode="General">
                  <c:v>28590</c:v>
                </c:pt>
                <c:pt idx="70" formatCode="General">
                  <c:v>26827</c:v>
                </c:pt>
                <c:pt idx="71" formatCode="General">
                  <c:v>15746</c:v>
                </c:pt>
                <c:pt idx="72" formatCode="General">
                  <c:v>10871</c:v>
                </c:pt>
                <c:pt idx="73" formatCode="General">
                  <c:v>10018</c:v>
                </c:pt>
                <c:pt idx="74" formatCode="General">
                  <c:v>4962</c:v>
                </c:pt>
                <c:pt idx="75" formatCode="General">
                  <c:v>4865</c:v>
                </c:pt>
                <c:pt idx="76" formatCode="General">
                  <c:v>3900</c:v>
                </c:pt>
                <c:pt idx="77" formatCode="General">
                  <c:v>1677</c:v>
                </c:pt>
                <c:pt idx="78" formatCode="General">
                  <c:v>297</c:v>
                </c:pt>
                <c:pt idx="79" formatCode="General">
                  <c:v>0</c:v>
                </c:pt>
                <c:pt idx="80" formatCode="General">
                  <c:v>0</c:v>
                </c:pt>
                <c:pt idx="81" formatCode="General">
                  <c:v>33868</c:v>
                </c:pt>
                <c:pt idx="82" formatCode="General">
                  <c:v>28590</c:v>
                </c:pt>
                <c:pt idx="83" formatCode="General">
                  <c:v>26827</c:v>
                </c:pt>
                <c:pt idx="84" formatCode="General">
                  <c:v>15746</c:v>
                </c:pt>
                <c:pt idx="85" formatCode="General">
                  <c:v>10871</c:v>
                </c:pt>
                <c:pt idx="86" formatCode="General">
                  <c:v>10018</c:v>
                </c:pt>
                <c:pt idx="87" formatCode="General">
                  <c:v>4962</c:v>
                </c:pt>
                <c:pt idx="88" formatCode="General">
                  <c:v>4865</c:v>
                </c:pt>
                <c:pt idx="89" formatCode="General">
                  <c:v>3900</c:v>
                </c:pt>
                <c:pt idx="90" formatCode="General">
                  <c:v>1677</c:v>
                </c:pt>
                <c:pt idx="91" formatCode="General">
                  <c:v>297</c:v>
                </c:pt>
                <c:pt idx="92" formatCode="General">
                  <c:v>0</c:v>
                </c:pt>
                <c:pt idx="93" formatCode="General">
                  <c:v>33868</c:v>
                </c:pt>
                <c:pt idx="94" formatCode="General">
                  <c:v>28590</c:v>
                </c:pt>
                <c:pt idx="95" formatCode="General">
                  <c:v>26827</c:v>
                </c:pt>
                <c:pt idx="96" formatCode="General">
                  <c:v>15746</c:v>
                </c:pt>
                <c:pt idx="97" formatCode="General">
                  <c:v>10871</c:v>
                </c:pt>
                <c:pt idx="98" formatCode="General">
                  <c:v>10018</c:v>
                </c:pt>
                <c:pt idx="99" formatCode="General">
                  <c:v>4962</c:v>
                </c:pt>
                <c:pt idx="100" formatCode="General">
                  <c:v>4865</c:v>
                </c:pt>
                <c:pt idx="101" formatCode="General">
                  <c:v>3900</c:v>
                </c:pt>
                <c:pt idx="102" formatCode="General">
                  <c:v>1677</c:v>
                </c:pt>
                <c:pt idx="103" formatCode="General">
                  <c:v>297</c:v>
                </c:pt>
                <c:pt idx="104" formatCode="General">
                  <c:v>0</c:v>
                </c:pt>
                <c:pt idx="105" formatCode="General">
                  <c:v>28590</c:v>
                </c:pt>
                <c:pt idx="106" formatCode="General">
                  <c:v>26827</c:v>
                </c:pt>
                <c:pt idx="107" formatCode="General">
                  <c:v>15746</c:v>
                </c:pt>
                <c:pt idx="108" formatCode="General">
                  <c:v>10871</c:v>
                </c:pt>
                <c:pt idx="109" formatCode="General">
                  <c:v>10018</c:v>
                </c:pt>
                <c:pt idx="110" formatCode="General">
                  <c:v>4962</c:v>
                </c:pt>
                <c:pt idx="111" formatCode="General">
                  <c:v>4865</c:v>
                </c:pt>
                <c:pt idx="112" formatCode="General">
                  <c:v>3900</c:v>
                </c:pt>
                <c:pt idx="113" formatCode="General">
                  <c:v>1677</c:v>
                </c:pt>
                <c:pt idx="114" formatCode="General">
                  <c:v>297</c:v>
                </c:pt>
                <c:pt idx="115" formatCode="General">
                  <c:v>0</c:v>
                </c:pt>
              </c:numCache>
            </c:numRef>
          </c:bubbleSize>
          <c:bubble3D val="0"/>
          <c:extLst>
            <c:ext xmlns:c15="http://schemas.microsoft.com/office/drawing/2012/chart" uri="{02D57815-91ED-43cb-92C2-25804820EDAC}">
              <c15:datalabelsRange>
                <c15:f>Sheet1!$E$2:$E$150</c15:f>
                <c15:dlblRangeCache>
                  <c:ptCount val="149"/>
                  <c:pt idx="0">
                    <c:v>Findus</c:v>
                  </c:pt>
                  <c:pt idx="1">
                    <c:v>Pescanova S.A.</c:v>
                  </c:pt>
                  <c:pt idx="2">
                    <c:v>Private Label</c:v>
                  </c:pt>
                  <c:pt idx="3">
                    <c:v>Frosta</c:v>
                  </c:pt>
                  <c:pt idx="4">
                    <c:v>Panapesca</c:v>
                  </c:pt>
                  <c:pt idx="5">
                    <c:v>Other</c:v>
                  </c:pt>
                  <c:pt idx="6">
                    <c:v>Esca Srl</c:v>
                  </c:pt>
                  <c:pt idx="7">
                    <c:v>Arbi Dario Spa</c:v>
                  </c:pt>
                  <c:pt idx="8">
                    <c:v>Krusta Group</c:v>
                  </c:pt>
                  <c:pt idx="9">
                    <c:v>Fandicosta</c:v>
                  </c:pt>
                  <c:pt idx="10">
                    <c:v>Green Ice</c:v>
                  </c:pt>
                  <c:pt idx="11">
                    <c:v>Alpe Srl - Roma</c:v>
                  </c:pt>
                  <c:pt idx="12">
                    <c:v>Conserviera Adriatica Spa</c:v>
                  </c:pt>
                  <c:pt idx="13">
                    <c:v>New Food</c:v>
                  </c:pt>
                  <c:pt idx="14">
                    <c:v>Agras 1947</c:v>
                  </c:pt>
                  <c:pt idx="15">
                    <c:v>Garbo Snc Di Comanducci Andrea</c:v>
                  </c:pt>
                  <c:pt idx="16">
                    <c:v>Vis Industrie Alimentari</c:v>
                  </c:pt>
                  <c:pt idx="17">
                    <c:v>Buitoni</c:v>
                  </c:pt>
                  <c:pt idx="18">
                    <c:v>Mittico</c:v>
                  </c:pt>
                  <c:pt idx="19">
                    <c:v>Findus</c:v>
                  </c:pt>
                  <c:pt idx="20">
                    <c:v>Frosta</c:v>
                  </c:pt>
                  <c:pt idx="21">
                    <c:v>Private Label</c:v>
                  </c:pt>
                  <c:pt idx="22">
                    <c:v>Krusta Group</c:v>
                  </c:pt>
                  <c:pt idx="23">
                    <c:v>Pescanova S.A.</c:v>
                  </c:pt>
                  <c:pt idx="24">
                    <c:v>Esca Srl</c:v>
                  </c:pt>
                  <c:pt idx="25">
                    <c:v>Arbi Dario Spa</c:v>
                  </c:pt>
                  <c:pt idx="26">
                    <c:v>Emme Gel</c:v>
                  </c:pt>
                  <c:pt idx="27">
                    <c:v>Green Ice</c:v>
                  </c:pt>
                  <c:pt idx="28">
                    <c:v>Other</c:v>
                  </c:pt>
                  <c:pt idx="29">
                    <c:v>Soavegel</c:v>
                  </c:pt>
                  <c:pt idx="30">
                    <c:v>Buitoni</c:v>
                  </c:pt>
                  <c:pt idx="31">
                    <c:v>Findus</c:v>
                  </c:pt>
                  <c:pt idx="32">
                    <c:v>Other</c:v>
                  </c:pt>
                  <c:pt idx="33">
                    <c:v>Findus</c:v>
                  </c:pt>
                  <c:pt idx="34">
                    <c:v>Private Label</c:v>
                  </c:pt>
                  <c:pt idx="35">
                    <c:v>Esca Srl</c:v>
                  </c:pt>
                  <c:pt idx="36">
                    <c:v>Agras 1947</c:v>
                  </c:pt>
                  <c:pt idx="37">
                    <c:v>Frosta</c:v>
                  </c:pt>
                  <c:pt idx="38">
                    <c:v>Other</c:v>
                  </c:pt>
                  <c:pt idx="39">
                    <c:v>New Food</c:v>
                  </c:pt>
                  <c:pt idx="40">
                    <c:v>Noriberica</c:v>
                  </c:pt>
                  <c:pt idx="41">
                    <c:v>Krusta Group</c:v>
                  </c:pt>
                  <c:pt idx="42">
                    <c:v>Nai Prodotti Ittici</c:v>
                  </c:pt>
                  <c:pt idx="43">
                    <c:v>Green Ice</c:v>
                  </c:pt>
                  <c:pt idx="44">
                    <c:v>Pescanova S.A.</c:v>
                  </c:pt>
                  <c:pt idx="45">
                    <c:v>Alpe Srl - Roma</c:v>
                  </c:pt>
                  <c:pt idx="46">
                    <c:v>Appetais Italia Spa</c:v>
                  </c:pt>
                  <c:pt idx="47">
                    <c:v>Royal Greenland</c:v>
                  </c:pt>
                  <c:pt idx="48">
                    <c:v>Panapesca</c:v>
                  </c:pt>
                  <c:pt idx="49">
                    <c:v>Conserviera Adriatica Spa</c:v>
                  </c:pt>
                  <c:pt idx="50">
                    <c:v>Gerfrio</c:v>
                  </c:pt>
                  <c:pt idx="51">
                    <c:v>Garbo Snc Di Comanducci Andrea</c:v>
                  </c:pt>
                  <c:pt idx="52">
                    <c:v>Vis Industrie Alimentari</c:v>
                  </c:pt>
                  <c:pt idx="53">
                    <c:v>Soavegel</c:v>
                  </c:pt>
                  <c:pt idx="54">
                    <c:v>Nettuno Alimentari Srl</c:v>
                  </c:pt>
                  <c:pt idx="55">
                    <c:v>Buitoni</c:v>
                  </c:pt>
                  <c:pt idx="56">
                    <c:v>Pescanova S.A.</c:v>
                  </c:pt>
                  <c:pt idx="57">
                    <c:v>Alpe Srl - Roma</c:v>
                  </c:pt>
                  <c:pt idx="58">
                    <c:v>Appetais Italia Spa</c:v>
                  </c:pt>
                  <c:pt idx="59">
                    <c:v>Royal Greenland</c:v>
                  </c:pt>
                  <c:pt idx="60">
                    <c:v>Panapesca</c:v>
                  </c:pt>
                  <c:pt idx="61">
                    <c:v>Conserviera Adriatica Spa</c:v>
                  </c:pt>
                  <c:pt idx="62">
                    <c:v>Gerfrio</c:v>
                  </c:pt>
                  <c:pt idx="63">
                    <c:v>Garbo Snc Di Comanducci Andrea</c:v>
                  </c:pt>
                  <c:pt idx="64">
                    <c:v>Vis Industrie Alimentari</c:v>
                  </c:pt>
                  <c:pt idx="65">
                    <c:v>Soavegel</c:v>
                  </c:pt>
                  <c:pt idx="66">
                    <c:v>Nettuno Alimentari Srl</c:v>
                  </c:pt>
                  <c:pt idx="67">
                    <c:v>Buitoni</c:v>
                  </c:pt>
                  <c:pt idx="68">
                    <c:v>Pescanova S.A.</c:v>
                  </c:pt>
                  <c:pt idx="69">
                    <c:v>Alpe Srl - Roma</c:v>
                  </c:pt>
                  <c:pt idx="70">
                    <c:v>Appetais Italia Spa</c:v>
                  </c:pt>
                  <c:pt idx="71">
                    <c:v>Royal Greenland</c:v>
                  </c:pt>
                  <c:pt idx="72">
                    <c:v>Panapesca</c:v>
                  </c:pt>
                  <c:pt idx="73">
                    <c:v>Conserviera Adriatica Spa</c:v>
                  </c:pt>
                  <c:pt idx="74">
                    <c:v>Gerfrio</c:v>
                  </c:pt>
                  <c:pt idx="75">
                    <c:v>Garbo Snc Di Comanducci Andrea</c:v>
                  </c:pt>
                  <c:pt idx="76">
                    <c:v>Vis Industrie Alimentari</c:v>
                  </c:pt>
                  <c:pt idx="77">
                    <c:v>Soavegel</c:v>
                  </c:pt>
                  <c:pt idx="78">
                    <c:v>Nettuno Alimentari Srl</c:v>
                  </c:pt>
                  <c:pt idx="79">
                    <c:v>Buitoni</c:v>
                  </c:pt>
                  <c:pt idx="80">
                    <c:v>Buitoni</c:v>
                  </c:pt>
                  <c:pt idx="81">
                    <c:v>Pescanova S.A.</c:v>
                  </c:pt>
                  <c:pt idx="82">
                    <c:v>Alpe Srl - Roma</c:v>
                  </c:pt>
                  <c:pt idx="83">
                    <c:v>Appetais Italia Spa</c:v>
                  </c:pt>
                  <c:pt idx="84">
                    <c:v>Royal Greenland</c:v>
                  </c:pt>
                  <c:pt idx="85">
                    <c:v>Panapesca</c:v>
                  </c:pt>
                  <c:pt idx="86">
                    <c:v>Conserviera Adriatica Spa</c:v>
                  </c:pt>
                  <c:pt idx="87">
                    <c:v>Gerfrio</c:v>
                  </c:pt>
                  <c:pt idx="88">
                    <c:v>Garbo Snc Di Comanducci Andrea</c:v>
                  </c:pt>
                  <c:pt idx="89">
                    <c:v>Vis Industrie Alimentari</c:v>
                  </c:pt>
                  <c:pt idx="90">
                    <c:v>Soavegel</c:v>
                  </c:pt>
                  <c:pt idx="91">
                    <c:v>Nettuno Alimentari Srl</c:v>
                  </c:pt>
                  <c:pt idx="92">
                    <c:v>Buitoni</c:v>
                  </c:pt>
                  <c:pt idx="93">
                    <c:v>Pescanova S.A.</c:v>
                  </c:pt>
                  <c:pt idx="94">
                    <c:v>Alpe Srl - Roma</c:v>
                  </c:pt>
                  <c:pt idx="95">
                    <c:v>Appetais Italia Spa</c:v>
                  </c:pt>
                  <c:pt idx="96">
                    <c:v>Royal Greenland</c:v>
                  </c:pt>
                  <c:pt idx="97">
                    <c:v>Panapesca</c:v>
                  </c:pt>
                  <c:pt idx="98">
                    <c:v>Conserviera Adriatica Spa</c:v>
                  </c:pt>
                  <c:pt idx="99">
                    <c:v>Gerfrio</c:v>
                  </c:pt>
                  <c:pt idx="100">
                    <c:v>Garbo Snc Di Comanducci Andrea</c:v>
                  </c:pt>
                  <c:pt idx="101">
                    <c:v>Vis Industrie Alimentari</c:v>
                  </c:pt>
                  <c:pt idx="102">
                    <c:v>Soavegel</c:v>
                  </c:pt>
                  <c:pt idx="103">
                    <c:v>Nettuno Alimentari Srl</c:v>
                  </c:pt>
                  <c:pt idx="104">
                    <c:v>Buitoni</c:v>
                  </c:pt>
                  <c:pt idx="105">
                    <c:v>Alpe Srl - Roma</c:v>
                  </c:pt>
                  <c:pt idx="106">
                    <c:v>Appetais Italia Spa</c:v>
                  </c:pt>
                  <c:pt idx="107">
                    <c:v>Royal Greenland</c:v>
                  </c:pt>
                  <c:pt idx="108">
                    <c:v>Panapesca</c:v>
                  </c:pt>
                  <c:pt idx="109">
                    <c:v>Conserviera Adriatica Spa</c:v>
                  </c:pt>
                  <c:pt idx="110">
                    <c:v>Gerfrio</c:v>
                  </c:pt>
                  <c:pt idx="111">
                    <c:v>Garbo Snc Di Comanducci Andrea</c:v>
                  </c:pt>
                  <c:pt idx="112">
                    <c:v>Vis Industrie Alimentari</c:v>
                  </c:pt>
                  <c:pt idx="113">
                    <c:v>Soavegel</c:v>
                  </c:pt>
                  <c:pt idx="114">
                    <c:v>Nettuno Alimentari Srl</c:v>
                  </c:pt>
                  <c:pt idx="115">
                    <c:v>Buitoni</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5"/>
          <c:min val="0.5"/>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chemeClr val="bg2"/>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chemeClr val="bg2"/>
              </a:solidFill>
              <a:ln>
                <a:noFill/>
              </a:ln>
              <a:effectLst/>
            </c:spPr>
            <c:extLst>
              <c:ext xmlns:c16="http://schemas.microsoft.com/office/drawing/2014/chart" uri="{C3380CC4-5D6E-409C-BE32-E72D297353CC}">
                <c16:uniqueId val="{00000005-26FB-4B52-8D72-D56D618E8EAF}"/>
              </c:ext>
            </c:extLst>
          </c:dPt>
          <c:dPt>
            <c:idx val="3"/>
            <c:invertIfNegative val="0"/>
            <c:bubble3D val="0"/>
            <c:extLst>
              <c:ext xmlns:c16="http://schemas.microsoft.com/office/drawing/2014/chart" uri="{C3380CC4-5D6E-409C-BE32-E72D297353CC}">
                <c16:uniqueId val="{00000007-26FB-4B52-8D72-D56D618E8EAF}"/>
              </c:ext>
            </c:extLst>
          </c:dPt>
          <c:dPt>
            <c:idx val="4"/>
            <c:invertIfNegative val="0"/>
            <c:bubble3D val="0"/>
            <c:extLst>
              <c:ext xmlns:c16="http://schemas.microsoft.com/office/drawing/2014/chart" uri="{C3380CC4-5D6E-409C-BE32-E72D297353CC}">
                <c16:uniqueId val="{00000009-26FB-4B52-8D72-D56D618E8EAF}"/>
              </c:ext>
            </c:extLst>
          </c:dPt>
          <c:dPt>
            <c:idx val="5"/>
            <c:invertIfNegative val="0"/>
            <c:bubble3D val="0"/>
            <c:extLst>
              <c:ext xmlns:c16="http://schemas.microsoft.com/office/drawing/2014/chart" uri="{C3380CC4-5D6E-409C-BE32-E72D297353CC}">
                <c16:uniqueId val="{0000000B-26FB-4B52-8D72-D56D618E8EAF}"/>
              </c:ext>
            </c:extLst>
          </c:dPt>
          <c:dPt>
            <c:idx val="6"/>
            <c:invertIfNegative val="0"/>
            <c:bubble3D val="0"/>
            <c:spPr>
              <a:solidFill>
                <a:schemeClr val="bg2"/>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7D0EC37C-CD1A-4B5A-AF46-83EF76013E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22E218B0-F552-46EC-A4C8-5DA28F8C11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B7F546C0-23BB-4898-BA91-902E0DD899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B448E1B4-39C2-4323-920D-34C996A7F8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71BACF0B-A51E-4CE4-AE4F-99DAEB2048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74E8920E-5960-4A61-818E-20E37918E2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947F3FAE-AA28-42F3-8D4A-43952C9E06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8E0E1909-EBA8-466D-B0AC-1E499F15BD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73A54938-7D10-4565-9754-A6DEE6BEEE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5DDB2B1B-E674-46EB-93E3-5EF3EE37CF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D14047DB-4D7F-450C-BA59-3E2EB7FDB3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6A20EA28-BD9B-4689-85E1-DA29E33D5D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26FB-4B52-8D72-D56D618E8EAF}"/>
                </c:ext>
              </c:extLst>
            </c:dLbl>
            <c:dLbl>
              <c:idx val="12"/>
              <c:tx>
                <c:rich>
                  <a:bodyPr/>
                  <a:lstStyle/>
                  <a:p>
                    <a:fld id="{977BB8CF-F1CD-4DB0-8F38-4FCA64D8DD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B2D-4A32-96D2-9C641BCDE5CC}"/>
                </c:ext>
              </c:extLst>
            </c:dLbl>
            <c:dLbl>
              <c:idx val="13"/>
              <c:tx>
                <c:rich>
                  <a:bodyPr/>
                  <a:lstStyle/>
                  <a:p>
                    <a:fld id="{F855FD85-FF09-46D7-9B04-09B877B32C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26FB-4B52-8D72-D56D618E8EAF}"/>
                </c:ext>
              </c:extLst>
            </c:dLbl>
            <c:dLbl>
              <c:idx val="14"/>
              <c:tx>
                <c:rich>
                  <a:bodyPr/>
                  <a:lstStyle/>
                  <a:p>
                    <a:fld id="{02FC079B-CBD8-4033-A09D-A54009BD60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26FB-4B52-8D72-D56D618E8EAF}"/>
                </c:ext>
              </c:extLst>
            </c:dLbl>
            <c:dLbl>
              <c:idx val="15"/>
              <c:tx>
                <c:rich>
                  <a:bodyPr/>
                  <a:lstStyle/>
                  <a:p>
                    <a:fld id="{1C1B2DF6-6786-416F-80F8-65C0995393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26FB-4B52-8D72-D56D618E8EAF}"/>
                </c:ext>
              </c:extLst>
            </c:dLbl>
            <c:dLbl>
              <c:idx val="16"/>
              <c:tx>
                <c:rich>
                  <a:bodyPr/>
                  <a:lstStyle/>
                  <a:p>
                    <a:fld id="{CA51F63D-8CD7-479E-B34D-E97C92C60E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A6E-4C83-9A06-9C3309B2855E}"/>
                </c:ext>
              </c:extLst>
            </c:dLbl>
            <c:dLbl>
              <c:idx val="17"/>
              <c:tx>
                <c:rich>
                  <a:bodyPr/>
                  <a:lstStyle/>
                  <a:p>
                    <a:fld id="{57A52E4C-2800-47DD-8C4C-6445E2AF13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0A6E-4C83-9A06-9C3309B2855E}"/>
                </c:ext>
              </c:extLst>
            </c:dLbl>
            <c:dLbl>
              <c:idx val="18"/>
              <c:tx>
                <c:rich>
                  <a:bodyPr/>
                  <a:lstStyle/>
                  <a:p>
                    <a:fld id="{B1FE186C-EFF3-43F4-B1B1-2545C822EA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A6E-4C83-9A06-9C3309B2855E}"/>
                </c:ext>
              </c:extLst>
            </c:dLbl>
            <c:dLbl>
              <c:idx val="19"/>
              <c:tx>
                <c:rich>
                  <a:bodyPr/>
                  <a:lstStyle/>
                  <a:p>
                    <a:fld id="{05A459B2-A553-4828-8C43-71B52AD5F9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A6E-4C83-9A06-9C3309B2855E}"/>
                </c:ext>
              </c:extLst>
            </c:dLbl>
            <c:dLbl>
              <c:idx val="20"/>
              <c:tx>
                <c:rich>
                  <a:bodyPr/>
                  <a:lstStyle/>
                  <a:p>
                    <a:fld id="{62F895B5-6D90-4916-980D-C646926CFF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C5AD-4BCF-9CB2-60EDA2D7DB42}"/>
                </c:ext>
              </c:extLst>
            </c:dLbl>
            <c:dLbl>
              <c:idx val="21"/>
              <c:tx>
                <c:rich>
                  <a:bodyPr/>
                  <a:lstStyle/>
                  <a:p>
                    <a:fld id="{135FF2F9-F985-4670-9594-F4BC5150C4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5AD-4BCF-9CB2-60EDA2D7DB42}"/>
                </c:ext>
              </c:extLst>
            </c:dLbl>
            <c:dLbl>
              <c:idx val="22"/>
              <c:tx>
                <c:rich>
                  <a:bodyPr/>
                  <a:lstStyle/>
                  <a:p>
                    <a:fld id="{4212BA51-B82C-45C2-9FD8-B778EC3861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5AD-4BCF-9CB2-60EDA2D7DB42}"/>
                </c:ext>
              </c:extLst>
            </c:dLbl>
            <c:dLbl>
              <c:idx val="23"/>
              <c:tx>
                <c:rich>
                  <a:bodyPr/>
                  <a:lstStyle/>
                  <a:p>
                    <a:fld id="{E5F4411E-9C8F-4F95-BF37-DFE458A2A3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5AD-4BCF-9CB2-60EDA2D7DB42}"/>
                </c:ext>
              </c:extLst>
            </c:dLbl>
            <c:dLbl>
              <c:idx val="24"/>
              <c:tx>
                <c:rich>
                  <a:bodyPr/>
                  <a:lstStyle/>
                  <a:p>
                    <a:fld id="{D86A40B7-B018-4542-8437-A14999D3A6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A6E-4C83-9A06-9C3309B2855E}"/>
                </c:ext>
              </c:extLst>
            </c:dLbl>
            <c:dLbl>
              <c:idx val="25"/>
              <c:tx>
                <c:rich>
                  <a:bodyPr/>
                  <a:lstStyle/>
                  <a:p>
                    <a:fld id="{081D9924-F764-47CF-A0E7-80D63CED9A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D12-44DE-B956-CABCB15EBC04}"/>
                </c:ext>
              </c:extLst>
            </c:dLbl>
            <c:dLbl>
              <c:idx val="26"/>
              <c:tx>
                <c:rich>
                  <a:bodyPr/>
                  <a:lstStyle/>
                  <a:p>
                    <a:fld id="{B70579C0-40D4-422F-8BB7-0A44551E0D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D12-44DE-B956-CABCB15EBC04}"/>
                </c:ext>
              </c:extLst>
            </c:dLbl>
            <c:dLbl>
              <c:idx val="27"/>
              <c:tx>
                <c:rich>
                  <a:bodyPr/>
                  <a:lstStyle/>
                  <a:p>
                    <a:fld id="{EFFDF4B9-26C7-4C4C-B87E-CE7921CE83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D12-44DE-B956-CABCB15EBC04}"/>
                </c:ext>
              </c:extLst>
            </c:dLbl>
            <c:dLbl>
              <c:idx val="28"/>
              <c:tx>
                <c:rich>
                  <a:bodyPr/>
                  <a:lstStyle/>
                  <a:p>
                    <a:fld id="{721CD37C-B1E5-4122-9085-CE0CC09464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D12-44DE-B956-CABCB15EBC04}"/>
                </c:ext>
              </c:extLst>
            </c:dLbl>
            <c:dLbl>
              <c:idx val="29"/>
              <c:tx>
                <c:rich>
                  <a:bodyPr/>
                  <a:lstStyle/>
                  <a:p>
                    <a:fld id="{AA81A23F-DDAE-491C-A3A6-FC1191D08C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47-486F-B734-6012CEA493B3}"/>
                </c:ext>
              </c:extLst>
            </c:dLbl>
            <c:dLbl>
              <c:idx val="30"/>
              <c:tx>
                <c:rich>
                  <a:bodyPr/>
                  <a:lstStyle/>
                  <a:p>
                    <a:fld id="{8829A3D4-BD30-4853-8572-CE47A39476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D12-44DE-B956-CABCB15EBC04}"/>
                </c:ext>
              </c:extLst>
            </c:dLbl>
            <c:dLbl>
              <c:idx val="31"/>
              <c:tx>
                <c:rich>
                  <a:bodyPr/>
                  <a:lstStyle/>
                  <a:p>
                    <a:fld id="{7718BD52-F623-45BE-86FE-F28691C6C1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D12-44DE-B956-CABCB15EBC04}"/>
                </c:ext>
              </c:extLst>
            </c:dLbl>
            <c:dLbl>
              <c:idx val="32"/>
              <c:tx>
                <c:rich>
                  <a:bodyPr/>
                  <a:lstStyle/>
                  <a:p>
                    <a:fld id="{E62F3F45-A909-458C-86F5-3B5BA058AD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D12-44DE-B956-CABCB15EBC04}"/>
                </c:ext>
              </c:extLst>
            </c:dLbl>
            <c:dLbl>
              <c:idx val="33"/>
              <c:tx>
                <c:rich>
                  <a:bodyPr/>
                  <a:lstStyle/>
                  <a:p>
                    <a:fld id="{3FCB9D2B-953C-49B5-8206-B3FD8058BD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D12-44DE-B956-CABCB15EBC04}"/>
                </c:ext>
              </c:extLst>
            </c:dLbl>
            <c:dLbl>
              <c:idx val="34"/>
              <c:tx>
                <c:rich>
                  <a:bodyPr/>
                  <a:lstStyle/>
                  <a:p>
                    <a:fld id="{6C98BBB2-1572-4DB0-AB2E-4722AAD680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D12-44DE-B956-CABCB15EBC04}"/>
                </c:ext>
              </c:extLst>
            </c:dLbl>
            <c:dLbl>
              <c:idx val="35"/>
              <c:tx>
                <c:rich>
                  <a:bodyPr/>
                  <a:lstStyle/>
                  <a:p>
                    <a:fld id="{6DACFB17-9366-4B4F-B869-BE101700FB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D12-44DE-B956-CABCB15EBC04}"/>
                </c:ext>
              </c:extLst>
            </c:dLbl>
            <c:dLbl>
              <c:idx val="36"/>
              <c:tx>
                <c:rich>
                  <a:bodyPr/>
                  <a:lstStyle/>
                  <a:p>
                    <a:fld id="{494CE07A-F3E2-4118-BB38-287AA88DF3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D12-44DE-B956-CABCB15EBC04}"/>
                </c:ext>
              </c:extLst>
            </c:dLbl>
            <c:dLbl>
              <c:idx val="37"/>
              <c:tx>
                <c:rich>
                  <a:bodyPr/>
                  <a:lstStyle/>
                  <a:p>
                    <a:fld id="{50F0B697-5473-45AD-A467-5F77D2EB0E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D12-44DE-B956-CABCB15EBC04}"/>
                </c:ext>
              </c:extLst>
            </c:dLbl>
            <c:dLbl>
              <c:idx val="38"/>
              <c:tx>
                <c:rich>
                  <a:bodyPr/>
                  <a:lstStyle/>
                  <a:p>
                    <a:fld id="{E8C00817-7331-4080-B1F8-1B96724857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D12-44DE-B956-CABCB15EBC04}"/>
                </c:ext>
              </c:extLst>
            </c:dLbl>
            <c:dLbl>
              <c:idx val="39"/>
              <c:tx>
                <c:rich>
                  <a:bodyPr/>
                  <a:lstStyle/>
                  <a:p>
                    <a:fld id="{C9B7F7BF-03D1-4363-A94C-37EA638EB0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D12-44DE-B956-CABCB15EBC04}"/>
                </c:ext>
              </c:extLst>
            </c:dLbl>
            <c:dLbl>
              <c:idx val="40"/>
              <c:tx>
                <c:rich>
                  <a:bodyPr/>
                  <a:lstStyle/>
                  <a:p>
                    <a:fld id="{8A1D7D74-2AD7-4C77-9E0C-F2BBF69DFE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D12-44DE-B956-CABCB15EBC04}"/>
                </c:ext>
              </c:extLst>
            </c:dLbl>
            <c:dLbl>
              <c:idx val="41"/>
              <c:tx>
                <c:rich>
                  <a:bodyPr/>
                  <a:lstStyle/>
                  <a:p>
                    <a:fld id="{43CCDD76-4720-4539-9A8F-2AE24695DE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D12-44DE-B956-CABCB15EBC04}"/>
                </c:ext>
              </c:extLst>
            </c:dLbl>
            <c:dLbl>
              <c:idx val="42"/>
              <c:tx>
                <c:rich>
                  <a:bodyPr/>
                  <a:lstStyle/>
                  <a:p>
                    <a:fld id="{4C3F626F-A4A1-4DDB-8E68-DC6A013C2D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D12-44DE-B956-CABCB15EBC04}"/>
                </c:ext>
              </c:extLst>
            </c:dLbl>
            <c:dLbl>
              <c:idx val="43"/>
              <c:tx>
                <c:rich>
                  <a:bodyPr/>
                  <a:lstStyle/>
                  <a:p>
                    <a:fld id="{8A325E42-BBDB-431C-B3A4-2316212886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D12-44DE-B956-CABCB15EBC04}"/>
                </c:ext>
              </c:extLst>
            </c:dLbl>
            <c:dLbl>
              <c:idx val="44"/>
              <c:tx>
                <c:rich>
                  <a:bodyPr/>
                  <a:lstStyle/>
                  <a:p>
                    <a:fld id="{E88436F5-3502-41A2-9CF9-BB1854222B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D12-44DE-B956-CABCB15EBC04}"/>
                </c:ext>
              </c:extLst>
            </c:dLbl>
            <c:dLbl>
              <c:idx val="45"/>
              <c:tx>
                <c:rich>
                  <a:bodyPr/>
                  <a:lstStyle/>
                  <a:p>
                    <a:fld id="{C642A6FB-4953-4DF6-8B29-E310DD60D9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D12-44DE-B956-CABCB15EBC04}"/>
                </c:ext>
              </c:extLst>
            </c:dLbl>
            <c:dLbl>
              <c:idx val="46"/>
              <c:tx>
                <c:rich>
                  <a:bodyPr/>
                  <a:lstStyle/>
                  <a:p>
                    <a:fld id="{72F594D0-4381-4096-81D8-FB64954CFB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D12-44DE-B956-CABCB15EBC04}"/>
                </c:ext>
              </c:extLst>
            </c:dLbl>
            <c:dLbl>
              <c:idx val="47"/>
              <c:tx>
                <c:rich>
                  <a:bodyPr/>
                  <a:lstStyle/>
                  <a:p>
                    <a:fld id="{74A236E2-3A22-48AB-BF1B-8AFA8B00A3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D12-44DE-B956-CABCB15EBC04}"/>
                </c:ext>
              </c:extLst>
            </c:dLbl>
            <c:dLbl>
              <c:idx val="48"/>
              <c:tx>
                <c:rich>
                  <a:bodyPr/>
                  <a:lstStyle/>
                  <a:p>
                    <a:fld id="{CFF21E32-FC17-47C2-AD03-0CA8CDA923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D12-44DE-B956-CABCB15EBC04}"/>
                </c:ext>
              </c:extLst>
            </c:dLbl>
            <c:dLbl>
              <c:idx val="49"/>
              <c:tx>
                <c:rich>
                  <a:bodyPr/>
                  <a:lstStyle/>
                  <a:p>
                    <a:fld id="{AA025167-B31F-49FF-ABC5-89C9CF748A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D12-44DE-B956-CABCB15EBC04}"/>
                </c:ext>
              </c:extLst>
            </c:dLbl>
            <c:dLbl>
              <c:idx val="50"/>
              <c:tx>
                <c:rich>
                  <a:bodyPr/>
                  <a:lstStyle/>
                  <a:p>
                    <a:fld id="{61E7773C-C311-419E-BAD5-D1308B6CB1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D12-44DE-B956-CABCB15EBC04}"/>
                </c:ext>
              </c:extLst>
            </c:dLbl>
            <c:dLbl>
              <c:idx val="51"/>
              <c:tx>
                <c:rich>
                  <a:bodyPr/>
                  <a:lstStyle/>
                  <a:p>
                    <a:fld id="{CE545E1B-3407-4C1A-8149-465519D753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D12-44DE-B956-CABCB15EBC04}"/>
                </c:ext>
              </c:extLst>
            </c:dLbl>
            <c:dLbl>
              <c:idx val="52"/>
              <c:tx>
                <c:rich>
                  <a:bodyPr/>
                  <a:lstStyle/>
                  <a:p>
                    <a:fld id="{DFE383F6-6117-4CCF-8AC5-7F6DA43B06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D12-44DE-B956-CABCB15EBC04}"/>
                </c:ext>
              </c:extLst>
            </c:dLbl>
            <c:dLbl>
              <c:idx val="53"/>
              <c:tx>
                <c:rich>
                  <a:bodyPr/>
                  <a:lstStyle/>
                  <a:p>
                    <a:fld id="{129D6AFE-8890-473F-839D-5A0FEB8AA1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D12-44DE-B956-CABCB15EBC04}"/>
                </c:ext>
              </c:extLst>
            </c:dLbl>
            <c:dLbl>
              <c:idx val="54"/>
              <c:tx>
                <c:rich>
                  <a:bodyPr/>
                  <a:lstStyle/>
                  <a:p>
                    <a:fld id="{7A76852B-E103-49F7-8244-1FC2BA9D38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D12-44DE-B956-CABCB15EBC04}"/>
                </c:ext>
              </c:extLst>
            </c:dLbl>
            <c:dLbl>
              <c:idx val="55"/>
              <c:tx>
                <c:rich>
                  <a:bodyPr/>
                  <a:lstStyle/>
                  <a:p>
                    <a:fld id="{2EE6C50C-1CA8-4D80-B918-5A1AFC2A2A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D12-44DE-B956-CABCB15EBC04}"/>
                </c:ext>
              </c:extLst>
            </c:dLbl>
            <c:dLbl>
              <c:idx val="56"/>
              <c:tx>
                <c:rich>
                  <a:bodyPr/>
                  <a:lstStyle/>
                  <a:p>
                    <a:fld id="{924B717B-2D44-4F3B-9676-B75DAFA78D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8E3F-4D1B-A313-C02BEC0FDBD1}"/>
                </c:ext>
              </c:extLst>
            </c:dLbl>
            <c:dLbl>
              <c:idx val="57"/>
              <c:tx>
                <c:rich>
                  <a:bodyPr/>
                  <a:lstStyle/>
                  <a:p>
                    <a:fld id="{908CDDF4-D10D-4D06-9DFE-84B555F93D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8E3F-4D1B-A313-C02BEC0FDBD1}"/>
                </c:ext>
              </c:extLst>
            </c:dLbl>
            <c:dLbl>
              <c:idx val="58"/>
              <c:tx>
                <c:rich>
                  <a:bodyPr/>
                  <a:lstStyle/>
                  <a:p>
                    <a:fld id="{CB550074-18CB-432F-A14F-EBBFFCCB4F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8E3F-4D1B-A313-C02BEC0FDBD1}"/>
                </c:ext>
              </c:extLst>
            </c:dLbl>
            <c:dLbl>
              <c:idx val="59"/>
              <c:tx>
                <c:rich>
                  <a:bodyPr/>
                  <a:lstStyle/>
                  <a:p>
                    <a:fld id="{AE0AD9AA-2707-4ACA-B041-673AB39E7C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8E3F-4D1B-A313-C02BEC0FDBD1}"/>
                </c:ext>
              </c:extLst>
            </c:dLbl>
            <c:dLbl>
              <c:idx val="60"/>
              <c:tx>
                <c:rich>
                  <a:bodyPr/>
                  <a:lstStyle/>
                  <a:p>
                    <a:fld id="{1D0BC6DA-76D4-4E77-9328-BE7A26144A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8E3F-4D1B-A313-C02BEC0FDBD1}"/>
                </c:ext>
              </c:extLst>
            </c:dLbl>
            <c:dLbl>
              <c:idx val="61"/>
              <c:tx>
                <c:rich>
                  <a:bodyPr/>
                  <a:lstStyle/>
                  <a:p>
                    <a:fld id="{591AEA02-37F9-4705-A17A-3D1D69972E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8E3F-4D1B-A313-C02BEC0FDBD1}"/>
                </c:ext>
              </c:extLst>
            </c:dLbl>
            <c:dLbl>
              <c:idx val="62"/>
              <c:tx>
                <c:rich>
                  <a:bodyPr/>
                  <a:lstStyle/>
                  <a:p>
                    <a:fld id="{88596421-E39C-4A72-83FD-CE71867AE1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8E3F-4D1B-A313-C02BEC0FDBD1}"/>
                </c:ext>
              </c:extLst>
            </c:dLbl>
            <c:dLbl>
              <c:idx val="63"/>
              <c:tx>
                <c:rich>
                  <a:bodyPr/>
                  <a:lstStyle/>
                  <a:p>
                    <a:fld id="{370FCE9C-D76C-429D-8ADD-1E3F57CEF2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8E3F-4D1B-A313-C02BEC0FDBD1}"/>
                </c:ext>
              </c:extLst>
            </c:dLbl>
            <c:dLbl>
              <c:idx val="64"/>
              <c:tx>
                <c:rich>
                  <a:bodyPr/>
                  <a:lstStyle/>
                  <a:p>
                    <a:fld id="{80363770-BE5A-4653-98F1-3503A01A16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8E3F-4D1B-A313-C02BEC0FDBD1}"/>
                </c:ext>
              </c:extLst>
            </c:dLbl>
            <c:dLbl>
              <c:idx val="65"/>
              <c:tx>
                <c:rich>
                  <a:bodyPr/>
                  <a:lstStyle/>
                  <a:p>
                    <a:fld id="{1AA9D075-1E89-4997-A59D-7340F31F11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8E3F-4D1B-A313-C02BEC0FDBD1}"/>
                </c:ext>
              </c:extLst>
            </c:dLbl>
            <c:dLbl>
              <c:idx val="66"/>
              <c:tx>
                <c:rich>
                  <a:bodyPr/>
                  <a:lstStyle/>
                  <a:p>
                    <a:fld id="{5214E966-7C30-44EF-A70B-57E9B66DB5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8E3F-4D1B-A313-C02BEC0FDBD1}"/>
                </c:ext>
              </c:extLst>
            </c:dLbl>
            <c:dLbl>
              <c:idx val="67"/>
              <c:tx>
                <c:rich>
                  <a:bodyPr/>
                  <a:lstStyle/>
                  <a:p>
                    <a:fld id="{A9747B76-7A66-48D4-9E0C-83A320D486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8E3F-4D1B-A313-C02BEC0FDBD1}"/>
                </c:ext>
              </c:extLst>
            </c:dLbl>
            <c:dLbl>
              <c:idx val="68"/>
              <c:tx>
                <c:rich>
                  <a:bodyPr/>
                  <a:lstStyle/>
                  <a:p>
                    <a:fld id="{5E3094DF-A657-4050-9553-8D66A3536B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8E3F-4D1B-A313-C02BEC0FDBD1}"/>
                </c:ext>
              </c:extLst>
            </c:dLbl>
            <c:dLbl>
              <c:idx val="69"/>
              <c:tx>
                <c:rich>
                  <a:bodyPr/>
                  <a:lstStyle/>
                  <a:p>
                    <a:fld id="{F6986F52-E015-4708-8D26-0AAD1B4EC5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8E3F-4D1B-A313-C02BEC0FDBD1}"/>
                </c:ext>
              </c:extLst>
            </c:dLbl>
            <c:dLbl>
              <c:idx val="70"/>
              <c:tx>
                <c:rich>
                  <a:bodyPr/>
                  <a:lstStyle/>
                  <a:p>
                    <a:fld id="{AF656F6F-0955-47AB-AB23-59CE03CCEA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8E3F-4D1B-A313-C02BEC0FDBD1}"/>
                </c:ext>
              </c:extLst>
            </c:dLbl>
            <c:dLbl>
              <c:idx val="71"/>
              <c:tx>
                <c:rich>
                  <a:bodyPr/>
                  <a:lstStyle/>
                  <a:p>
                    <a:fld id="{F263B55B-309E-467F-96BF-4BD1D6BD82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8E3F-4D1B-A313-C02BEC0FDBD1}"/>
                </c:ext>
              </c:extLst>
            </c:dLbl>
            <c:dLbl>
              <c:idx val="72"/>
              <c:tx>
                <c:rich>
                  <a:bodyPr/>
                  <a:lstStyle/>
                  <a:p>
                    <a:fld id="{CEBC69E4-1FF3-49C8-A3C5-43155F5F7A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8E3F-4D1B-A313-C02BEC0FDBD1}"/>
                </c:ext>
              </c:extLst>
            </c:dLbl>
            <c:dLbl>
              <c:idx val="73"/>
              <c:tx>
                <c:rich>
                  <a:bodyPr/>
                  <a:lstStyle/>
                  <a:p>
                    <a:fld id="{95176093-C6A0-4AA4-A004-6FB1EEBC29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8E3F-4D1B-A313-C02BEC0FDBD1}"/>
                </c:ext>
              </c:extLst>
            </c:dLbl>
            <c:dLbl>
              <c:idx val="74"/>
              <c:tx>
                <c:rich>
                  <a:bodyPr/>
                  <a:lstStyle/>
                  <a:p>
                    <a:fld id="{A491A13C-5622-446C-BEF4-5035D6B6F2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8E3F-4D1B-A313-C02BEC0FDBD1}"/>
                </c:ext>
              </c:extLst>
            </c:dLbl>
            <c:dLbl>
              <c:idx val="75"/>
              <c:tx>
                <c:rich>
                  <a:bodyPr/>
                  <a:lstStyle/>
                  <a:p>
                    <a:fld id="{3A42F9C2-DEB6-40FE-B91B-8F256A3C64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8E3F-4D1B-A313-C02BEC0FDBD1}"/>
                </c:ext>
              </c:extLst>
            </c:dLbl>
            <c:dLbl>
              <c:idx val="76"/>
              <c:tx>
                <c:rich>
                  <a:bodyPr/>
                  <a:lstStyle/>
                  <a:p>
                    <a:fld id="{67B89BC9-13A8-4ADD-960E-53DADD09F1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8E3F-4D1B-A313-C02BEC0FDBD1}"/>
                </c:ext>
              </c:extLst>
            </c:dLbl>
            <c:dLbl>
              <c:idx val="77"/>
              <c:tx>
                <c:rich>
                  <a:bodyPr/>
                  <a:lstStyle/>
                  <a:p>
                    <a:fld id="{BDB389E1-2DA4-4A35-92CB-56CF247B87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8E3F-4D1B-A313-C02BEC0FDBD1}"/>
                </c:ext>
              </c:extLst>
            </c:dLbl>
            <c:dLbl>
              <c:idx val="78"/>
              <c:tx>
                <c:rich>
                  <a:bodyPr/>
                  <a:lstStyle/>
                  <a:p>
                    <a:fld id="{C55D28BA-0080-42ED-AF0A-BE6646877B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8E3F-4D1B-A313-C02BEC0FDBD1}"/>
                </c:ext>
              </c:extLst>
            </c:dLbl>
            <c:dLbl>
              <c:idx val="79"/>
              <c:tx>
                <c:rich>
                  <a:bodyPr/>
                  <a:lstStyle/>
                  <a:p>
                    <a:fld id="{E1F8FB7D-1D5C-4B8C-A5C7-D42056FB77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8E3F-4D1B-A313-C02BEC0FDBD1}"/>
                </c:ext>
              </c:extLst>
            </c:dLbl>
            <c:dLbl>
              <c:idx val="80"/>
              <c:tx>
                <c:rich>
                  <a:bodyPr/>
                  <a:lstStyle/>
                  <a:p>
                    <a:fld id="{F544F337-9332-432F-924D-E22431D304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8E3F-4D1B-A313-C02BEC0FDBD1}"/>
                </c:ext>
              </c:extLst>
            </c:dLbl>
            <c:dLbl>
              <c:idx val="81"/>
              <c:tx>
                <c:rich>
                  <a:bodyPr/>
                  <a:lstStyle/>
                  <a:p>
                    <a:fld id="{6A5AA8A5-BA06-4A26-9C09-AABED39968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9-8E3F-4D1B-A313-C02BEC0FDBD1}"/>
                </c:ext>
              </c:extLst>
            </c:dLbl>
            <c:dLbl>
              <c:idx val="82"/>
              <c:tx>
                <c:rich>
                  <a:bodyPr/>
                  <a:lstStyle/>
                  <a:p>
                    <a:fld id="{3A3DFBBC-85A1-433E-A737-351DA34C48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A-8E3F-4D1B-A313-C02BEC0FDBD1}"/>
                </c:ext>
              </c:extLst>
            </c:dLbl>
            <c:dLbl>
              <c:idx val="83"/>
              <c:tx>
                <c:rich>
                  <a:bodyPr/>
                  <a:lstStyle/>
                  <a:p>
                    <a:fld id="{6B878775-4722-487E-9A77-FCEBFB1C7E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B-8E3F-4D1B-A313-C02BEC0FDBD1}"/>
                </c:ext>
              </c:extLst>
            </c:dLbl>
            <c:dLbl>
              <c:idx val="84"/>
              <c:tx>
                <c:rich>
                  <a:bodyPr/>
                  <a:lstStyle/>
                  <a:p>
                    <a:fld id="{A7894F14-545D-4D5E-A51E-2D6202F76C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C-8E3F-4D1B-A313-C02BEC0FDBD1}"/>
                </c:ext>
              </c:extLst>
            </c:dLbl>
            <c:dLbl>
              <c:idx val="85"/>
              <c:tx>
                <c:rich>
                  <a:bodyPr/>
                  <a:lstStyle/>
                  <a:p>
                    <a:fld id="{0EFB5AC9-1409-4763-B90A-834E182173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D-8E3F-4D1B-A313-C02BEC0FDBD1}"/>
                </c:ext>
              </c:extLst>
            </c:dLbl>
            <c:dLbl>
              <c:idx val="86"/>
              <c:tx>
                <c:rich>
                  <a:bodyPr/>
                  <a:lstStyle/>
                  <a:p>
                    <a:fld id="{A40B45F1-2B1E-4378-ADDC-1480F9478D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E-8E3F-4D1B-A313-C02BEC0FDBD1}"/>
                </c:ext>
              </c:extLst>
            </c:dLbl>
            <c:dLbl>
              <c:idx val="87"/>
              <c:tx>
                <c:rich>
                  <a:bodyPr/>
                  <a:lstStyle/>
                  <a:p>
                    <a:fld id="{3E2AFE78-8C8F-40E2-88EB-73ABCFEB6B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F-8E3F-4D1B-A313-C02BEC0FDBD1}"/>
                </c:ext>
              </c:extLst>
            </c:dLbl>
            <c:dLbl>
              <c:idx val="88"/>
              <c:tx>
                <c:rich>
                  <a:bodyPr/>
                  <a:lstStyle/>
                  <a:p>
                    <a:fld id="{13C9A688-931E-4D2E-BC43-9516812916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0-8E3F-4D1B-A313-C02BEC0FDBD1}"/>
                </c:ext>
              </c:extLst>
            </c:dLbl>
            <c:dLbl>
              <c:idx val="89"/>
              <c:tx>
                <c:rich>
                  <a:bodyPr/>
                  <a:lstStyle/>
                  <a:p>
                    <a:fld id="{4CA2C0F4-39B0-47C8-806B-C86FF29097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1-8E3F-4D1B-A313-C02BEC0FDBD1}"/>
                </c:ext>
              </c:extLst>
            </c:dLbl>
            <c:dLbl>
              <c:idx val="90"/>
              <c:tx>
                <c:rich>
                  <a:bodyPr/>
                  <a:lstStyle/>
                  <a:p>
                    <a:fld id="{BEF40202-65A5-4A2C-854E-DCCC480557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2-8E3F-4D1B-A313-C02BEC0FDBD1}"/>
                </c:ext>
              </c:extLst>
            </c:dLbl>
            <c:dLbl>
              <c:idx val="91"/>
              <c:tx>
                <c:rich>
                  <a:bodyPr/>
                  <a:lstStyle/>
                  <a:p>
                    <a:fld id="{91BAA148-A8E8-435A-955E-759BCD358D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3-8E3F-4D1B-A313-C02BEC0FDBD1}"/>
                </c:ext>
              </c:extLst>
            </c:dLbl>
            <c:dLbl>
              <c:idx val="92"/>
              <c:tx>
                <c:rich>
                  <a:bodyPr/>
                  <a:lstStyle/>
                  <a:p>
                    <a:fld id="{219E5122-F5E1-42B6-BF90-AC194C07CC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4-8E3F-4D1B-A313-C02BEC0FDBD1}"/>
                </c:ext>
              </c:extLst>
            </c:dLbl>
            <c:dLbl>
              <c:idx val="93"/>
              <c:tx>
                <c:rich>
                  <a:bodyPr/>
                  <a:lstStyle/>
                  <a:p>
                    <a:fld id="{6E6344B2-7B98-4F2F-BF67-B6C2DA3F45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5-8E3F-4D1B-A313-C02BEC0FDBD1}"/>
                </c:ext>
              </c:extLst>
            </c:dLbl>
            <c:dLbl>
              <c:idx val="94"/>
              <c:tx>
                <c:rich>
                  <a:bodyPr/>
                  <a:lstStyle/>
                  <a:p>
                    <a:fld id="{91A42351-D294-4716-88D3-B5E8E94A6C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6-8E3F-4D1B-A313-C02BEC0FDBD1}"/>
                </c:ext>
              </c:extLst>
            </c:dLbl>
            <c:dLbl>
              <c:idx val="95"/>
              <c:tx>
                <c:rich>
                  <a:bodyPr/>
                  <a:lstStyle/>
                  <a:p>
                    <a:fld id="{5E078F7F-181F-45FE-A0D1-5D6044201A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7-8E3F-4D1B-A313-C02BEC0FDBD1}"/>
                </c:ext>
              </c:extLst>
            </c:dLbl>
            <c:dLbl>
              <c:idx val="96"/>
              <c:tx>
                <c:rich>
                  <a:bodyPr/>
                  <a:lstStyle/>
                  <a:p>
                    <a:fld id="{E60D7E76-1F0D-4135-B4C0-8B2FA77639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8-8E3F-4D1B-A313-C02BEC0FDBD1}"/>
                </c:ext>
              </c:extLst>
            </c:dLbl>
            <c:dLbl>
              <c:idx val="97"/>
              <c:tx>
                <c:rich>
                  <a:bodyPr/>
                  <a:lstStyle/>
                  <a:p>
                    <a:fld id="{FE666668-5467-4C9F-8F42-CBBD5C0C72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9-8E3F-4D1B-A313-C02BEC0FDBD1}"/>
                </c:ext>
              </c:extLst>
            </c:dLbl>
            <c:dLbl>
              <c:idx val="98"/>
              <c:tx>
                <c:rich>
                  <a:bodyPr/>
                  <a:lstStyle/>
                  <a:p>
                    <a:fld id="{491640A0-4F72-499D-B3F6-D2AF9323E2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A-8E3F-4D1B-A313-C02BEC0FDBD1}"/>
                </c:ext>
              </c:extLst>
            </c:dLbl>
            <c:dLbl>
              <c:idx val="99"/>
              <c:tx>
                <c:rich>
                  <a:bodyPr/>
                  <a:lstStyle/>
                  <a:p>
                    <a:fld id="{E332F713-8139-4900-BAFF-4BB4662D0A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B-8E3F-4D1B-A313-C02BEC0FDBD1}"/>
                </c:ext>
              </c:extLst>
            </c:dLbl>
            <c:dLbl>
              <c:idx val="100"/>
              <c:tx>
                <c:rich>
                  <a:bodyPr/>
                  <a:lstStyle/>
                  <a:p>
                    <a:fld id="{06B4C16F-65A2-4994-9F3D-EF7309F2B5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C-8E3F-4D1B-A313-C02BEC0FDBD1}"/>
                </c:ext>
              </c:extLst>
            </c:dLbl>
            <c:dLbl>
              <c:idx val="101"/>
              <c:tx>
                <c:rich>
                  <a:bodyPr/>
                  <a:lstStyle/>
                  <a:p>
                    <a:fld id="{B524DF26-86C5-4F50-BD5C-D6FEE5C803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D-8E3F-4D1B-A313-C02BEC0FDBD1}"/>
                </c:ext>
              </c:extLst>
            </c:dLbl>
            <c:dLbl>
              <c:idx val="102"/>
              <c:tx>
                <c:rich>
                  <a:bodyPr/>
                  <a:lstStyle/>
                  <a:p>
                    <a:fld id="{4B91AAD8-6197-40FC-9D68-D3270515BF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E-8E3F-4D1B-A313-C02BEC0FDBD1}"/>
                </c:ext>
              </c:extLst>
            </c:dLbl>
            <c:dLbl>
              <c:idx val="103"/>
              <c:tx>
                <c:rich>
                  <a:bodyPr/>
                  <a:lstStyle/>
                  <a:p>
                    <a:fld id="{76BCC413-319F-4867-9C5F-BD7568A060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F-8E3F-4D1B-A313-C02BEC0FDBD1}"/>
                </c:ext>
              </c:extLst>
            </c:dLbl>
            <c:dLbl>
              <c:idx val="104"/>
              <c:tx>
                <c:rich>
                  <a:bodyPr/>
                  <a:lstStyle/>
                  <a:p>
                    <a:fld id="{16FBA171-501D-4DE6-B710-BB820BDA1D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0-8E3F-4D1B-A313-C02BEC0FDBD1}"/>
                </c:ext>
              </c:extLst>
            </c:dLbl>
            <c:dLbl>
              <c:idx val="105"/>
              <c:tx>
                <c:rich>
                  <a:bodyPr/>
                  <a:lstStyle/>
                  <a:p>
                    <a:fld id="{5478EB34-C647-47DF-A09E-1223B43609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1-8E3F-4D1B-A313-C02BEC0FDBD1}"/>
                </c:ext>
              </c:extLst>
            </c:dLbl>
            <c:dLbl>
              <c:idx val="106"/>
              <c:tx>
                <c:rich>
                  <a:bodyPr/>
                  <a:lstStyle/>
                  <a:p>
                    <a:fld id="{801848F5-742F-475B-AC72-FCA341B1ED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2-8E3F-4D1B-A313-C02BEC0FDBD1}"/>
                </c:ext>
              </c:extLst>
            </c:dLbl>
            <c:dLbl>
              <c:idx val="107"/>
              <c:tx>
                <c:rich>
                  <a:bodyPr/>
                  <a:lstStyle/>
                  <a:p>
                    <a:fld id="{F1560F11-1F05-4E2D-864A-F92B9E0FD1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3-8E3F-4D1B-A313-C02BEC0FDBD1}"/>
                </c:ext>
              </c:extLst>
            </c:dLbl>
            <c:dLbl>
              <c:idx val="108"/>
              <c:tx>
                <c:rich>
                  <a:bodyPr/>
                  <a:lstStyle/>
                  <a:p>
                    <a:fld id="{90F68EB6-2E78-4D7B-A583-EAEA4CEA3D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4-8E3F-4D1B-A313-C02BEC0FDBD1}"/>
                </c:ext>
              </c:extLst>
            </c:dLbl>
            <c:dLbl>
              <c:idx val="109"/>
              <c:tx>
                <c:rich>
                  <a:bodyPr/>
                  <a:lstStyle/>
                  <a:p>
                    <a:fld id="{0E04D17D-2C4A-43F6-BA97-111B91D04B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5-8E3F-4D1B-A313-C02BEC0FDBD1}"/>
                </c:ext>
              </c:extLst>
            </c:dLbl>
            <c:dLbl>
              <c:idx val="110"/>
              <c:tx>
                <c:rich>
                  <a:bodyPr/>
                  <a:lstStyle/>
                  <a:p>
                    <a:fld id="{8E26D60A-13DC-4452-BADD-A4C54AFCC5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6-8E3F-4D1B-A313-C02BEC0FDBD1}"/>
                </c:ext>
              </c:extLst>
            </c:dLbl>
            <c:dLbl>
              <c:idx val="111"/>
              <c:tx>
                <c:rich>
                  <a:bodyPr/>
                  <a:lstStyle/>
                  <a:p>
                    <a:fld id="{972D4D56-9C0F-4518-A9CF-4488DACCA5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7-8E3F-4D1B-A313-C02BEC0FDBD1}"/>
                </c:ext>
              </c:extLst>
            </c:dLbl>
            <c:dLbl>
              <c:idx val="112"/>
              <c:tx>
                <c:rich>
                  <a:bodyPr/>
                  <a:lstStyle/>
                  <a:p>
                    <a:fld id="{A08E966D-62A7-46E9-8B73-6D1E37CDE9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8-8E3F-4D1B-A313-C02BEC0FDBD1}"/>
                </c:ext>
              </c:extLst>
            </c:dLbl>
            <c:dLbl>
              <c:idx val="113"/>
              <c:tx>
                <c:rich>
                  <a:bodyPr/>
                  <a:lstStyle/>
                  <a:p>
                    <a:fld id="{22E9025F-9C7B-4E19-85B2-109056B2F6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9-8E3F-4D1B-A313-C02BEC0FDBD1}"/>
                </c:ext>
              </c:extLst>
            </c:dLbl>
            <c:dLbl>
              <c:idx val="114"/>
              <c:tx>
                <c:rich>
                  <a:bodyPr/>
                  <a:lstStyle/>
                  <a:p>
                    <a:fld id="{DC3B31F6-D6DA-46A7-9392-CCEA732ED9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A-8E3F-4D1B-A313-C02BEC0FDBD1}"/>
                </c:ext>
              </c:extLst>
            </c:dLbl>
            <c:dLbl>
              <c:idx val="115"/>
              <c:tx>
                <c:rich>
                  <a:bodyPr/>
                  <a:lstStyle/>
                  <a:p>
                    <a:fld id="{59CF07A9-8FFB-412C-8077-18987AC615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D$2:$D$117</c:f>
              <c:numCache>
                <c:formatCode>General</c:formatCode>
                <c:ptCount val="116"/>
                <c:pt idx="0">
                  <c:v>1</c:v>
                </c:pt>
                <c:pt idx="1">
                  <c:v>1</c:v>
                </c:pt>
                <c:pt idx="2">
                  <c:v>1</c:v>
                </c:pt>
                <c:pt idx="3">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15" formatCode="0">
                  <c:v>1</c:v>
                </c:pt>
                <c:pt idx="16" formatCode="0">
                  <c:v>1</c:v>
                </c:pt>
                <c:pt idx="17" formatCode="0">
                  <c:v>2</c:v>
                </c:pt>
                <c:pt idx="18" formatCode="0">
                  <c:v>1</c:v>
                </c:pt>
                <c:pt idx="19" formatCode="0">
                  <c:v>2</c:v>
                </c:pt>
                <c:pt idx="20" formatCode="0">
                  <c:v>2</c:v>
                </c:pt>
                <c:pt idx="21" formatCode="0">
                  <c:v>2</c:v>
                </c:pt>
                <c:pt idx="22" formatCode="0">
                  <c:v>2</c:v>
                </c:pt>
                <c:pt idx="23" formatCode="0">
                  <c:v>2</c:v>
                </c:pt>
                <c:pt idx="24" formatCode="0">
                  <c:v>2</c:v>
                </c:pt>
                <c:pt idx="25" formatCode="0">
                  <c:v>2</c:v>
                </c:pt>
                <c:pt idx="26" formatCode="0">
                  <c:v>2</c:v>
                </c:pt>
                <c:pt idx="27">
                  <c:v>2</c:v>
                </c:pt>
                <c:pt idx="28">
                  <c:v>2</c:v>
                </c:pt>
                <c:pt idx="29">
                  <c:v>2</c:v>
                </c:pt>
                <c:pt idx="30">
                  <c:v>2</c:v>
                </c:pt>
                <c:pt idx="31">
                  <c:v>3</c:v>
                </c:pt>
                <c:pt idx="32">
                  <c:v>3</c:v>
                </c:pt>
                <c:pt idx="33">
                  <c:v>3</c:v>
                </c:pt>
                <c:pt idx="34">
                  <c:v>3</c:v>
                </c:pt>
                <c:pt idx="35">
                  <c:v>3</c:v>
                </c:pt>
                <c:pt idx="36">
                  <c:v>3</c:v>
                </c:pt>
                <c:pt idx="37">
                  <c:v>3</c:v>
                </c:pt>
                <c:pt idx="38">
                  <c:v>3</c:v>
                </c:pt>
                <c:pt idx="39">
                  <c:v>3</c:v>
                </c:pt>
                <c:pt idx="40">
                  <c:v>3</c:v>
                </c:pt>
                <c:pt idx="41">
                  <c:v>3</c:v>
                </c:pt>
                <c:pt idx="42">
                  <c:v>3</c:v>
                </c:pt>
                <c:pt idx="43">
                  <c:v>3</c:v>
                </c:pt>
                <c:pt idx="44">
                  <c:v>4</c:v>
                </c:pt>
                <c:pt idx="45">
                  <c:v>4</c:v>
                </c:pt>
                <c:pt idx="46">
                  <c:v>4</c:v>
                </c:pt>
                <c:pt idx="47">
                  <c:v>4</c:v>
                </c:pt>
                <c:pt idx="48">
                  <c:v>4</c:v>
                </c:pt>
                <c:pt idx="49">
                  <c:v>4</c:v>
                </c:pt>
                <c:pt idx="50">
                  <c:v>4</c:v>
                </c:pt>
                <c:pt idx="51">
                  <c:v>4</c:v>
                </c:pt>
                <c:pt idx="52">
                  <c:v>4</c:v>
                </c:pt>
                <c:pt idx="53">
                  <c:v>4</c:v>
                </c:pt>
                <c:pt idx="54">
                  <c:v>4</c:v>
                </c:pt>
                <c:pt idx="55">
                  <c:v>4</c:v>
                </c:pt>
                <c:pt idx="56">
                  <c:v>4</c:v>
                </c:pt>
                <c:pt idx="57">
                  <c:v>4</c:v>
                </c:pt>
                <c:pt idx="58">
                  <c:v>4</c:v>
                </c:pt>
                <c:pt idx="59">
                  <c:v>4</c:v>
                </c:pt>
                <c:pt idx="60">
                  <c:v>4</c:v>
                </c:pt>
                <c:pt idx="61">
                  <c:v>4</c:v>
                </c:pt>
                <c:pt idx="62">
                  <c:v>4</c:v>
                </c:pt>
                <c:pt idx="63">
                  <c:v>4</c:v>
                </c:pt>
                <c:pt idx="64">
                  <c:v>4</c:v>
                </c:pt>
                <c:pt idx="65">
                  <c:v>4</c:v>
                </c:pt>
                <c:pt idx="66">
                  <c:v>4</c:v>
                </c:pt>
                <c:pt idx="67">
                  <c:v>4</c:v>
                </c:pt>
                <c:pt idx="68">
                  <c:v>5</c:v>
                </c:pt>
                <c:pt idx="69">
                  <c:v>5</c:v>
                </c:pt>
                <c:pt idx="70">
                  <c:v>5</c:v>
                </c:pt>
                <c:pt idx="71">
                  <c:v>5</c:v>
                </c:pt>
                <c:pt idx="72">
                  <c:v>5</c:v>
                </c:pt>
                <c:pt idx="73">
                  <c:v>5</c:v>
                </c:pt>
                <c:pt idx="74">
                  <c:v>5</c:v>
                </c:pt>
                <c:pt idx="75">
                  <c:v>5</c:v>
                </c:pt>
                <c:pt idx="76">
                  <c:v>5</c:v>
                </c:pt>
                <c:pt idx="77">
                  <c:v>5</c:v>
                </c:pt>
                <c:pt idx="78">
                  <c:v>5</c:v>
                </c:pt>
                <c:pt idx="79">
                  <c:v>5</c:v>
                </c:pt>
                <c:pt idx="80">
                  <c:v>6</c:v>
                </c:pt>
                <c:pt idx="81">
                  <c:v>6</c:v>
                </c:pt>
                <c:pt idx="82">
                  <c:v>6</c:v>
                </c:pt>
                <c:pt idx="83">
                  <c:v>6</c:v>
                </c:pt>
                <c:pt idx="84">
                  <c:v>6</c:v>
                </c:pt>
                <c:pt idx="85">
                  <c:v>6</c:v>
                </c:pt>
                <c:pt idx="86">
                  <c:v>6</c:v>
                </c:pt>
                <c:pt idx="87">
                  <c:v>6</c:v>
                </c:pt>
                <c:pt idx="88">
                  <c:v>6</c:v>
                </c:pt>
                <c:pt idx="89">
                  <c:v>6</c:v>
                </c:pt>
                <c:pt idx="90">
                  <c:v>6</c:v>
                </c:pt>
                <c:pt idx="91">
                  <c:v>6</c:v>
                </c:pt>
                <c:pt idx="92">
                  <c:v>6</c:v>
                </c:pt>
                <c:pt idx="93">
                  <c:v>7</c:v>
                </c:pt>
                <c:pt idx="94">
                  <c:v>7</c:v>
                </c:pt>
                <c:pt idx="95">
                  <c:v>7</c:v>
                </c:pt>
                <c:pt idx="96">
                  <c:v>7</c:v>
                </c:pt>
                <c:pt idx="97">
                  <c:v>7</c:v>
                </c:pt>
                <c:pt idx="98">
                  <c:v>7</c:v>
                </c:pt>
                <c:pt idx="99">
                  <c:v>7</c:v>
                </c:pt>
                <c:pt idx="100">
                  <c:v>7</c:v>
                </c:pt>
                <c:pt idx="101">
                  <c:v>7</c:v>
                </c:pt>
                <c:pt idx="102">
                  <c:v>7</c:v>
                </c:pt>
                <c:pt idx="103">
                  <c:v>7</c:v>
                </c:pt>
                <c:pt idx="104">
                  <c:v>7</c:v>
                </c:pt>
                <c:pt idx="105">
                  <c:v>8</c:v>
                </c:pt>
                <c:pt idx="106">
                  <c:v>8</c:v>
                </c:pt>
                <c:pt idx="107">
                  <c:v>8</c:v>
                </c:pt>
                <c:pt idx="108">
                  <c:v>8</c:v>
                </c:pt>
                <c:pt idx="109">
                  <c:v>8</c:v>
                </c:pt>
                <c:pt idx="110">
                  <c:v>8</c:v>
                </c:pt>
                <c:pt idx="111">
                  <c:v>8</c:v>
                </c:pt>
                <c:pt idx="112">
                  <c:v>8</c:v>
                </c:pt>
                <c:pt idx="113">
                  <c:v>8</c:v>
                </c:pt>
                <c:pt idx="114">
                  <c:v>8</c:v>
                </c:pt>
                <c:pt idx="115">
                  <c:v>8</c:v>
                </c:pt>
              </c:numCache>
            </c:numRef>
          </c:xVal>
          <c:yVal>
            <c:numRef>
              <c:f>Sheet1!$B$2:$B$117</c:f>
              <c:numCache>
                <c:formatCode>0%;\-0%;0%</c:formatCode>
                <c:ptCount val="116"/>
                <c:pt idx="0">
                  <c:v>0.33537119853666614</c:v>
                </c:pt>
                <c:pt idx="1">
                  <c:v>1.3110575620733895</c:v>
                </c:pt>
                <c:pt idx="2">
                  <c:v>0.12281129115912857</c:v>
                </c:pt>
                <c:pt idx="3">
                  <c:v>0.52740423038450002</c:v>
                </c:pt>
                <c:pt idx="4">
                  <c:v>0.23394614817291179</c:v>
                </c:pt>
                <c:pt idx="5">
                  <c:v>0.40424723346828612</c:v>
                </c:pt>
                <c:pt idx="6">
                  <c:v>1.0381094546405629</c:v>
                </c:pt>
                <c:pt idx="7">
                  <c:v>0.39464140468177511</c:v>
                </c:pt>
                <c:pt idx="8">
                  <c:v>1.0804710500490677</c:v>
                </c:pt>
                <c:pt idx="9">
                  <c:v>0.29756844074137051</c:v>
                </c:pt>
                <c:pt idx="10">
                  <c:v>0.34245897269923464</c:v>
                </c:pt>
                <c:pt idx="11">
                  <c:v>0.64309733708988459</c:v>
                </c:pt>
                <c:pt idx="12">
                  <c:v>7.6182838813151563E-3</c:v>
                </c:pt>
                <c:pt idx="13">
                  <c:v>7.2727272727272724E-2</c:v>
                </c:pt>
                <c:pt idx="14">
                  <c:v>9.4564818215203822E-2</c:v>
                </c:pt>
                <c:pt idx="15">
                  <c:v>0.97732228521587439</c:v>
                </c:pt>
                <c:pt idx="16">
                  <c:v>0.12916246215943492</c:v>
                </c:pt>
                <c:pt idx="17">
                  <c:v>0</c:v>
                </c:pt>
                <c:pt idx="18">
                  <c:v>0</c:v>
                </c:pt>
                <c:pt idx="19">
                  <c:v>0.67651164854893464</c:v>
                </c:pt>
                <c:pt idx="20">
                  <c:v>1.189595592135231</c:v>
                </c:pt>
                <c:pt idx="21">
                  <c:v>0.17901899226560691</c:v>
                </c:pt>
                <c:pt idx="22">
                  <c:v>1.1122736936699982</c:v>
                </c:pt>
                <c:pt idx="23">
                  <c:v>0.85910295216250121</c:v>
                </c:pt>
                <c:pt idx="24">
                  <c:v>0.98060814099444116</c:v>
                </c:pt>
                <c:pt idx="25">
                  <c:v>0.54450632951838152</c:v>
                </c:pt>
                <c:pt idx="26">
                  <c:v>0.56422668334309645</c:v>
                </c:pt>
                <c:pt idx="27">
                  <c:v>0.30859076520030565</c:v>
                </c:pt>
                <c:pt idx="28">
                  <c:v>-5.088408644400786E-2</c:v>
                </c:pt>
                <c:pt idx="29">
                  <c:v>0.48655046266408436</c:v>
                </c:pt>
                <c:pt idx="30">
                  <c:v>5.8252427184466021E-2</c:v>
                </c:pt>
                <c:pt idx="31">
                  <c:v>0.57528207397007924</c:v>
                </c:pt>
                <c:pt idx="32">
                  <c:v>0</c:v>
                </c:pt>
                <c:pt idx="33">
                  <c:v>0.34969330141134647</c:v>
                </c:pt>
                <c:pt idx="34">
                  <c:v>9.3618913842698215E-2</c:v>
                </c:pt>
                <c:pt idx="35">
                  <c:v>0.39086369781125707</c:v>
                </c:pt>
                <c:pt idx="36">
                  <c:v>0.53102946813067886</c:v>
                </c:pt>
                <c:pt idx="37">
                  <c:v>0.30671829359418518</c:v>
                </c:pt>
                <c:pt idx="38">
                  <c:v>4.7373658397896083E-2</c:v>
                </c:pt>
                <c:pt idx="39">
                  <c:v>9.8011706773204491E-2</c:v>
                </c:pt>
                <c:pt idx="40">
                  <c:v>5.9622372365136428E-2</c:v>
                </c:pt>
                <c:pt idx="41">
                  <c:v>0.3325076129317282</c:v>
                </c:pt>
                <c:pt idx="42">
                  <c:v>1.6811941832822908E-2</c:v>
                </c:pt>
                <c:pt idx="43">
                  <c:v>0.13383247543284979</c:v>
                </c:pt>
                <c:pt idx="44">
                  <c:v>0.18520227334689512</c:v>
                </c:pt>
                <c:pt idx="45">
                  <c:v>0.15534287581423784</c:v>
                </c:pt>
                <c:pt idx="46">
                  <c:v>0.27216813979063992</c:v>
                </c:pt>
                <c:pt idx="47">
                  <c:v>0.14428544647878522</c:v>
                </c:pt>
                <c:pt idx="48">
                  <c:v>8.9574245868403263E-2</c:v>
                </c:pt>
                <c:pt idx="49">
                  <c:v>0.29961779961779961</c:v>
                </c:pt>
                <c:pt idx="50">
                  <c:v>0.32942695401728078</c:v>
                </c:pt>
                <c:pt idx="51">
                  <c:v>0.79519295870006768</c:v>
                </c:pt>
                <c:pt idx="52">
                  <c:v>5.1974626560261916E-2</c:v>
                </c:pt>
                <c:pt idx="53">
                  <c:v>-2.5057825751734774E-2</c:v>
                </c:pt>
                <c:pt idx="54">
                  <c:v>-0.28899835796387519</c:v>
                </c:pt>
                <c:pt idx="55">
                  <c:v>0</c:v>
                </c:pt>
                <c:pt idx="56" formatCode="0.00%">
                  <c:v>0.18520227334689512</c:v>
                </c:pt>
                <c:pt idx="57" formatCode="0.00%">
                  <c:v>0.15534287581423784</c:v>
                </c:pt>
                <c:pt idx="58" formatCode="0.00%">
                  <c:v>0.27216813979063992</c:v>
                </c:pt>
                <c:pt idx="59" formatCode="0.00%">
                  <c:v>0.14428544647878522</c:v>
                </c:pt>
                <c:pt idx="60" formatCode="0.00%">
                  <c:v>8.9574245868403263E-2</c:v>
                </c:pt>
                <c:pt idx="61" formatCode="0.00%">
                  <c:v>0.29961779961779961</c:v>
                </c:pt>
                <c:pt idx="62" formatCode="0.00%">
                  <c:v>0.32942695401728078</c:v>
                </c:pt>
                <c:pt idx="63" formatCode="0.00%">
                  <c:v>0.79519295870006768</c:v>
                </c:pt>
                <c:pt idx="64" formatCode="0.00%">
                  <c:v>5.1974626560261916E-2</c:v>
                </c:pt>
                <c:pt idx="65" formatCode="0.00%">
                  <c:v>-2.5057825751734774E-2</c:v>
                </c:pt>
                <c:pt idx="66" formatCode="0.00%">
                  <c:v>-0.28899835796387519</c:v>
                </c:pt>
                <c:pt idx="67" formatCode="0.00%">
                  <c:v>0</c:v>
                </c:pt>
                <c:pt idx="68" formatCode="General">
                  <c:v>0.18520227334689512</c:v>
                </c:pt>
                <c:pt idx="69" formatCode="General">
                  <c:v>0.15534287581423784</c:v>
                </c:pt>
                <c:pt idx="70" formatCode="General">
                  <c:v>0.27216813979063992</c:v>
                </c:pt>
                <c:pt idx="71" formatCode="General">
                  <c:v>0.14428544647878522</c:v>
                </c:pt>
                <c:pt idx="72" formatCode="General">
                  <c:v>8.9574245868403263E-2</c:v>
                </c:pt>
                <c:pt idx="73" formatCode="General">
                  <c:v>0.29961779961779961</c:v>
                </c:pt>
                <c:pt idx="74" formatCode="General">
                  <c:v>0.32942695401728078</c:v>
                </c:pt>
                <c:pt idx="75" formatCode="General">
                  <c:v>0.79519295870006768</c:v>
                </c:pt>
                <c:pt idx="76" formatCode="General">
                  <c:v>5.1974626560261916E-2</c:v>
                </c:pt>
                <c:pt idx="77" formatCode="General">
                  <c:v>-2.5057825751734774E-2</c:v>
                </c:pt>
                <c:pt idx="78" formatCode="General">
                  <c:v>-0.28899835796387519</c:v>
                </c:pt>
                <c:pt idx="79" formatCode="General">
                  <c:v>0</c:v>
                </c:pt>
                <c:pt idx="80" formatCode="General">
                  <c:v>0</c:v>
                </c:pt>
                <c:pt idx="81" formatCode="General">
                  <c:v>0.18520227334689512</c:v>
                </c:pt>
                <c:pt idx="82" formatCode="General">
                  <c:v>0.15534287581423784</c:v>
                </c:pt>
                <c:pt idx="83" formatCode="General">
                  <c:v>0.27216813979063992</c:v>
                </c:pt>
                <c:pt idx="84" formatCode="General">
                  <c:v>0.14428544647878522</c:v>
                </c:pt>
                <c:pt idx="85" formatCode="General">
                  <c:v>8.9574245868403263E-2</c:v>
                </c:pt>
                <c:pt idx="86" formatCode="General">
                  <c:v>0.29961779961779961</c:v>
                </c:pt>
                <c:pt idx="87" formatCode="General">
                  <c:v>0.32942695401728078</c:v>
                </c:pt>
                <c:pt idx="88" formatCode="General">
                  <c:v>0.79519295870006768</c:v>
                </c:pt>
                <c:pt idx="89" formatCode="General">
                  <c:v>5.1974626560261916E-2</c:v>
                </c:pt>
                <c:pt idx="90" formatCode="General">
                  <c:v>-2.5057825751734774E-2</c:v>
                </c:pt>
                <c:pt idx="91" formatCode="General">
                  <c:v>-0.28899835796387519</c:v>
                </c:pt>
                <c:pt idx="92" formatCode="General">
                  <c:v>0</c:v>
                </c:pt>
                <c:pt idx="93" formatCode="General">
                  <c:v>0.18520227334689512</c:v>
                </c:pt>
                <c:pt idx="94" formatCode="General">
                  <c:v>0.15534287581423784</c:v>
                </c:pt>
                <c:pt idx="95" formatCode="General">
                  <c:v>0.27216813979063992</c:v>
                </c:pt>
                <c:pt idx="96" formatCode="General">
                  <c:v>0.14428544647878522</c:v>
                </c:pt>
                <c:pt idx="97" formatCode="General">
                  <c:v>8.9574245868403263E-2</c:v>
                </c:pt>
                <c:pt idx="98" formatCode="General">
                  <c:v>0.29961779961779961</c:v>
                </c:pt>
                <c:pt idx="99" formatCode="General">
                  <c:v>0.32942695401728078</c:v>
                </c:pt>
                <c:pt idx="100" formatCode="General">
                  <c:v>0.79519295870006768</c:v>
                </c:pt>
                <c:pt idx="101" formatCode="General">
                  <c:v>5.1974626560261916E-2</c:v>
                </c:pt>
                <c:pt idx="102" formatCode="General">
                  <c:v>-2.5057825751734774E-2</c:v>
                </c:pt>
                <c:pt idx="103" formatCode="General">
                  <c:v>-0.28899835796387519</c:v>
                </c:pt>
                <c:pt idx="104" formatCode="General">
                  <c:v>0</c:v>
                </c:pt>
                <c:pt idx="105" formatCode="General">
                  <c:v>0.15534287581423784</c:v>
                </c:pt>
                <c:pt idx="106" formatCode="General">
                  <c:v>0.27216813979063992</c:v>
                </c:pt>
                <c:pt idx="107" formatCode="General">
                  <c:v>0.14428544647878522</c:v>
                </c:pt>
                <c:pt idx="108" formatCode="General">
                  <c:v>8.9574245868403263E-2</c:v>
                </c:pt>
                <c:pt idx="109" formatCode="General">
                  <c:v>0.29961779961779961</c:v>
                </c:pt>
                <c:pt idx="110" formatCode="General">
                  <c:v>0.32942695401728078</c:v>
                </c:pt>
                <c:pt idx="111" formatCode="General">
                  <c:v>0.79519295870006768</c:v>
                </c:pt>
                <c:pt idx="112" formatCode="General">
                  <c:v>5.1974626560261916E-2</c:v>
                </c:pt>
                <c:pt idx="113" formatCode="General">
                  <c:v>-2.5057825751734774E-2</c:v>
                </c:pt>
                <c:pt idx="114" formatCode="General">
                  <c:v>-0.28899835796387519</c:v>
                </c:pt>
                <c:pt idx="115" formatCode="General">
                  <c:v>0</c:v>
                </c:pt>
              </c:numCache>
            </c:numRef>
          </c:yVal>
          <c:bubbleSize>
            <c:numRef>
              <c:f>Sheet1!$C$2:$C$117</c:f>
              <c:numCache>
                <c:formatCode>0%;\-0%;0%</c:formatCode>
                <c:ptCount val="116"/>
                <c:pt idx="0">
                  <c:v>4111084</c:v>
                </c:pt>
                <c:pt idx="1">
                  <c:v>1160533</c:v>
                </c:pt>
                <c:pt idx="2">
                  <c:v>1117212</c:v>
                </c:pt>
                <c:pt idx="3">
                  <c:v>504428</c:v>
                </c:pt>
                <c:pt idx="4">
                  <c:v>459435</c:v>
                </c:pt>
                <c:pt idx="5">
                  <c:v>386077</c:v>
                </c:pt>
                <c:pt idx="6">
                  <c:v>277647</c:v>
                </c:pt>
                <c:pt idx="7">
                  <c:v>222216</c:v>
                </c:pt>
                <c:pt idx="8">
                  <c:v>108739</c:v>
                </c:pt>
                <c:pt idx="9">
                  <c:v>100141</c:v>
                </c:pt>
                <c:pt idx="10">
                  <c:v>18851</c:v>
                </c:pt>
                <c:pt idx="11">
                  <c:v>13981</c:v>
                </c:pt>
                <c:pt idx="12">
                  <c:v>10864</c:v>
                </c:pt>
                <c:pt idx="13">
                  <c:v>7717</c:v>
                </c:pt>
                <c:pt idx="14">
                  <c:v>7439</c:v>
                </c:pt>
                <c:pt idx="15">
                  <c:v>4428</c:v>
                </c:pt>
                <c:pt idx="16">
                  <c:v>1120</c:v>
                </c:pt>
                <c:pt idx="17">
                  <c:v>21</c:v>
                </c:pt>
                <c:pt idx="18">
                  <c:v>0</c:v>
                </c:pt>
                <c:pt idx="19">
                  <c:v>12037304</c:v>
                </c:pt>
                <c:pt idx="20">
                  <c:v>5124041</c:v>
                </c:pt>
                <c:pt idx="21">
                  <c:v>4271666</c:v>
                </c:pt>
                <c:pt idx="22">
                  <c:v>1061364</c:v>
                </c:pt>
                <c:pt idx="23">
                  <c:v>786468</c:v>
                </c:pt>
                <c:pt idx="24">
                  <c:v>606283</c:v>
                </c:pt>
                <c:pt idx="25">
                  <c:v>479058</c:v>
                </c:pt>
                <c:pt idx="26">
                  <c:v>306437</c:v>
                </c:pt>
                <c:pt idx="27">
                  <c:v>83930</c:v>
                </c:pt>
                <c:pt idx="28">
                  <c:v>32553</c:v>
                </c:pt>
                <c:pt idx="29">
                  <c:v>24613</c:v>
                </c:pt>
                <c:pt idx="30">
                  <c:v>42</c:v>
                </c:pt>
                <c:pt idx="31">
                  <c:v>16067456</c:v>
                </c:pt>
                <c:pt idx="32">
                  <c:v>0</c:v>
                </c:pt>
                <c:pt idx="33">
                  <c:v>2257543</c:v>
                </c:pt>
                <c:pt idx="34">
                  <c:v>350113</c:v>
                </c:pt>
                <c:pt idx="35">
                  <c:v>238922</c:v>
                </c:pt>
                <c:pt idx="36">
                  <c:v>178620</c:v>
                </c:pt>
                <c:pt idx="37">
                  <c:v>98148</c:v>
                </c:pt>
                <c:pt idx="38">
                  <c:v>76752</c:v>
                </c:pt>
                <c:pt idx="39">
                  <c:v>59927</c:v>
                </c:pt>
                <c:pt idx="40">
                  <c:v>59154</c:v>
                </c:pt>
                <c:pt idx="41">
                  <c:v>58860</c:v>
                </c:pt>
                <c:pt idx="42">
                  <c:v>53214</c:v>
                </c:pt>
                <c:pt idx="43">
                  <c:v>45806</c:v>
                </c:pt>
                <c:pt idx="44">
                  <c:v>33868</c:v>
                </c:pt>
                <c:pt idx="45">
                  <c:v>28590</c:v>
                </c:pt>
                <c:pt idx="46">
                  <c:v>26827</c:v>
                </c:pt>
                <c:pt idx="47">
                  <c:v>15746</c:v>
                </c:pt>
                <c:pt idx="48">
                  <c:v>10871</c:v>
                </c:pt>
                <c:pt idx="49">
                  <c:v>10018</c:v>
                </c:pt>
                <c:pt idx="50">
                  <c:v>4962</c:v>
                </c:pt>
                <c:pt idx="51">
                  <c:v>4865</c:v>
                </c:pt>
                <c:pt idx="52">
                  <c:v>3900</c:v>
                </c:pt>
                <c:pt idx="53">
                  <c:v>1677</c:v>
                </c:pt>
                <c:pt idx="54">
                  <c:v>297</c:v>
                </c:pt>
                <c:pt idx="55">
                  <c:v>0</c:v>
                </c:pt>
                <c:pt idx="56" formatCode="General">
                  <c:v>33868</c:v>
                </c:pt>
                <c:pt idx="57" formatCode="General">
                  <c:v>28590</c:v>
                </c:pt>
                <c:pt idx="58" formatCode="General">
                  <c:v>26827</c:v>
                </c:pt>
                <c:pt idx="59" formatCode="General">
                  <c:v>15746</c:v>
                </c:pt>
                <c:pt idx="60" formatCode="General">
                  <c:v>10871</c:v>
                </c:pt>
                <c:pt idx="61" formatCode="General">
                  <c:v>10018</c:v>
                </c:pt>
                <c:pt idx="62" formatCode="General">
                  <c:v>4962</c:v>
                </c:pt>
                <c:pt idx="63" formatCode="General">
                  <c:v>4865</c:v>
                </c:pt>
                <c:pt idx="64" formatCode="General">
                  <c:v>3900</c:v>
                </c:pt>
                <c:pt idx="65" formatCode="General">
                  <c:v>1677</c:v>
                </c:pt>
                <c:pt idx="66" formatCode="General">
                  <c:v>297</c:v>
                </c:pt>
                <c:pt idx="67" formatCode="General">
                  <c:v>0</c:v>
                </c:pt>
                <c:pt idx="68" formatCode="General">
                  <c:v>33868</c:v>
                </c:pt>
                <c:pt idx="69" formatCode="General">
                  <c:v>28590</c:v>
                </c:pt>
                <c:pt idx="70" formatCode="General">
                  <c:v>26827</c:v>
                </c:pt>
                <c:pt idx="71" formatCode="General">
                  <c:v>15746</c:v>
                </c:pt>
                <c:pt idx="72" formatCode="General">
                  <c:v>10871</c:v>
                </c:pt>
                <c:pt idx="73" formatCode="General">
                  <c:v>10018</c:v>
                </c:pt>
                <c:pt idx="74" formatCode="General">
                  <c:v>4962</c:v>
                </c:pt>
                <c:pt idx="75" formatCode="General">
                  <c:v>4865</c:v>
                </c:pt>
                <c:pt idx="76" formatCode="General">
                  <c:v>3900</c:v>
                </c:pt>
                <c:pt idx="77" formatCode="General">
                  <c:v>1677</c:v>
                </c:pt>
                <c:pt idx="78" formatCode="General">
                  <c:v>297</c:v>
                </c:pt>
                <c:pt idx="79" formatCode="General">
                  <c:v>0</c:v>
                </c:pt>
                <c:pt idx="80" formatCode="General">
                  <c:v>0</c:v>
                </c:pt>
                <c:pt idx="81" formatCode="General">
                  <c:v>33868</c:v>
                </c:pt>
                <c:pt idx="82" formatCode="General">
                  <c:v>28590</c:v>
                </c:pt>
                <c:pt idx="83" formatCode="General">
                  <c:v>26827</c:v>
                </c:pt>
                <c:pt idx="84" formatCode="General">
                  <c:v>15746</c:v>
                </c:pt>
                <c:pt idx="85" formatCode="General">
                  <c:v>10871</c:v>
                </c:pt>
                <c:pt idx="86" formatCode="General">
                  <c:v>10018</c:v>
                </c:pt>
                <c:pt idx="87" formatCode="General">
                  <c:v>4962</c:v>
                </c:pt>
                <c:pt idx="88" formatCode="General">
                  <c:v>4865</c:v>
                </c:pt>
                <c:pt idx="89" formatCode="General">
                  <c:v>3900</c:v>
                </c:pt>
                <c:pt idx="90" formatCode="General">
                  <c:v>1677</c:v>
                </c:pt>
                <c:pt idx="91" formatCode="General">
                  <c:v>297</c:v>
                </c:pt>
                <c:pt idx="92" formatCode="General">
                  <c:v>0</c:v>
                </c:pt>
                <c:pt idx="93" formatCode="General">
                  <c:v>33868</c:v>
                </c:pt>
                <c:pt idx="94" formatCode="General">
                  <c:v>28590</c:v>
                </c:pt>
                <c:pt idx="95" formatCode="General">
                  <c:v>26827</c:v>
                </c:pt>
                <c:pt idx="96" formatCode="General">
                  <c:v>15746</c:v>
                </c:pt>
                <c:pt idx="97" formatCode="General">
                  <c:v>10871</c:v>
                </c:pt>
                <c:pt idx="98" formatCode="General">
                  <c:v>10018</c:v>
                </c:pt>
                <c:pt idx="99" formatCode="General">
                  <c:v>4962</c:v>
                </c:pt>
                <c:pt idx="100" formatCode="General">
                  <c:v>4865</c:v>
                </c:pt>
                <c:pt idx="101" formatCode="General">
                  <c:v>3900</c:v>
                </c:pt>
                <c:pt idx="102" formatCode="General">
                  <c:v>1677</c:v>
                </c:pt>
                <c:pt idx="103" formatCode="General">
                  <c:v>297</c:v>
                </c:pt>
                <c:pt idx="104" formatCode="General">
                  <c:v>0</c:v>
                </c:pt>
                <c:pt idx="105" formatCode="General">
                  <c:v>28590</c:v>
                </c:pt>
                <c:pt idx="106" formatCode="General">
                  <c:v>26827</c:v>
                </c:pt>
                <c:pt idx="107" formatCode="General">
                  <c:v>15746</c:v>
                </c:pt>
                <c:pt idx="108" formatCode="General">
                  <c:v>10871</c:v>
                </c:pt>
                <c:pt idx="109" formatCode="General">
                  <c:v>10018</c:v>
                </c:pt>
                <c:pt idx="110" formatCode="General">
                  <c:v>4962</c:v>
                </c:pt>
                <c:pt idx="111" formatCode="General">
                  <c:v>4865</c:v>
                </c:pt>
                <c:pt idx="112" formatCode="General">
                  <c:v>3900</c:v>
                </c:pt>
                <c:pt idx="113" formatCode="General">
                  <c:v>1677</c:v>
                </c:pt>
                <c:pt idx="114" formatCode="General">
                  <c:v>297</c:v>
                </c:pt>
                <c:pt idx="115" formatCode="General">
                  <c:v>0</c:v>
                </c:pt>
              </c:numCache>
            </c:numRef>
          </c:bubbleSize>
          <c:bubble3D val="0"/>
          <c:extLst>
            <c:ext xmlns:c15="http://schemas.microsoft.com/office/drawing/2012/chart" uri="{02D57815-91ED-43cb-92C2-25804820EDAC}">
              <c15:datalabelsRange>
                <c15:f>Sheet1!$E$2:$E$150</c15:f>
                <c15:dlblRangeCache>
                  <c:ptCount val="149"/>
                  <c:pt idx="0">
                    <c:v>Findus</c:v>
                  </c:pt>
                  <c:pt idx="1">
                    <c:v>Pescanova S.A.</c:v>
                  </c:pt>
                  <c:pt idx="2">
                    <c:v>Private Label</c:v>
                  </c:pt>
                  <c:pt idx="3">
                    <c:v>Frosta</c:v>
                  </c:pt>
                  <c:pt idx="4">
                    <c:v>Panapesca</c:v>
                  </c:pt>
                  <c:pt idx="5">
                    <c:v>Other</c:v>
                  </c:pt>
                  <c:pt idx="6">
                    <c:v>Esca Srl</c:v>
                  </c:pt>
                  <c:pt idx="7">
                    <c:v>Arbi Dario Spa</c:v>
                  </c:pt>
                  <c:pt idx="8">
                    <c:v>Krusta Group</c:v>
                  </c:pt>
                  <c:pt idx="9">
                    <c:v>Fandicosta</c:v>
                  </c:pt>
                  <c:pt idx="10">
                    <c:v>Green Ice</c:v>
                  </c:pt>
                  <c:pt idx="11">
                    <c:v>Alpe Srl - Roma</c:v>
                  </c:pt>
                  <c:pt idx="12">
                    <c:v>Conserviera Adriatica Spa</c:v>
                  </c:pt>
                  <c:pt idx="13">
                    <c:v>New Food</c:v>
                  </c:pt>
                  <c:pt idx="14">
                    <c:v>Agras 1947</c:v>
                  </c:pt>
                  <c:pt idx="15">
                    <c:v>Garbo Snc Di Comanducci Andrea</c:v>
                  </c:pt>
                  <c:pt idx="16">
                    <c:v>Vis Industrie Alimentari</c:v>
                  </c:pt>
                  <c:pt idx="17">
                    <c:v>Buitoni</c:v>
                  </c:pt>
                  <c:pt idx="18">
                    <c:v>Mittico</c:v>
                  </c:pt>
                  <c:pt idx="19">
                    <c:v>Findus</c:v>
                  </c:pt>
                  <c:pt idx="20">
                    <c:v>Frosta</c:v>
                  </c:pt>
                  <c:pt idx="21">
                    <c:v>Private Label</c:v>
                  </c:pt>
                  <c:pt idx="22">
                    <c:v>Krusta Group</c:v>
                  </c:pt>
                  <c:pt idx="23">
                    <c:v>Pescanova S.A.</c:v>
                  </c:pt>
                  <c:pt idx="24">
                    <c:v>Esca Srl</c:v>
                  </c:pt>
                  <c:pt idx="25">
                    <c:v>Arbi Dario Spa</c:v>
                  </c:pt>
                  <c:pt idx="26">
                    <c:v>Emme Gel</c:v>
                  </c:pt>
                  <c:pt idx="27">
                    <c:v>Green Ice</c:v>
                  </c:pt>
                  <c:pt idx="28">
                    <c:v>Other</c:v>
                  </c:pt>
                  <c:pt idx="29">
                    <c:v>Soavegel</c:v>
                  </c:pt>
                  <c:pt idx="30">
                    <c:v>Buitoni</c:v>
                  </c:pt>
                  <c:pt idx="31">
                    <c:v>Findus</c:v>
                  </c:pt>
                  <c:pt idx="32">
                    <c:v>Other</c:v>
                  </c:pt>
                  <c:pt idx="33">
                    <c:v>Findus</c:v>
                  </c:pt>
                  <c:pt idx="34">
                    <c:v>Private Label</c:v>
                  </c:pt>
                  <c:pt idx="35">
                    <c:v>Esca Srl</c:v>
                  </c:pt>
                  <c:pt idx="36">
                    <c:v>Agras 1947</c:v>
                  </c:pt>
                  <c:pt idx="37">
                    <c:v>Frosta</c:v>
                  </c:pt>
                  <c:pt idx="38">
                    <c:v>Other</c:v>
                  </c:pt>
                  <c:pt idx="39">
                    <c:v>New Food</c:v>
                  </c:pt>
                  <c:pt idx="40">
                    <c:v>Noriberica</c:v>
                  </c:pt>
                  <c:pt idx="41">
                    <c:v>Krusta Group</c:v>
                  </c:pt>
                  <c:pt idx="42">
                    <c:v>Nai Prodotti Ittici</c:v>
                  </c:pt>
                  <c:pt idx="43">
                    <c:v>Green Ice</c:v>
                  </c:pt>
                  <c:pt idx="44">
                    <c:v>Pescanova S.A.</c:v>
                  </c:pt>
                  <c:pt idx="45">
                    <c:v>Alpe Srl - Roma</c:v>
                  </c:pt>
                  <c:pt idx="46">
                    <c:v>Appetais Italia Spa</c:v>
                  </c:pt>
                  <c:pt idx="47">
                    <c:v>Royal Greenland</c:v>
                  </c:pt>
                  <c:pt idx="48">
                    <c:v>Panapesca</c:v>
                  </c:pt>
                  <c:pt idx="49">
                    <c:v>Conserviera Adriatica Spa</c:v>
                  </c:pt>
                  <c:pt idx="50">
                    <c:v>Gerfrio</c:v>
                  </c:pt>
                  <c:pt idx="51">
                    <c:v>Garbo Snc Di Comanducci Andrea</c:v>
                  </c:pt>
                  <c:pt idx="52">
                    <c:v>Vis Industrie Alimentari</c:v>
                  </c:pt>
                  <c:pt idx="53">
                    <c:v>Soavegel</c:v>
                  </c:pt>
                  <c:pt idx="54">
                    <c:v>Nettuno Alimentari Srl</c:v>
                  </c:pt>
                  <c:pt idx="55">
                    <c:v>Buitoni</c:v>
                  </c:pt>
                  <c:pt idx="56">
                    <c:v>Pescanova S.A.</c:v>
                  </c:pt>
                  <c:pt idx="57">
                    <c:v>Alpe Srl - Roma</c:v>
                  </c:pt>
                  <c:pt idx="58">
                    <c:v>Appetais Italia Spa</c:v>
                  </c:pt>
                  <c:pt idx="59">
                    <c:v>Royal Greenland</c:v>
                  </c:pt>
                  <c:pt idx="60">
                    <c:v>Panapesca</c:v>
                  </c:pt>
                  <c:pt idx="61">
                    <c:v>Conserviera Adriatica Spa</c:v>
                  </c:pt>
                  <c:pt idx="62">
                    <c:v>Gerfrio</c:v>
                  </c:pt>
                  <c:pt idx="63">
                    <c:v>Garbo Snc Di Comanducci Andrea</c:v>
                  </c:pt>
                  <c:pt idx="64">
                    <c:v>Vis Industrie Alimentari</c:v>
                  </c:pt>
                  <c:pt idx="65">
                    <c:v>Soavegel</c:v>
                  </c:pt>
                  <c:pt idx="66">
                    <c:v>Nettuno Alimentari Srl</c:v>
                  </c:pt>
                  <c:pt idx="67">
                    <c:v>Buitoni</c:v>
                  </c:pt>
                  <c:pt idx="68">
                    <c:v>Pescanova S.A.</c:v>
                  </c:pt>
                  <c:pt idx="69">
                    <c:v>Alpe Srl - Roma</c:v>
                  </c:pt>
                  <c:pt idx="70">
                    <c:v>Appetais Italia Spa</c:v>
                  </c:pt>
                  <c:pt idx="71">
                    <c:v>Royal Greenland</c:v>
                  </c:pt>
                  <c:pt idx="72">
                    <c:v>Panapesca</c:v>
                  </c:pt>
                  <c:pt idx="73">
                    <c:v>Conserviera Adriatica Spa</c:v>
                  </c:pt>
                  <c:pt idx="74">
                    <c:v>Gerfrio</c:v>
                  </c:pt>
                  <c:pt idx="75">
                    <c:v>Garbo Snc Di Comanducci Andrea</c:v>
                  </c:pt>
                  <c:pt idx="76">
                    <c:v>Vis Industrie Alimentari</c:v>
                  </c:pt>
                  <c:pt idx="77">
                    <c:v>Soavegel</c:v>
                  </c:pt>
                  <c:pt idx="78">
                    <c:v>Nettuno Alimentari Srl</c:v>
                  </c:pt>
                  <c:pt idx="79">
                    <c:v>Buitoni</c:v>
                  </c:pt>
                  <c:pt idx="80">
                    <c:v>Buitoni</c:v>
                  </c:pt>
                  <c:pt idx="81">
                    <c:v>Pescanova S.A.</c:v>
                  </c:pt>
                  <c:pt idx="82">
                    <c:v>Alpe Srl - Roma</c:v>
                  </c:pt>
                  <c:pt idx="83">
                    <c:v>Appetais Italia Spa</c:v>
                  </c:pt>
                  <c:pt idx="84">
                    <c:v>Royal Greenland</c:v>
                  </c:pt>
                  <c:pt idx="85">
                    <c:v>Panapesca</c:v>
                  </c:pt>
                  <c:pt idx="86">
                    <c:v>Conserviera Adriatica Spa</c:v>
                  </c:pt>
                  <c:pt idx="87">
                    <c:v>Gerfrio</c:v>
                  </c:pt>
                  <c:pt idx="88">
                    <c:v>Garbo Snc Di Comanducci Andrea</c:v>
                  </c:pt>
                  <c:pt idx="89">
                    <c:v>Vis Industrie Alimentari</c:v>
                  </c:pt>
                  <c:pt idx="90">
                    <c:v>Soavegel</c:v>
                  </c:pt>
                  <c:pt idx="91">
                    <c:v>Nettuno Alimentari Srl</c:v>
                  </c:pt>
                  <c:pt idx="92">
                    <c:v>Buitoni</c:v>
                  </c:pt>
                  <c:pt idx="93">
                    <c:v>Pescanova S.A.</c:v>
                  </c:pt>
                  <c:pt idx="94">
                    <c:v>Alpe Srl - Roma</c:v>
                  </c:pt>
                  <c:pt idx="95">
                    <c:v>Appetais Italia Spa</c:v>
                  </c:pt>
                  <c:pt idx="96">
                    <c:v>Royal Greenland</c:v>
                  </c:pt>
                  <c:pt idx="97">
                    <c:v>Panapesca</c:v>
                  </c:pt>
                  <c:pt idx="98">
                    <c:v>Conserviera Adriatica Spa</c:v>
                  </c:pt>
                  <c:pt idx="99">
                    <c:v>Gerfrio</c:v>
                  </c:pt>
                  <c:pt idx="100">
                    <c:v>Garbo Snc Di Comanducci Andrea</c:v>
                  </c:pt>
                  <c:pt idx="101">
                    <c:v>Vis Industrie Alimentari</c:v>
                  </c:pt>
                  <c:pt idx="102">
                    <c:v>Soavegel</c:v>
                  </c:pt>
                  <c:pt idx="103">
                    <c:v>Nettuno Alimentari Srl</c:v>
                  </c:pt>
                  <c:pt idx="104">
                    <c:v>Buitoni</c:v>
                  </c:pt>
                  <c:pt idx="105">
                    <c:v>Alpe Srl - Roma</c:v>
                  </c:pt>
                  <c:pt idx="106">
                    <c:v>Appetais Italia Spa</c:v>
                  </c:pt>
                  <c:pt idx="107">
                    <c:v>Royal Greenland</c:v>
                  </c:pt>
                  <c:pt idx="108">
                    <c:v>Panapesca</c:v>
                  </c:pt>
                  <c:pt idx="109">
                    <c:v>Conserviera Adriatica Spa</c:v>
                  </c:pt>
                  <c:pt idx="110">
                    <c:v>Gerfrio</c:v>
                  </c:pt>
                  <c:pt idx="111">
                    <c:v>Garbo Snc Di Comanducci Andrea</c:v>
                  </c:pt>
                  <c:pt idx="112">
                    <c:v>Vis Industrie Alimentari</c:v>
                  </c:pt>
                  <c:pt idx="113">
                    <c:v>Soavegel</c:v>
                  </c:pt>
                  <c:pt idx="114">
                    <c:v>Nettuno Alimentari Srl</c:v>
                  </c:pt>
                  <c:pt idx="115">
                    <c:v>Buitoni</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5"/>
          <c:min val="0.5"/>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chemeClr val="bg2"/>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chemeClr val="bg2"/>
              </a:solidFill>
              <a:ln>
                <a:noFill/>
              </a:ln>
              <a:effectLst/>
            </c:spPr>
            <c:extLst>
              <c:ext xmlns:c16="http://schemas.microsoft.com/office/drawing/2014/chart" uri="{C3380CC4-5D6E-409C-BE32-E72D297353CC}">
                <c16:uniqueId val="{00000005-26FB-4B52-8D72-D56D618E8EAF}"/>
              </c:ext>
            </c:extLst>
          </c:dPt>
          <c:dPt>
            <c:idx val="3"/>
            <c:invertIfNegative val="0"/>
            <c:bubble3D val="0"/>
            <c:extLst>
              <c:ext xmlns:c16="http://schemas.microsoft.com/office/drawing/2014/chart" uri="{C3380CC4-5D6E-409C-BE32-E72D297353CC}">
                <c16:uniqueId val="{00000007-26FB-4B52-8D72-D56D618E8EAF}"/>
              </c:ext>
            </c:extLst>
          </c:dPt>
          <c:dPt>
            <c:idx val="4"/>
            <c:invertIfNegative val="0"/>
            <c:bubble3D val="0"/>
            <c:extLst>
              <c:ext xmlns:c16="http://schemas.microsoft.com/office/drawing/2014/chart" uri="{C3380CC4-5D6E-409C-BE32-E72D297353CC}">
                <c16:uniqueId val="{00000009-26FB-4B52-8D72-D56D618E8EAF}"/>
              </c:ext>
            </c:extLst>
          </c:dPt>
          <c:dPt>
            <c:idx val="5"/>
            <c:invertIfNegative val="0"/>
            <c:bubble3D val="0"/>
            <c:extLst>
              <c:ext xmlns:c16="http://schemas.microsoft.com/office/drawing/2014/chart" uri="{C3380CC4-5D6E-409C-BE32-E72D297353CC}">
                <c16:uniqueId val="{0000000B-26FB-4B52-8D72-D56D618E8EAF}"/>
              </c:ext>
            </c:extLst>
          </c:dPt>
          <c:dPt>
            <c:idx val="6"/>
            <c:invertIfNegative val="0"/>
            <c:bubble3D val="0"/>
            <c:spPr>
              <a:solidFill>
                <a:schemeClr val="bg2"/>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EECF0393-D2AB-410C-B2A4-A20877995B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3E97F62D-527B-40DD-ACEE-466F0990E0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D9C623DE-7D95-430E-ABE6-242DCDD5BB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B1EB72FF-5F1C-4B69-A6E7-F179432746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515C4EE1-BEF3-422C-B4F5-19E25F5F34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376D8C11-350C-4E5E-A86A-8C145836B2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E9678BB4-8198-4351-BAB6-E5A8C9F035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44F9DF87-021D-482B-A207-373D8D64F6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406A11EC-5C84-4008-B8EC-566CC69765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0F79843C-8C6E-46F9-8A4A-E3677FBBA3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32B8E7CA-1689-47C7-88AF-EB77DCFA93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B3E24821-97C6-4A15-9F01-672D6332F4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26FB-4B52-8D72-D56D618E8EAF}"/>
                </c:ext>
              </c:extLst>
            </c:dLbl>
            <c:dLbl>
              <c:idx val="12"/>
              <c:tx>
                <c:rich>
                  <a:bodyPr/>
                  <a:lstStyle/>
                  <a:p>
                    <a:fld id="{3EF00B00-1F0D-45AC-9E7F-A2C14CBD93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B2D-4A32-96D2-9C641BCDE5CC}"/>
                </c:ext>
              </c:extLst>
            </c:dLbl>
            <c:dLbl>
              <c:idx val="13"/>
              <c:tx>
                <c:rich>
                  <a:bodyPr/>
                  <a:lstStyle/>
                  <a:p>
                    <a:fld id="{8B02C723-04BF-4C27-AEA5-A63C38B2C3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26FB-4B52-8D72-D56D618E8EAF}"/>
                </c:ext>
              </c:extLst>
            </c:dLbl>
            <c:dLbl>
              <c:idx val="14"/>
              <c:tx>
                <c:rich>
                  <a:bodyPr/>
                  <a:lstStyle/>
                  <a:p>
                    <a:fld id="{B03C80ED-5744-4AF2-8C6F-B57C1AE3F6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26FB-4B52-8D72-D56D618E8EAF}"/>
                </c:ext>
              </c:extLst>
            </c:dLbl>
            <c:dLbl>
              <c:idx val="15"/>
              <c:tx>
                <c:rich>
                  <a:bodyPr/>
                  <a:lstStyle/>
                  <a:p>
                    <a:fld id="{06C0429E-7393-49D8-BB55-D94608D87E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26FB-4B52-8D72-D56D618E8EAF}"/>
                </c:ext>
              </c:extLst>
            </c:dLbl>
            <c:dLbl>
              <c:idx val="16"/>
              <c:tx>
                <c:rich>
                  <a:bodyPr/>
                  <a:lstStyle/>
                  <a:p>
                    <a:fld id="{C617E970-D788-4B27-A559-7236153204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A6E-4C83-9A06-9C3309B2855E}"/>
                </c:ext>
              </c:extLst>
            </c:dLbl>
            <c:dLbl>
              <c:idx val="17"/>
              <c:tx>
                <c:rich>
                  <a:bodyPr/>
                  <a:lstStyle/>
                  <a:p>
                    <a:fld id="{ECB123B1-6F59-486C-BF5A-76C0441B80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0A6E-4C83-9A06-9C3309B2855E}"/>
                </c:ext>
              </c:extLst>
            </c:dLbl>
            <c:dLbl>
              <c:idx val="18"/>
              <c:tx>
                <c:rich>
                  <a:bodyPr/>
                  <a:lstStyle/>
                  <a:p>
                    <a:fld id="{58CA4265-C941-40E9-BAB5-92DB070ED8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A6E-4C83-9A06-9C3309B2855E}"/>
                </c:ext>
              </c:extLst>
            </c:dLbl>
            <c:dLbl>
              <c:idx val="19"/>
              <c:tx>
                <c:rich>
                  <a:bodyPr/>
                  <a:lstStyle/>
                  <a:p>
                    <a:fld id="{0E3C84A3-3F5D-4A48-A03C-59A690C6F3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A6E-4C83-9A06-9C3309B2855E}"/>
                </c:ext>
              </c:extLst>
            </c:dLbl>
            <c:dLbl>
              <c:idx val="20"/>
              <c:tx>
                <c:rich>
                  <a:bodyPr/>
                  <a:lstStyle/>
                  <a:p>
                    <a:fld id="{7121B624-2C0E-453D-A0E1-408F61EE58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C5AD-4BCF-9CB2-60EDA2D7DB42}"/>
                </c:ext>
              </c:extLst>
            </c:dLbl>
            <c:dLbl>
              <c:idx val="21"/>
              <c:tx>
                <c:rich>
                  <a:bodyPr/>
                  <a:lstStyle/>
                  <a:p>
                    <a:fld id="{82372D58-A436-4A66-8DD3-2FBA45C9F3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5AD-4BCF-9CB2-60EDA2D7DB42}"/>
                </c:ext>
              </c:extLst>
            </c:dLbl>
            <c:dLbl>
              <c:idx val="22"/>
              <c:tx>
                <c:rich>
                  <a:bodyPr/>
                  <a:lstStyle/>
                  <a:p>
                    <a:fld id="{B5F6E16F-0B78-4BE9-9132-2760EDF1E1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5AD-4BCF-9CB2-60EDA2D7DB42}"/>
                </c:ext>
              </c:extLst>
            </c:dLbl>
            <c:dLbl>
              <c:idx val="23"/>
              <c:tx>
                <c:rich>
                  <a:bodyPr/>
                  <a:lstStyle/>
                  <a:p>
                    <a:fld id="{E9683A72-E2D9-4A2E-B15F-4FBB6E5AC8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5AD-4BCF-9CB2-60EDA2D7DB42}"/>
                </c:ext>
              </c:extLst>
            </c:dLbl>
            <c:dLbl>
              <c:idx val="24"/>
              <c:tx>
                <c:rich>
                  <a:bodyPr/>
                  <a:lstStyle/>
                  <a:p>
                    <a:fld id="{E3BAC839-90D3-4C99-909C-B4E25EC0DB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A6E-4C83-9A06-9C3309B2855E}"/>
                </c:ext>
              </c:extLst>
            </c:dLbl>
            <c:dLbl>
              <c:idx val="25"/>
              <c:tx>
                <c:rich>
                  <a:bodyPr/>
                  <a:lstStyle/>
                  <a:p>
                    <a:fld id="{2AD500E6-201F-4571-AE7E-3330AD16BB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D12-44DE-B956-CABCB15EBC04}"/>
                </c:ext>
              </c:extLst>
            </c:dLbl>
            <c:dLbl>
              <c:idx val="26"/>
              <c:tx>
                <c:rich>
                  <a:bodyPr/>
                  <a:lstStyle/>
                  <a:p>
                    <a:fld id="{B35A6357-D92C-4CD8-84F2-FACF8B7D70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D12-44DE-B956-CABCB15EBC04}"/>
                </c:ext>
              </c:extLst>
            </c:dLbl>
            <c:dLbl>
              <c:idx val="27"/>
              <c:tx>
                <c:rich>
                  <a:bodyPr/>
                  <a:lstStyle/>
                  <a:p>
                    <a:fld id="{0D2E4E9C-B706-4F1C-8749-B614AD12CA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D12-44DE-B956-CABCB15EBC04}"/>
                </c:ext>
              </c:extLst>
            </c:dLbl>
            <c:dLbl>
              <c:idx val="28"/>
              <c:tx>
                <c:rich>
                  <a:bodyPr/>
                  <a:lstStyle/>
                  <a:p>
                    <a:fld id="{7D904784-4189-40A0-8AB3-5C78031B6A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D12-44DE-B956-CABCB15EBC04}"/>
                </c:ext>
              </c:extLst>
            </c:dLbl>
            <c:dLbl>
              <c:idx val="29"/>
              <c:tx>
                <c:rich>
                  <a:bodyPr/>
                  <a:lstStyle/>
                  <a:p>
                    <a:fld id="{41A5182C-946A-4000-B605-A0F0E9865E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47-486F-B734-6012CEA493B3}"/>
                </c:ext>
              </c:extLst>
            </c:dLbl>
            <c:dLbl>
              <c:idx val="30"/>
              <c:tx>
                <c:rich>
                  <a:bodyPr/>
                  <a:lstStyle/>
                  <a:p>
                    <a:fld id="{79C8772A-8CF0-498B-9E4A-B529DB6C5E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D12-44DE-B956-CABCB15EBC04}"/>
                </c:ext>
              </c:extLst>
            </c:dLbl>
            <c:dLbl>
              <c:idx val="31"/>
              <c:tx>
                <c:rich>
                  <a:bodyPr/>
                  <a:lstStyle/>
                  <a:p>
                    <a:fld id="{5B78C6B3-A35B-4494-82DB-C53E9BA15B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D12-44DE-B956-CABCB15EBC04}"/>
                </c:ext>
              </c:extLst>
            </c:dLbl>
            <c:dLbl>
              <c:idx val="32"/>
              <c:tx>
                <c:rich>
                  <a:bodyPr/>
                  <a:lstStyle/>
                  <a:p>
                    <a:fld id="{3B381432-4F8D-4BC5-BFE6-7C2035BB28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D12-44DE-B956-CABCB15EBC04}"/>
                </c:ext>
              </c:extLst>
            </c:dLbl>
            <c:dLbl>
              <c:idx val="33"/>
              <c:tx>
                <c:rich>
                  <a:bodyPr/>
                  <a:lstStyle/>
                  <a:p>
                    <a:fld id="{6CA45B74-F97D-4A57-B2DC-620BE73D20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D12-44DE-B956-CABCB15EBC04}"/>
                </c:ext>
              </c:extLst>
            </c:dLbl>
            <c:dLbl>
              <c:idx val="34"/>
              <c:tx>
                <c:rich>
                  <a:bodyPr/>
                  <a:lstStyle/>
                  <a:p>
                    <a:fld id="{54B04C23-D07B-4D1A-8F19-FB82D85710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D12-44DE-B956-CABCB15EBC04}"/>
                </c:ext>
              </c:extLst>
            </c:dLbl>
            <c:dLbl>
              <c:idx val="35"/>
              <c:tx>
                <c:rich>
                  <a:bodyPr/>
                  <a:lstStyle/>
                  <a:p>
                    <a:fld id="{80AFCB24-EE33-4BF7-8B09-5AB4427F03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D12-44DE-B956-CABCB15EBC04}"/>
                </c:ext>
              </c:extLst>
            </c:dLbl>
            <c:dLbl>
              <c:idx val="36"/>
              <c:tx>
                <c:rich>
                  <a:bodyPr/>
                  <a:lstStyle/>
                  <a:p>
                    <a:fld id="{8C6D7EF1-F362-404C-AE73-59B727DDB3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D12-44DE-B956-CABCB15EBC04}"/>
                </c:ext>
              </c:extLst>
            </c:dLbl>
            <c:dLbl>
              <c:idx val="37"/>
              <c:tx>
                <c:rich>
                  <a:bodyPr/>
                  <a:lstStyle/>
                  <a:p>
                    <a:fld id="{8213B103-336B-4687-8958-24E8AAA26C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D12-44DE-B956-CABCB15EBC04}"/>
                </c:ext>
              </c:extLst>
            </c:dLbl>
            <c:dLbl>
              <c:idx val="38"/>
              <c:tx>
                <c:rich>
                  <a:bodyPr/>
                  <a:lstStyle/>
                  <a:p>
                    <a:fld id="{22A03197-9A69-414A-B6D4-46A28A6CC2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D12-44DE-B956-CABCB15EBC04}"/>
                </c:ext>
              </c:extLst>
            </c:dLbl>
            <c:dLbl>
              <c:idx val="39"/>
              <c:tx>
                <c:rich>
                  <a:bodyPr/>
                  <a:lstStyle/>
                  <a:p>
                    <a:fld id="{2A937EA3-8A75-4CCD-B645-4FD2DC2359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D12-44DE-B956-CABCB15EBC04}"/>
                </c:ext>
              </c:extLst>
            </c:dLbl>
            <c:dLbl>
              <c:idx val="40"/>
              <c:tx>
                <c:rich>
                  <a:bodyPr/>
                  <a:lstStyle/>
                  <a:p>
                    <a:fld id="{F1FD640F-CB88-439F-ACD5-ADF243BF43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D12-44DE-B956-CABCB15EBC04}"/>
                </c:ext>
              </c:extLst>
            </c:dLbl>
            <c:dLbl>
              <c:idx val="41"/>
              <c:tx>
                <c:rich>
                  <a:bodyPr/>
                  <a:lstStyle/>
                  <a:p>
                    <a:fld id="{DE97713F-B83E-430E-A3BA-A3718D9F12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D12-44DE-B956-CABCB15EBC04}"/>
                </c:ext>
              </c:extLst>
            </c:dLbl>
            <c:dLbl>
              <c:idx val="42"/>
              <c:tx>
                <c:rich>
                  <a:bodyPr/>
                  <a:lstStyle/>
                  <a:p>
                    <a:fld id="{B47FD979-16A3-4208-96A9-6C4F2ABB9E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D12-44DE-B956-CABCB15EBC04}"/>
                </c:ext>
              </c:extLst>
            </c:dLbl>
            <c:dLbl>
              <c:idx val="43"/>
              <c:tx>
                <c:rich>
                  <a:bodyPr/>
                  <a:lstStyle/>
                  <a:p>
                    <a:fld id="{EDD49A74-DE97-45D2-9EC2-E7723DEBCE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D12-44DE-B956-CABCB15EBC04}"/>
                </c:ext>
              </c:extLst>
            </c:dLbl>
            <c:dLbl>
              <c:idx val="44"/>
              <c:tx>
                <c:rich>
                  <a:bodyPr/>
                  <a:lstStyle/>
                  <a:p>
                    <a:fld id="{20ED7858-CE3C-4DAF-BD11-621EAD47D4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D12-44DE-B956-CABCB15EBC04}"/>
                </c:ext>
              </c:extLst>
            </c:dLbl>
            <c:dLbl>
              <c:idx val="45"/>
              <c:tx>
                <c:rich>
                  <a:bodyPr/>
                  <a:lstStyle/>
                  <a:p>
                    <a:fld id="{707E6FCD-EF17-4BF7-BB6E-F8C23F3401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D12-44DE-B956-CABCB15EBC04}"/>
                </c:ext>
              </c:extLst>
            </c:dLbl>
            <c:dLbl>
              <c:idx val="46"/>
              <c:tx>
                <c:rich>
                  <a:bodyPr/>
                  <a:lstStyle/>
                  <a:p>
                    <a:fld id="{342FFC76-7076-41AF-8FD5-F85D43A246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D12-44DE-B956-CABCB15EBC04}"/>
                </c:ext>
              </c:extLst>
            </c:dLbl>
            <c:dLbl>
              <c:idx val="47"/>
              <c:tx>
                <c:rich>
                  <a:bodyPr/>
                  <a:lstStyle/>
                  <a:p>
                    <a:fld id="{004B7CFA-AD52-4B6D-B252-18B09BACB6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D12-44DE-B956-CABCB15EBC04}"/>
                </c:ext>
              </c:extLst>
            </c:dLbl>
            <c:dLbl>
              <c:idx val="48"/>
              <c:tx>
                <c:rich>
                  <a:bodyPr/>
                  <a:lstStyle/>
                  <a:p>
                    <a:fld id="{1EDEF5CE-F2E5-497C-991D-1A240A538D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D12-44DE-B956-CABCB15EBC04}"/>
                </c:ext>
              </c:extLst>
            </c:dLbl>
            <c:dLbl>
              <c:idx val="49"/>
              <c:tx>
                <c:rich>
                  <a:bodyPr/>
                  <a:lstStyle/>
                  <a:p>
                    <a:fld id="{E30DAEF6-1AD2-4789-9B74-4E38251ECB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D12-44DE-B956-CABCB15EBC04}"/>
                </c:ext>
              </c:extLst>
            </c:dLbl>
            <c:dLbl>
              <c:idx val="50"/>
              <c:tx>
                <c:rich>
                  <a:bodyPr/>
                  <a:lstStyle/>
                  <a:p>
                    <a:fld id="{07F7FAB6-AFEE-4B90-AFF2-393A332688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D12-44DE-B956-CABCB15EBC04}"/>
                </c:ext>
              </c:extLst>
            </c:dLbl>
            <c:dLbl>
              <c:idx val="51"/>
              <c:tx>
                <c:rich>
                  <a:bodyPr/>
                  <a:lstStyle/>
                  <a:p>
                    <a:fld id="{9F08E37A-824C-488C-AAB9-F497BF2EF9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D12-44DE-B956-CABCB15EBC04}"/>
                </c:ext>
              </c:extLst>
            </c:dLbl>
            <c:dLbl>
              <c:idx val="52"/>
              <c:tx>
                <c:rich>
                  <a:bodyPr/>
                  <a:lstStyle/>
                  <a:p>
                    <a:fld id="{723886EA-593F-49D4-B0D9-67B21C16CD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D12-44DE-B956-CABCB15EBC04}"/>
                </c:ext>
              </c:extLst>
            </c:dLbl>
            <c:dLbl>
              <c:idx val="53"/>
              <c:tx>
                <c:rich>
                  <a:bodyPr/>
                  <a:lstStyle/>
                  <a:p>
                    <a:fld id="{587EB767-FBE2-443C-9533-45517067FB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D12-44DE-B956-CABCB15EBC04}"/>
                </c:ext>
              </c:extLst>
            </c:dLbl>
            <c:dLbl>
              <c:idx val="54"/>
              <c:tx>
                <c:rich>
                  <a:bodyPr/>
                  <a:lstStyle/>
                  <a:p>
                    <a:fld id="{B55CB52B-53B1-43D1-A4AE-A6DE223092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D12-44DE-B956-CABCB15EBC04}"/>
                </c:ext>
              </c:extLst>
            </c:dLbl>
            <c:dLbl>
              <c:idx val="55"/>
              <c:tx>
                <c:rich>
                  <a:bodyPr/>
                  <a:lstStyle/>
                  <a:p>
                    <a:fld id="{8ECE4E18-7898-46A3-9381-6F37E51FE4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D12-44DE-B956-CABCB15EBC04}"/>
                </c:ext>
              </c:extLst>
            </c:dLbl>
            <c:dLbl>
              <c:idx val="56"/>
              <c:tx>
                <c:rich>
                  <a:bodyPr/>
                  <a:lstStyle/>
                  <a:p>
                    <a:fld id="{681EE97F-FFD8-4575-AC6E-56018DEC60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8E3F-4D1B-A313-C02BEC0FDBD1}"/>
                </c:ext>
              </c:extLst>
            </c:dLbl>
            <c:dLbl>
              <c:idx val="57"/>
              <c:tx>
                <c:rich>
                  <a:bodyPr/>
                  <a:lstStyle/>
                  <a:p>
                    <a:fld id="{80CB7CDB-6406-46C3-AB37-974C23C992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8E3F-4D1B-A313-C02BEC0FDBD1}"/>
                </c:ext>
              </c:extLst>
            </c:dLbl>
            <c:dLbl>
              <c:idx val="58"/>
              <c:tx>
                <c:rich>
                  <a:bodyPr/>
                  <a:lstStyle/>
                  <a:p>
                    <a:fld id="{DD5BF210-7819-48A6-9054-B2DC4AC94A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8E3F-4D1B-A313-C02BEC0FDBD1}"/>
                </c:ext>
              </c:extLst>
            </c:dLbl>
            <c:dLbl>
              <c:idx val="59"/>
              <c:tx>
                <c:rich>
                  <a:bodyPr/>
                  <a:lstStyle/>
                  <a:p>
                    <a:fld id="{CECA2A7D-7F06-4378-BB90-34581C9E45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8E3F-4D1B-A313-C02BEC0FDBD1}"/>
                </c:ext>
              </c:extLst>
            </c:dLbl>
            <c:dLbl>
              <c:idx val="60"/>
              <c:tx>
                <c:rich>
                  <a:bodyPr/>
                  <a:lstStyle/>
                  <a:p>
                    <a:fld id="{7E7DBC4E-B742-4C6B-B2ED-7160DF6EC8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8E3F-4D1B-A313-C02BEC0FDBD1}"/>
                </c:ext>
              </c:extLst>
            </c:dLbl>
            <c:dLbl>
              <c:idx val="61"/>
              <c:tx>
                <c:rich>
                  <a:bodyPr/>
                  <a:lstStyle/>
                  <a:p>
                    <a:fld id="{94E88AF4-0C23-4DDF-9F55-4D9DA6FA4E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8E3F-4D1B-A313-C02BEC0FDBD1}"/>
                </c:ext>
              </c:extLst>
            </c:dLbl>
            <c:dLbl>
              <c:idx val="62"/>
              <c:tx>
                <c:rich>
                  <a:bodyPr/>
                  <a:lstStyle/>
                  <a:p>
                    <a:fld id="{4FD3B2F3-49DA-4212-9BB8-84D3DF1ED8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8E3F-4D1B-A313-C02BEC0FDBD1}"/>
                </c:ext>
              </c:extLst>
            </c:dLbl>
            <c:dLbl>
              <c:idx val="63"/>
              <c:tx>
                <c:rich>
                  <a:bodyPr/>
                  <a:lstStyle/>
                  <a:p>
                    <a:fld id="{DDCB45A9-36A5-4555-AC8C-FE4367B1C6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8E3F-4D1B-A313-C02BEC0FDBD1}"/>
                </c:ext>
              </c:extLst>
            </c:dLbl>
            <c:dLbl>
              <c:idx val="64"/>
              <c:tx>
                <c:rich>
                  <a:bodyPr/>
                  <a:lstStyle/>
                  <a:p>
                    <a:fld id="{8D587D9E-9186-4815-B412-86485052CE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8E3F-4D1B-A313-C02BEC0FDBD1}"/>
                </c:ext>
              </c:extLst>
            </c:dLbl>
            <c:dLbl>
              <c:idx val="65"/>
              <c:tx>
                <c:rich>
                  <a:bodyPr/>
                  <a:lstStyle/>
                  <a:p>
                    <a:fld id="{D1EE21F2-4DF4-4B13-AAC5-952660D34C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8E3F-4D1B-A313-C02BEC0FDBD1}"/>
                </c:ext>
              </c:extLst>
            </c:dLbl>
            <c:dLbl>
              <c:idx val="66"/>
              <c:tx>
                <c:rich>
                  <a:bodyPr/>
                  <a:lstStyle/>
                  <a:p>
                    <a:fld id="{EA4E5C86-4A05-4112-8A2F-C6454FE7DB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8E3F-4D1B-A313-C02BEC0FDBD1}"/>
                </c:ext>
              </c:extLst>
            </c:dLbl>
            <c:dLbl>
              <c:idx val="67"/>
              <c:tx>
                <c:rich>
                  <a:bodyPr/>
                  <a:lstStyle/>
                  <a:p>
                    <a:fld id="{8DE8C043-CE41-41D0-BBF9-1463B77B29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8E3F-4D1B-A313-C02BEC0FDBD1}"/>
                </c:ext>
              </c:extLst>
            </c:dLbl>
            <c:dLbl>
              <c:idx val="68"/>
              <c:tx>
                <c:rich>
                  <a:bodyPr/>
                  <a:lstStyle/>
                  <a:p>
                    <a:fld id="{5A6E1A5E-469A-40A4-ABAA-8496420873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8E3F-4D1B-A313-C02BEC0FDBD1}"/>
                </c:ext>
              </c:extLst>
            </c:dLbl>
            <c:dLbl>
              <c:idx val="69"/>
              <c:tx>
                <c:rich>
                  <a:bodyPr/>
                  <a:lstStyle/>
                  <a:p>
                    <a:fld id="{9D73ED1B-17BB-4572-A38C-0617370DA8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8E3F-4D1B-A313-C02BEC0FDBD1}"/>
                </c:ext>
              </c:extLst>
            </c:dLbl>
            <c:dLbl>
              <c:idx val="70"/>
              <c:tx>
                <c:rich>
                  <a:bodyPr/>
                  <a:lstStyle/>
                  <a:p>
                    <a:fld id="{345977A9-3D86-4669-949F-55DA556203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8E3F-4D1B-A313-C02BEC0FDBD1}"/>
                </c:ext>
              </c:extLst>
            </c:dLbl>
            <c:dLbl>
              <c:idx val="71"/>
              <c:tx>
                <c:rich>
                  <a:bodyPr/>
                  <a:lstStyle/>
                  <a:p>
                    <a:fld id="{E909DEA9-44E5-4C61-B75D-9303DF46A0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8E3F-4D1B-A313-C02BEC0FDBD1}"/>
                </c:ext>
              </c:extLst>
            </c:dLbl>
            <c:dLbl>
              <c:idx val="72"/>
              <c:tx>
                <c:rich>
                  <a:bodyPr/>
                  <a:lstStyle/>
                  <a:p>
                    <a:fld id="{256A5853-5293-4E53-B9CC-661DCF45E3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8E3F-4D1B-A313-C02BEC0FDBD1}"/>
                </c:ext>
              </c:extLst>
            </c:dLbl>
            <c:dLbl>
              <c:idx val="73"/>
              <c:tx>
                <c:rich>
                  <a:bodyPr/>
                  <a:lstStyle/>
                  <a:p>
                    <a:fld id="{65E60E07-6C14-4D7F-93C3-6B68EFBBDE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8E3F-4D1B-A313-C02BEC0FDBD1}"/>
                </c:ext>
              </c:extLst>
            </c:dLbl>
            <c:dLbl>
              <c:idx val="74"/>
              <c:tx>
                <c:rich>
                  <a:bodyPr/>
                  <a:lstStyle/>
                  <a:p>
                    <a:fld id="{C18FC4D7-F6A0-4322-9E12-9459012206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8E3F-4D1B-A313-C02BEC0FDBD1}"/>
                </c:ext>
              </c:extLst>
            </c:dLbl>
            <c:dLbl>
              <c:idx val="75"/>
              <c:tx>
                <c:rich>
                  <a:bodyPr/>
                  <a:lstStyle/>
                  <a:p>
                    <a:fld id="{62E0ED8B-4EDF-4069-9D7B-3DB037F29B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8E3F-4D1B-A313-C02BEC0FDBD1}"/>
                </c:ext>
              </c:extLst>
            </c:dLbl>
            <c:dLbl>
              <c:idx val="76"/>
              <c:tx>
                <c:rich>
                  <a:bodyPr/>
                  <a:lstStyle/>
                  <a:p>
                    <a:fld id="{0766DD3A-15F2-424A-A3C1-43C6B8B13A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8E3F-4D1B-A313-C02BEC0FDBD1}"/>
                </c:ext>
              </c:extLst>
            </c:dLbl>
            <c:dLbl>
              <c:idx val="77"/>
              <c:tx>
                <c:rich>
                  <a:bodyPr/>
                  <a:lstStyle/>
                  <a:p>
                    <a:fld id="{044D7FB8-E9FF-4560-95E5-05BE7C0DB0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8E3F-4D1B-A313-C02BEC0FDBD1}"/>
                </c:ext>
              </c:extLst>
            </c:dLbl>
            <c:dLbl>
              <c:idx val="78"/>
              <c:tx>
                <c:rich>
                  <a:bodyPr/>
                  <a:lstStyle/>
                  <a:p>
                    <a:fld id="{DA982A2E-2FC2-4995-9CB2-641BD492FB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8E3F-4D1B-A313-C02BEC0FDBD1}"/>
                </c:ext>
              </c:extLst>
            </c:dLbl>
            <c:dLbl>
              <c:idx val="79"/>
              <c:tx>
                <c:rich>
                  <a:bodyPr/>
                  <a:lstStyle/>
                  <a:p>
                    <a:fld id="{A43085FB-C5C1-45C4-B962-655878F5FE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8E3F-4D1B-A313-C02BEC0FDBD1}"/>
                </c:ext>
              </c:extLst>
            </c:dLbl>
            <c:dLbl>
              <c:idx val="80"/>
              <c:tx>
                <c:rich>
                  <a:bodyPr/>
                  <a:lstStyle/>
                  <a:p>
                    <a:fld id="{676D5ADA-81DD-42C9-B5DB-474144489A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8E3F-4D1B-A313-C02BEC0FDBD1}"/>
                </c:ext>
              </c:extLst>
            </c:dLbl>
            <c:dLbl>
              <c:idx val="81"/>
              <c:tx>
                <c:rich>
                  <a:bodyPr/>
                  <a:lstStyle/>
                  <a:p>
                    <a:fld id="{B5707296-81AA-45FC-B860-575DBA76D5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9-8E3F-4D1B-A313-C02BEC0FDBD1}"/>
                </c:ext>
              </c:extLst>
            </c:dLbl>
            <c:dLbl>
              <c:idx val="82"/>
              <c:tx>
                <c:rich>
                  <a:bodyPr/>
                  <a:lstStyle/>
                  <a:p>
                    <a:fld id="{76C22A0E-05D5-48FB-9135-750FA18598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A-8E3F-4D1B-A313-C02BEC0FDBD1}"/>
                </c:ext>
              </c:extLst>
            </c:dLbl>
            <c:dLbl>
              <c:idx val="83"/>
              <c:tx>
                <c:rich>
                  <a:bodyPr/>
                  <a:lstStyle/>
                  <a:p>
                    <a:fld id="{DC1AB795-ECBC-444C-A53E-DDD09925BA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B-8E3F-4D1B-A313-C02BEC0FDBD1}"/>
                </c:ext>
              </c:extLst>
            </c:dLbl>
            <c:dLbl>
              <c:idx val="84"/>
              <c:tx>
                <c:rich>
                  <a:bodyPr/>
                  <a:lstStyle/>
                  <a:p>
                    <a:fld id="{B0FF3D83-BF62-49F3-8292-AEC69E22AB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C-8E3F-4D1B-A313-C02BEC0FDBD1}"/>
                </c:ext>
              </c:extLst>
            </c:dLbl>
            <c:dLbl>
              <c:idx val="85"/>
              <c:tx>
                <c:rich>
                  <a:bodyPr/>
                  <a:lstStyle/>
                  <a:p>
                    <a:fld id="{D18C48C0-D19C-4D1E-A657-B5AF0614D6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D-8E3F-4D1B-A313-C02BEC0FDBD1}"/>
                </c:ext>
              </c:extLst>
            </c:dLbl>
            <c:dLbl>
              <c:idx val="86"/>
              <c:tx>
                <c:rich>
                  <a:bodyPr/>
                  <a:lstStyle/>
                  <a:p>
                    <a:fld id="{4459226A-56DE-448F-8D6E-37457C46B3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E-8E3F-4D1B-A313-C02BEC0FDBD1}"/>
                </c:ext>
              </c:extLst>
            </c:dLbl>
            <c:dLbl>
              <c:idx val="87"/>
              <c:tx>
                <c:rich>
                  <a:bodyPr/>
                  <a:lstStyle/>
                  <a:p>
                    <a:fld id="{1D71C1CC-E7BA-4762-B13D-0A8EA3266C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F-8E3F-4D1B-A313-C02BEC0FDBD1}"/>
                </c:ext>
              </c:extLst>
            </c:dLbl>
            <c:dLbl>
              <c:idx val="88"/>
              <c:tx>
                <c:rich>
                  <a:bodyPr/>
                  <a:lstStyle/>
                  <a:p>
                    <a:fld id="{428AFB1E-DF83-4938-82D3-8B1064ABBB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0-8E3F-4D1B-A313-C02BEC0FDBD1}"/>
                </c:ext>
              </c:extLst>
            </c:dLbl>
            <c:dLbl>
              <c:idx val="89"/>
              <c:tx>
                <c:rich>
                  <a:bodyPr/>
                  <a:lstStyle/>
                  <a:p>
                    <a:fld id="{1F12D22C-3FA2-4C22-B147-AD2EB88D78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1-8E3F-4D1B-A313-C02BEC0FDBD1}"/>
                </c:ext>
              </c:extLst>
            </c:dLbl>
            <c:dLbl>
              <c:idx val="90"/>
              <c:tx>
                <c:rich>
                  <a:bodyPr/>
                  <a:lstStyle/>
                  <a:p>
                    <a:fld id="{31A14FA8-4DD8-4260-BF81-FB031F55A7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2-8E3F-4D1B-A313-C02BEC0FDBD1}"/>
                </c:ext>
              </c:extLst>
            </c:dLbl>
            <c:dLbl>
              <c:idx val="91"/>
              <c:tx>
                <c:rich>
                  <a:bodyPr/>
                  <a:lstStyle/>
                  <a:p>
                    <a:fld id="{424588C9-F7BA-4BB6-8868-A2416BA195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3-8E3F-4D1B-A313-C02BEC0FDBD1}"/>
                </c:ext>
              </c:extLst>
            </c:dLbl>
            <c:dLbl>
              <c:idx val="92"/>
              <c:tx>
                <c:rich>
                  <a:bodyPr/>
                  <a:lstStyle/>
                  <a:p>
                    <a:fld id="{2C7F9E7D-7E1D-4AC5-BEF2-CFB1B4B33B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4-8E3F-4D1B-A313-C02BEC0FDBD1}"/>
                </c:ext>
              </c:extLst>
            </c:dLbl>
            <c:dLbl>
              <c:idx val="93"/>
              <c:tx>
                <c:rich>
                  <a:bodyPr/>
                  <a:lstStyle/>
                  <a:p>
                    <a:fld id="{40B3D572-E5B5-4F20-9B3A-E2E72E197C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5-8E3F-4D1B-A313-C02BEC0FDBD1}"/>
                </c:ext>
              </c:extLst>
            </c:dLbl>
            <c:dLbl>
              <c:idx val="94"/>
              <c:tx>
                <c:rich>
                  <a:bodyPr/>
                  <a:lstStyle/>
                  <a:p>
                    <a:fld id="{F8626498-0AF5-48DE-A1F9-0940531631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6-8E3F-4D1B-A313-C02BEC0FDBD1}"/>
                </c:ext>
              </c:extLst>
            </c:dLbl>
            <c:dLbl>
              <c:idx val="95"/>
              <c:tx>
                <c:rich>
                  <a:bodyPr/>
                  <a:lstStyle/>
                  <a:p>
                    <a:fld id="{A140A5CD-1C1D-4590-83C6-8978679AD9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7-8E3F-4D1B-A313-C02BEC0FDBD1}"/>
                </c:ext>
              </c:extLst>
            </c:dLbl>
            <c:dLbl>
              <c:idx val="96"/>
              <c:tx>
                <c:rich>
                  <a:bodyPr/>
                  <a:lstStyle/>
                  <a:p>
                    <a:fld id="{76F2CA87-4184-45A6-8F6A-4169DF0865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8-8E3F-4D1B-A313-C02BEC0FDBD1}"/>
                </c:ext>
              </c:extLst>
            </c:dLbl>
            <c:dLbl>
              <c:idx val="97"/>
              <c:tx>
                <c:rich>
                  <a:bodyPr/>
                  <a:lstStyle/>
                  <a:p>
                    <a:fld id="{485F1FC5-BFE9-41A2-998B-E5ABDF5A06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9-8E3F-4D1B-A313-C02BEC0FDBD1}"/>
                </c:ext>
              </c:extLst>
            </c:dLbl>
            <c:dLbl>
              <c:idx val="98"/>
              <c:tx>
                <c:rich>
                  <a:bodyPr/>
                  <a:lstStyle/>
                  <a:p>
                    <a:fld id="{19727704-4C9C-4CC0-9BB4-C6157C152D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A-8E3F-4D1B-A313-C02BEC0FDBD1}"/>
                </c:ext>
              </c:extLst>
            </c:dLbl>
            <c:dLbl>
              <c:idx val="99"/>
              <c:tx>
                <c:rich>
                  <a:bodyPr/>
                  <a:lstStyle/>
                  <a:p>
                    <a:fld id="{53C05DB3-DA6D-4AB4-B38C-5F06124088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B-8E3F-4D1B-A313-C02BEC0FDBD1}"/>
                </c:ext>
              </c:extLst>
            </c:dLbl>
            <c:dLbl>
              <c:idx val="100"/>
              <c:tx>
                <c:rich>
                  <a:bodyPr/>
                  <a:lstStyle/>
                  <a:p>
                    <a:fld id="{DCC25C5F-8872-45AF-9A85-3D5006577E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C-8E3F-4D1B-A313-C02BEC0FDBD1}"/>
                </c:ext>
              </c:extLst>
            </c:dLbl>
            <c:dLbl>
              <c:idx val="101"/>
              <c:tx>
                <c:rich>
                  <a:bodyPr/>
                  <a:lstStyle/>
                  <a:p>
                    <a:fld id="{70BE099D-F656-4394-B199-723A5BB352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D-8E3F-4D1B-A313-C02BEC0FDBD1}"/>
                </c:ext>
              </c:extLst>
            </c:dLbl>
            <c:dLbl>
              <c:idx val="102"/>
              <c:tx>
                <c:rich>
                  <a:bodyPr/>
                  <a:lstStyle/>
                  <a:p>
                    <a:fld id="{5848F090-3B07-46EF-8892-FE03895DBA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E-8E3F-4D1B-A313-C02BEC0FDBD1}"/>
                </c:ext>
              </c:extLst>
            </c:dLbl>
            <c:dLbl>
              <c:idx val="103"/>
              <c:tx>
                <c:rich>
                  <a:bodyPr/>
                  <a:lstStyle/>
                  <a:p>
                    <a:fld id="{FCB9DF12-6653-4FC4-9F51-ADC3781612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F-8E3F-4D1B-A313-C02BEC0FDBD1}"/>
                </c:ext>
              </c:extLst>
            </c:dLbl>
            <c:dLbl>
              <c:idx val="104"/>
              <c:tx>
                <c:rich>
                  <a:bodyPr/>
                  <a:lstStyle/>
                  <a:p>
                    <a:fld id="{CC41BBCF-5FC6-4427-8D1A-58D2677BB7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0-8E3F-4D1B-A313-C02BEC0FDBD1}"/>
                </c:ext>
              </c:extLst>
            </c:dLbl>
            <c:dLbl>
              <c:idx val="105"/>
              <c:tx>
                <c:rich>
                  <a:bodyPr/>
                  <a:lstStyle/>
                  <a:p>
                    <a:fld id="{C04AA2F4-9D1E-4693-ADD1-9923CEF509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1-8E3F-4D1B-A313-C02BEC0FDBD1}"/>
                </c:ext>
              </c:extLst>
            </c:dLbl>
            <c:dLbl>
              <c:idx val="106"/>
              <c:tx>
                <c:rich>
                  <a:bodyPr/>
                  <a:lstStyle/>
                  <a:p>
                    <a:fld id="{80D9B3F1-6CF6-440F-B3A8-F041893D62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2-8E3F-4D1B-A313-C02BEC0FDBD1}"/>
                </c:ext>
              </c:extLst>
            </c:dLbl>
            <c:dLbl>
              <c:idx val="107"/>
              <c:tx>
                <c:rich>
                  <a:bodyPr/>
                  <a:lstStyle/>
                  <a:p>
                    <a:fld id="{0FD43161-2914-47E9-BB3D-48DA215562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3-8E3F-4D1B-A313-C02BEC0FDBD1}"/>
                </c:ext>
              </c:extLst>
            </c:dLbl>
            <c:dLbl>
              <c:idx val="108"/>
              <c:tx>
                <c:rich>
                  <a:bodyPr/>
                  <a:lstStyle/>
                  <a:p>
                    <a:fld id="{4F09755B-25CF-4C1F-97EE-D005AD6139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4-8E3F-4D1B-A313-C02BEC0FDBD1}"/>
                </c:ext>
              </c:extLst>
            </c:dLbl>
            <c:dLbl>
              <c:idx val="109"/>
              <c:tx>
                <c:rich>
                  <a:bodyPr/>
                  <a:lstStyle/>
                  <a:p>
                    <a:fld id="{38DEBDA8-B29E-477D-9027-92F3842EEE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5-8E3F-4D1B-A313-C02BEC0FDBD1}"/>
                </c:ext>
              </c:extLst>
            </c:dLbl>
            <c:dLbl>
              <c:idx val="110"/>
              <c:tx>
                <c:rich>
                  <a:bodyPr/>
                  <a:lstStyle/>
                  <a:p>
                    <a:fld id="{1019C227-00A9-4632-A52E-90CD05B43E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6-8E3F-4D1B-A313-C02BEC0FDBD1}"/>
                </c:ext>
              </c:extLst>
            </c:dLbl>
            <c:dLbl>
              <c:idx val="111"/>
              <c:tx>
                <c:rich>
                  <a:bodyPr/>
                  <a:lstStyle/>
                  <a:p>
                    <a:fld id="{CFB743D1-1A58-4DA9-9DC7-6C03957F67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7-8E3F-4D1B-A313-C02BEC0FDBD1}"/>
                </c:ext>
              </c:extLst>
            </c:dLbl>
            <c:dLbl>
              <c:idx val="112"/>
              <c:tx>
                <c:rich>
                  <a:bodyPr/>
                  <a:lstStyle/>
                  <a:p>
                    <a:fld id="{A225E090-992F-468F-A987-3F76918C42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8-8E3F-4D1B-A313-C02BEC0FDBD1}"/>
                </c:ext>
              </c:extLst>
            </c:dLbl>
            <c:dLbl>
              <c:idx val="113"/>
              <c:tx>
                <c:rich>
                  <a:bodyPr/>
                  <a:lstStyle/>
                  <a:p>
                    <a:fld id="{0D99D0F0-0548-46C6-BC8B-A5123A8CA5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9-8E3F-4D1B-A313-C02BEC0FDBD1}"/>
                </c:ext>
              </c:extLst>
            </c:dLbl>
            <c:dLbl>
              <c:idx val="114"/>
              <c:tx>
                <c:rich>
                  <a:bodyPr/>
                  <a:lstStyle/>
                  <a:p>
                    <a:fld id="{651AF535-D43C-4206-9F47-E5D2317CEA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A-8E3F-4D1B-A313-C02BEC0FDBD1}"/>
                </c:ext>
              </c:extLst>
            </c:dLbl>
            <c:dLbl>
              <c:idx val="115"/>
              <c:tx>
                <c:rich>
                  <a:bodyPr/>
                  <a:lstStyle/>
                  <a:p>
                    <a:fld id="{03D3F38F-EA19-4FEC-9579-055BD75D86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D$2:$D$117</c:f>
              <c:numCache>
                <c:formatCode>General</c:formatCode>
                <c:ptCount val="116"/>
                <c:pt idx="0">
                  <c:v>1</c:v>
                </c:pt>
                <c:pt idx="1">
                  <c:v>1</c:v>
                </c:pt>
                <c:pt idx="2">
                  <c:v>1</c:v>
                </c:pt>
                <c:pt idx="3">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15" formatCode="0">
                  <c:v>1</c:v>
                </c:pt>
                <c:pt idx="16" formatCode="0">
                  <c:v>1</c:v>
                </c:pt>
                <c:pt idx="17" formatCode="0">
                  <c:v>2</c:v>
                </c:pt>
                <c:pt idx="18" formatCode="0">
                  <c:v>1</c:v>
                </c:pt>
                <c:pt idx="19" formatCode="0">
                  <c:v>2</c:v>
                </c:pt>
                <c:pt idx="20" formatCode="0">
                  <c:v>2</c:v>
                </c:pt>
                <c:pt idx="21" formatCode="0">
                  <c:v>2</c:v>
                </c:pt>
                <c:pt idx="22" formatCode="0">
                  <c:v>2</c:v>
                </c:pt>
                <c:pt idx="23" formatCode="0">
                  <c:v>2</c:v>
                </c:pt>
                <c:pt idx="24" formatCode="0">
                  <c:v>2</c:v>
                </c:pt>
                <c:pt idx="25" formatCode="0">
                  <c:v>2</c:v>
                </c:pt>
                <c:pt idx="26" formatCode="0">
                  <c:v>2</c:v>
                </c:pt>
                <c:pt idx="27">
                  <c:v>2</c:v>
                </c:pt>
                <c:pt idx="28">
                  <c:v>2</c:v>
                </c:pt>
                <c:pt idx="29">
                  <c:v>2</c:v>
                </c:pt>
                <c:pt idx="30">
                  <c:v>2</c:v>
                </c:pt>
                <c:pt idx="31">
                  <c:v>3</c:v>
                </c:pt>
                <c:pt idx="32">
                  <c:v>3</c:v>
                </c:pt>
                <c:pt idx="33">
                  <c:v>3</c:v>
                </c:pt>
                <c:pt idx="34">
                  <c:v>3</c:v>
                </c:pt>
                <c:pt idx="35">
                  <c:v>3</c:v>
                </c:pt>
                <c:pt idx="36">
                  <c:v>3</c:v>
                </c:pt>
                <c:pt idx="37">
                  <c:v>3</c:v>
                </c:pt>
                <c:pt idx="38">
                  <c:v>3</c:v>
                </c:pt>
                <c:pt idx="39">
                  <c:v>3</c:v>
                </c:pt>
                <c:pt idx="40">
                  <c:v>3</c:v>
                </c:pt>
                <c:pt idx="41">
                  <c:v>3</c:v>
                </c:pt>
                <c:pt idx="42">
                  <c:v>3</c:v>
                </c:pt>
                <c:pt idx="43">
                  <c:v>3</c:v>
                </c:pt>
                <c:pt idx="44">
                  <c:v>4</c:v>
                </c:pt>
                <c:pt idx="45">
                  <c:v>4</c:v>
                </c:pt>
                <c:pt idx="46">
                  <c:v>4</c:v>
                </c:pt>
                <c:pt idx="47">
                  <c:v>4</c:v>
                </c:pt>
                <c:pt idx="48">
                  <c:v>4</c:v>
                </c:pt>
                <c:pt idx="49">
                  <c:v>4</c:v>
                </c:pt>
                <c:pt idx="50">
                  <c:v>4</c:v>
                </c:pt>
                <c:pt idx="51">
                  <c:v>4</c:v>
                </c:pt>
                <c:pt idx="52">
                  <c:v>4</c:v>
                </c:pt>
                <c:pt idx="53">
                  <c:v>4</c:v>
                </c:pt>
                <c:pt idx="54">
                  <c:v>4</c:v>
                </c:pt>
                <c:pt idx="55">
                  <c:v>4</c:v>
                </c:pt>
                <c:pt idx="56">
                  <c:v>4</c:v>
                </c:pt>
                <c:pt idx="57">
                  <c:v>4</c:v>
                </c:pt>
                <c:pt idx="58">
                  <c:v>4</c:v>
                </c:pt>
                <c:pt idx="59">
                  <c:v>4</c:v>
                </c:pt>
                <c:pt idx="60">
                  <c:v>4</c:v>
                </c:pt>
                <c:pt idx="61">
                  <c:v>4</c:v>
                </c:pt>
                <c:pt idx="62">
                  <c:v>4</c:v>
                </c:pt>
                <c:pt idx="63">
                  <c:v>4</c:v>
                </c:pt>
                <c:pt idx="64">
                  <c:v>4</c:v>
                </c:pt>
                <c:pt idx="65">
                  <c:v>4</c:v>
                </c:pt>
                <c:pt idx="66">
                  <c:v>4</c:v>
                </c:pt>
                <c:pt idx="67">
                  <c:v>4</c:v>
                </c:pt>
                <c:pt idx="68">
                  <c:v>5</c:v>
                </c:pt>
                <c:pt idx="69">
                  <c:v>5</c:v>
                </c:pt>
                <c:pt idx="70">
                  <c:v>5</c:v>
                </c:pt>
                <c:pt idx="71">
                  <c:v>5</c:v>
                </c:pt>
                <c:pt idx="72">
                  <c:v>5</c:v>
                </c:pt>
                <c:pt idx="73">
                  <c:v>5</c:v>
                </c:pt>
                <c:pt idx="74">
                  <c:v>5</c:v>
                </c:pt>
                <c:pt idx="75">
                  <c:v>5</c:v>
                </c:pt>
                <c:pt idx="76">
                  <c:v>5</c:v>
                </c:pt>
                <c:pt idx="77">
                  <c:v>5</c:v>
                </c:pt>
                <c:pt idx="78">
                  <c:v>5</c:v>
                </c:pt>
                <c:pt idx="79">
                  <c:v>5</c:v>
                </c:pt>
                <c:pt idx="80">
                  <c:v>6</c:v>
                </c:pt>
                <c:pt idx="81">
                  <c:v>6</c:v>
                </c:pt>
                <c:pt idx="82">
                  <c:v>6</c:v>
                </c:pt>
                <c:pt idx="83">
                  <c:v>6</c:v>
                </c:pt>
                <c:pt idx="84">
                  <c:v>6</c:v>
                </c:pt>
                <c:pt idx="85">
                  <c:v>6</c:v>
                </c:pt>
                <c:pt idx="86">
                  <c:v>6</c:v>
                </c:pt>
                <c:pt idx="87">
                  <c:v>6</c:v>
                </c:pt>
                <c:pt idx="88">
                  <c:v>6</c:v>
                </c:pt>
                <c:pt idx="89">
                  <c:v>6</c:v>
                </c:pt>
                <c:pt idx="90">
                  <c:v>6</c:v>
                </c:pt>
                <c:pt idx="91">
                  <c:v>6</c:v>
                </c:pt>
                <c:pt idx="92">
                  <c:v>6</c:v>
                </c:pt>
                <c:pt idx="93">
                  <c:v>7</c:v>
                </c:pt>
                <c:pt idx="94">
                  <c:v>7</c:v>
                </c:pt>
                <c:pt idx="95">
                  <c:v>7</c:v>
                </c:pt>
                <c:pt idx="96">
                  <c:v>7</c:v>
                </c:pt>
                <c:pt idx="97">
                  <c:v>7</c:v>
                </c:pt>
                <c:pt idx="98">
                  <c:v>7</c:v>
                </c:pt>
                <c:pt idx="99">
                  <c:v>7</c:v>
                </c:pt>
                <c:pt idx="100">
                  <c:v>7</c:v>
                </c:pt>
                <c:pt idx="101">
                  <c:v>7</c:v>
                </c:pt>
                <c:pt idx="102">
                  <c:v>7</c:v>
                </c:pt>
                <c:pt idx="103">
                  <c:v>7</c:v>
                </c:pt>
                <c:pt idx="104">
                  <c:v>7</c:v>
                </c:pt>
                <c:pt idx="105">
                  <c:v>8</c:v>
                </c:pt>
                <c:pt idx="106">
                  <c:v>8</c:v>
                </c:pt>
                <c:pt idx="107">
                  <c:v>8</c:v>
                </c:pt>
                <c:pt idx="108">
                  <c:v>8</c:v>
                </c:pt>
                <c:pt idx="109">
                  <c:v>8</c:v>
                </c:pt>
                <c:pt idx="110">
                  <c:v>8</c:v>
                </c:pt>
                <c:pt idx="111">
                  <c:v>8</c:v>
                </c:pt>
                <c:pt idx="112">
                  <c:v>8</c:v>
                </c:pt>
                <c:pt idx="113">
                  <c:v>8</c:v>
                </c:pt>
                <c:pt idx="114">
                  <c:v>8</c:v>
                </c:pt>
                <c:pt idx="115">
                  <c:v>8</c:v>
                </c:pt>
              </c:numCache>
            </c:numRef>
          </c:xVal>
          <c:yVal>
            <c:numRef>
              <c:f>Sheet1!$B$2:$B$117</c:f>
              <c:numCache>
                <c:formatCode>0%;\-0%;0%</c:formatCode>
                <c:ptCount val="116"/>
                <c:pt idx="0">
                  <c:v>0.33537119853666614</c:v>
                </c:pt>
                <c:pt idx="1">
                  <c:v>1.3110575620733895</c:v>
                </c:pt>
                <c:pt idx="2">
                  <c:v>0.12281129115912857</c:v>
                </c:pt>
                <c:pt idx="3">
                  <c:v>0.52740423038450002</c:v>
                </c:pt>
                <c:pt idx="4">
                  <c:v>0.23394614817291179</c:v>
                </c:pt>
                <c:pt idx="5">
                  <c:v>0.40424723346828612</c:v>
                </c:pt>
                <c:pt idx="6">
                  <c:v>1.0381094546405629</c:v>
                </c:pt>
                <c:pt idx="7">
                  <c:v>0.39464140468177511</c:v>
                </c:pt>
                <c:pt idx="8">
                  <c:v>1.0804710500490677</c:v>
                </c:pt>
                <c:pt idx="9">
                  <c:v>0.29756844074137051</c:v>
                </c:pt>
                <c:pt idx="10">
                  <c:v>0.34245897269923464</c:v>
                </c:pt>
                <c:pt idx="11">
                  <c:v>0.64309733708988459</c:v>
                </c:pt>
                <c:pt idx="12">
                  <c:v>7.6182838813151563E-3</c:v>
                </c:pt>
                <c:pt idx="13">
                  <c:v>7.2727272727272724E-2</c:v>
                </c:pt>
                <c:pt idx="14">
                  <c:v>9.4564818215203822E-2</c:v>
                </c:pt>
                <c:pt idx="15">
                  <c:v>0.97732228521587439</c:v>
                </c:pt>
                <c:pt idx="16">
                  <c:v>0.12916246215943492</c:v>
                </c:pt>
                <c:pt idx="17">
                  <c:v>0</c:v>
                </c:pt>
                <c:pt idx="18">
                  <c:v>0</c:v>
                </c:pt>
                <c:pt idx="19">
                  <c:v>0.67651164854893464</c:v>
                </c:pt>
                <c:pt idx="20">
                  <c:v>1.189595592135231</c:v>
                </c:pt>
                <c:pt idx="21">
                  <c:v>0.17901899226560691</c:v>
                </c:pt>
                <c:pt idx="22">
                  <c:v>1.1122736936699982</c:v>
                </c:pt>
                <c:pt idx="23">
                  <c:v>0.85910295216250121</c:v>
                </c:pt>
                <c:pt idx="24">
                  <c:v>0.98060814099444116</c:v>
                </c:pt>
                <c:pt idx="25">
                  <c:v>0.54450632951838152</c:v>
                </c:pt>
                <c:pt idx="26">
                  <c:v>0.56422668334309645</c:v>
                </c:pt>
                <c:pt idx="27">
                  <c:v>0.30859076520030565</c:v>
                </c:pt>
                <c:pt idx="28">
                  <c:v>-5.088408644400786E-2</c:v>
                </c:pt>
                <c:pt idx="29">
                  <c:v>0.48655046266408436</c:v>
                </c:pt>
                <c:pt idx="30">
                  <c:v>5.8252427184466021E-2</c:v>
                </c:pt>
                <c:pt idx="31">
                  <c:v>0.57528207397007924</c:v>
                </c:pt>
                <c:pt idx="32">
                  <c:v>0</c:v>
                </c:pt>
                <c:pt idx="33">
                  <c:v>0.34969330141134647</c:v>
                </c:pt>
                <c:pt idx="34">
                  <c:v>9.3618913842698215E-2</c:v>
                </c:pt>
                <c:pt idx="35">
                  <c:v>0.39086369781125707</c:v>
                </c:pt>
                <c:pt idx="36">
                  <c:v>0.53102946813067886</c:v>
                </c:pt>
                <c:pt idx="37">
                  <c:v>0.30671829359418518</c:v>
                </c:pt>
                <c:pt idx="38">
                  <c:v>4.7373658397896083E-2</c:v>
                </c:pt>
                <c:pt idx="39">
                  <c:v>9.8011706773204491E-2</c:v>
                </c:pt>
                <c:pt idx="40">
                  <c:v>5.9622372365136428E-2</c:v>
                </c:pt>
                <c:pt idx="41">
                  <c:v>0.3325076129317282</c:v>
                </c:pt>
                <c:pt idx="42">
                  <c:v>1.6811941832822908E-2</c:v>
                </c:pt>
                <c:pt idx="43">
                  <c:v>0.13383247543284979</c:v>
                </c:pt>
                <c:pt idx="44">
                  <c:v>0.18520227334689512</c:v>
                </c:pt>
                <c:pt idx="45">
                  <c:v>0.15534287581423784</c:v>
                </c:pt>
                <c:pt idx="46">
                  <c:v>0.27216813979063992</c:v>
                </c:pt>
                <c:pt idx="47">
                  <c:v>0.14428544647878522</c:v>
                </c:pt>
                <c:pt idx="48">
                  <c:v>8.9574245868403263E-2</c:v>
                </c:pt>
                <c:pt idx="49">
                  <c:v>0.29961779961779961</c:v>
                </c:pt>
                <c:pt idx="50">
                  <c:v>0.32942695401728078</c:v>
                </c:pt>
                <c:pt idx="51">
                  <c:v>0.79519295870006768</c:v>
                </c:pt>
                <c:pt idx="52">
                  <c:v>5.1974626560261916E-2</c:v>
                </c:pt>
                <c:pt idx="53">
                  <c:v>-2.5057825751734774E-2</c:v>
                </c:pt>
                <c:pt idx="54">
                  <c:v>-0.28899835796387519</c:v>
                </c:pt>
                <c:pt idx="55">
                  <c:v>0</c:v>
                </c:pt>
                <c:pt idx="56" formatCode="0.00%">
                  <c:v>0.18520227334689512</c:v>
                </c:pt>
                <c:pt idx="57" formatCode="0.00%">
                  <c:v>0.15534287581423784</c:v>
                </c:pt>
                <c:pt idx="58" formatCode="0.00%">
                  <c:v>0.27216813979063992</c:v>
                </c:pt>
                <c:pt idx="59" formatCode="0.00%">
                  <c:v>0.14428544647878522</c:v>
                </c:pt>
                <c:pt idx="60" formatCode="0.00%">
                  <c:v>8.9574245868403263E-2</c:v>
                </c:pt>
                <c:pt idx="61" formatCode="0.00%">
                  <c:v>0.29961779961779961</c:v>
                </c:pt>
                <c:pt idx="62" formatCode="0.00%">
                  <c:v>0.32942695401728078</c:v>
                </c:pt>
                <c:pt idx="63" formatCode="0.00%">
                  <c:v>0.79519295870006768</c:v>
                </c:pt>
                <c:pt idx="64" formatCode="0.00%">
                  <c:v>5.1974626560261916E-2</c:v>
                </c:pt>
                <c:pt idx="65" formatCode="0.00%">
                  <c:v>-2.5057825751734774E-2</c:v>
                </c:pt>
                <c:pt idx="66" formatCode="0.00%">
                  <c:v>-0.28899835796387519</c:v>
                </c:pt>
                <c:pt idx="67" formatCode="0.00%">
                  <c:v>0</c:v>
                </c:pt>
                <c:pt idx="68" formatCode="General">
                  <c:v>0.18520227334689512</c:v>
                </c:pt>
                <c:pt idx="69" formatCode="General">
                  <c:v>0.15534287581423784</c:v>
                </c:pt>
                <c:pt idx="70" formatCode="General">
                  <c:v>0.27216813979063992</c:v>
                </c:pt>
                <c:pt idx="71" formatCode="General">
                  <c:v>0.14428544647878522</c:v>
                </c:pt>
                <c:pt idx="72" formatCode="General">
                  <c:v>8.9574245868403263E-2</c:v>
                </c:pt>
                <c:pt idx="73" formatCode="General">
                  <c:v>0.29961779961779961</c:v>
                </c:pt>
                <c:pt idx="74" formatCode="General">
                  <c:v>0.32942695401728078</c:v>
                </c:pt>
                <c:pt idx="75" formatCode="General">
                  <c:v>0.79519295870006768</c:v>
                </c:pt>
                <c:pt idx="76" formatCode="General">
                  <c:v>5.1974626560261916E-2</c:v>
                </c:pt>
                <c:pt idx="77" formatCode="General">
                  <c:v>-2.5057825751734774E-2</c:v>
                </c:pt>
                <c:pt idx="78" formatCode="General">
                  <c:v>-0.28899835796387519</c:v>
                </c:pt>
                <c:pt idx="79" formatCode="General">
                  <c:v>0</c:v>
                </c:pt>
                <c:pt idx="80" formatCode="General">
                  <c:v>0</c:v>
                </c:pt>
                <c:pt idx="81" formatCode="General">
                  <c:v>0.18520227334689512</c:v>
                </c:pt>
                <c:pt idx="82" formatCode="General">
                  <c:v>0.15534287581423784</c:v>
                </c:pt>
                <c:pt idx="83" formatCode="General">
                  <c:v>0.27216813979063992</c:v>
                </c:pt>
                <c:pt idx="84" formatCode="General">
                  <c:v>0.14428544647878522</c:v>
                </c:pt>
                <c:pt idx="85" formatCode="General">
                  <c:v>8.9574245868403263E-2</c:v>
                </c:pt>
                <c:pt idx="86" formatCode="General">
                  <c:v>0.29961779961779961</c:v>
                </c:pt>
                <c:pt idx="87" formatCode="General">
                  <c:v>0.32942695401728078</c:v>
                </c:pt>
                <c:pt idx="88" formatCode="General">
                  <c:v>0.79519295870006768</c:v>
                </c:pt>
                <c:pt idx="89" formatCode="General">
                  <c:v>5.1974626560261916E-2</c:v>
                </c:pt>
                <c:pt idx="90" formatCode="General">
                  <c:v>-2.5057825751734774E-2</c:v>
                </c:pt>
                <c:pt idx="91" formatCode="General">
                  <c:v>-0.28899835796387519</c:v>
                </c:pt>
                <c:pt idx="92" formatCode="General">
                  <c:v>0</c:v>
                </c:pt>
                <c:pt idx="93" formatCode="General">
                  <c:v>0.18520227334689512</c:v>
                </c:pt>
                <c:pt idx="94" formatCode="General">
                  <c:v>0.15534287581423784</c:v>
                </c:pt>
                <c:pt idx="95" formatCode="General">
                  <c:v>0.27216813979063992</c:v>
                </c:pt>
                <c:pt idx="96" formatCode="General">
                  <c:v>0.14428544647878522</c:v>
                </c:pt>
                <c:pt idx="97" formatCode="General">
                  <c:v>8.9574245868403263E-2</c:v>
                </c:pt>
                <c:pt idx="98" formatCode="General">
                  <c:v>0.29961779961779961</c:v>
                </c:pt>
                <c:pt idx="99" formatCode="General">
                  <c:v>0.32942695401728078</c:v>
                </c:pt>
                <c:pt idx="100" formatCode="General">
                  <c:v>0.79519295870006768</c:v>
                </c:pt>
                <c:pt idx="101" formatCode="General">
                  <c:v>5.1974626560261916E-2</c:v>
                </c:pt>
                <c:pt idx="102" formatCode="General">
                  <c:v>-2.5057825751734774E-2</c:v>
                </c:pt>
                <c:pt idx="103" formatCode="General">
                  <c:v>-0.28899835796387519</c:v>
                </c:pt>
                <c:pt idx="104" formatCode="General">
                  <c:v>0</c:v>
                </c:pt>
                <c:pt idx="105" formatCode="General">
                  <c:v>0.15534287581423784</c:v>
                </c:pt>
                <c:pt idx="106" formatCode="General">
                  <c:v>0.27216813979063992</c:v>
                </c:pt>
                <c:pt idx="107" formatCode="General">
                  <c:v>0.14428544647878522</c:v>
                </c:pt>
                <c:pt idx="108" formatCode="General">
                  <c:v>8.9574245868403263E-2</c:v>
                </c:pt>
                <c:pt idx="109" formatCode="General">
                  <c:v>0.29961779961779961</c:v>
                </c:pt>
                <c:pt idx="110" formatCode="General">
                  <c:v>0.32942695401728078</c:v>
                </c:pt>
                <c:pt idx="111" formatCode="General">
                  <c:v>0.79519295870006768</c:v>
                </c:pt>
                <c:pt idx="112" formatCode="General">
                  <c:v>5.1974626560261916E-2</c:v>
                </c:pt>
                <c:pt idx="113" formatCode="General">
                  <c:v>-2.5057825751734774E-2</c:v>
                </c:pt>
                <c:pt idx="114" formatCode="General">
                  <c:v>-0.28899835796387519</c:v>
                </c:pt>
                <c:pt idx="115" formatCode="General">
                  <c:v>0</c:v>
                </c:pt>
              </c:numCache>
            </c:numRef>
          </c:yVal>
          <c:bubbleSize>
            <c:numRef>
              <c:f>Sheet1!$C$2:$C$117</c:f>
              <c:numCache>
                <c:formatCode>0%;\-0%;0%</c:formatCode>
                <c:ptCount val="116"/>
                <c:pt idx="0">
                  <c:v>4111084</c:v>
                </c:pt>
                <c:pt idx="1">
                  <c:v>1160533</c:v>
                </c:pt>
                <c:pt idx="2">
                  <c:v>1117212</c:v>
                </c:pt>
                <c:pt idx="3">
                  <c:v>504428</c:v>
                </c:pt>
                <c:pt idx="4">
                  <c:v>459435</c:v>
                </c:pt>
                <c:pt idx="5">
                  <c:v>386077</c:v>
                </c:pt>
                <c:pt idx="6">
                  <c:v>277647</c:v>
                </c:pt>
                <c:pt idx="7">
                  <c:v>222216</c:v>
                </c:pt>
                <c:pt idx="8">
                  <c:v>108739</c:v>
                </c:pt>
                <c:pt idx="9">
                  <c:v>100141</c:v>
                </c:pt>
                <c:pt idx="10">
                  <c:v>18851</c:v>
                </c:pt>
                <c:pt idx="11">
                  <c:v>13981</c:v>
                </c:pt>
                <c:pt idx="12">
                  <c:v>10864</c:v>
                </c:pt>
                <c:pt idx="13">
                  <c:v>7717</c:v>
                </c:pt>
                <c:pt idx="14">
                  <c:v>7439</c:v>
                </c:pt>
                <c:pt idx="15">
                  <c:v>4428</c:v>
                </c:pt>
                <c:pt idx="16">
                  <c:v>1120</c:v>
                </c:pt>
                <c:pt idx="17">
                  <c:v>21</c:v>
                </c:pt>
                <c:pt idx="18">
                  <c:v>0</c:v>
                </c:pt>
                <c:pt idx="19">
                  <c:v>12037304</c:v>
                </c:pt>
                <c:pt idx="20">
                  <c:v>5124041</c:v>
                </c:pt>
                <c:pt idx="21">
                  <c:v>4271666</c:v>
                </c:pt>
                <c:pt idx="22">
                  <c:v>1061364</c:v>
                </c:pt>
                <c:pt idx="23">
                  <c:v>786468</c:v>
                </c:pt>
                <c:pt idx="24">
                  <c:v>606283</c:v>
                </c:pt>
                <c:pt idx="25">
                  <c:v>479058</c:v>
                </c:pt>
                <c:pt idx="26">
                  <c:v>306437</c:v>
                </c:pt>
                <c:pt idx="27">
                  <c:v>83930</c:v>
                </c:pt>
                <c:pt idx="28">
                  <c:v>32553</c:v>
                </c:pt>
                <c:pt idx="29">
                  <c:v>24613</c:v>
                </c:pt>
                <c:pt idx="30">
                  <c:v>42</c:v>
                </c:pt>
                <c:pt idx="31">
                  <c:v>16067456</c:v>
                </c:pt>
                <c:pt idx="32">
                  <c:v>0</c:v>
                </c:pt>
                <c:pt idx="33">
                  <c:v>2257543</c:v>
                </c:pt>
                <c:pt idx="34">
                  <c:v>350113</c:v>
                </c:pt>
                <c:pt idx="35">
                  <c:v>238922</c:v>
                </c:pt>
                <c:pt idx="36">
                  <c:v>178620</c:v>
                </c:pt>
                <c:pt idx="37">
                  <c:v>98148</c:v>
                </c:pt>
                <c:pt idx="38">
                  <c:v>76752</c:v>
                </c:pt>
                <c:pt idx="39">
                  <c:v>59927</c:v>
                </c:pt>
                <c:pt idx="40">
                  <c:v>59154</c:v>
                </c:pt>
                <c:pt idx="41">
                  <c:v>58860</c:v>
                </c:pt>
                <c:pt idx="42">
                  <c:v>53214</c:v>
                </c:pt>
                <c:pt idx="43">
                  <c:v>45806</c:v>
                </c:pt>
                <c:pt idx="44">
                  <c:v>33868</c:v>
                </c:pt>
                <c:pt idx="45">
                  <c:v>28590</c:v>
                </c:pt>
                <c:pt idx="46">
                  <c:v>26827</c:v>
                </c:pt>
                <c:pt idx="47">
                  <c:v>15746</c:v>
                </c:pt>
                <c:pt idx="48">
                  <c:v>10871</c:v>
                </c:pt>
                <c:pt idx="49">
                  <c:v>10018</c:v>
                </c:pt>
                <c:pt idx="50">
                  <c:v>4962</c:v>
                </c:pt>
                <c:pt idx="51">
                  <c:v>4865</c:v>
                </c:pt>
                <c:pt idx="52">
                  <c:v>3900</c:v>
                </c:pt>
                <c:pt idx="53">
                  <c:v>1677</c:v>
                </c:pt>
                <c:pt idx="54">
                  <c:v>297</c:v>
                </c:pt>
                <c:pt idx="55">
                  <c:v>0</c:v>
                </c:pt>
                <c:pt idx="56" formatCode="General">
                  <c:v>33868</c:v>
                </c:pt>
                <c:pt idx="57" formatCode="General">
                  <c:v>28590</c:v>
                </c:pt>
                <c:pt idx="58" formatCode="General">
                  <c:v>26827</c:v>
                </c:pt>
                <c:pt idx="59" formatCode="General">
                  <c:v>15746</c:v>
                </c:pt>
                <c:pt idx="60" formatCode="General">
                  <c:v>10871</c:v>
                </c:pt>
                <c:pt idx="61" formatCode="General">
                  <c:v>10018</c:v>
                </c:pt>
                <c:pt idx="62" formatCode="General">
                  <c:v>4962</c:v>
                </c:pt>
                <c:pt idx="63" formatCode="General">
                  <c:v>4865</c:v>
                </c:pt>
                <c:pt idx="64" formatCode="General">
                  <c:v>3900</c:v>
                </c:pt>
                <c:pt idx="65" formatCode="General">
                  <c:v>1677</c:v>
                </c:pt>
                <c:pt idx="66" formatCode="General">
                  <c:v>297</c:v>
                </c:pt>
                <c:pt idx="67" formatCode="General">
                  <c:v>0</c:v>
                </c:pt>
                <c:pt idx="68" formatCode="General">
                  <c:v>33868</c:v>
                </c:pt>
                <c:pt idx="69" formatCode="General">
                  <c:v>28590</c:v>
                </c:pt>
                <c:pt idx="70" formatCode="General">
                  <c:v>26827</c:v>
                </c:pt>
                <c:pt idx="71" formatCode="General">
                  <c:v>15746</c:v>
                </c:pt>
                <c:pt idx="72" formatCode="General">
                  <c:v>10871</c:v>
                </c:pt>
                <c:pt idx="73" formatCode="General">
                  <c:v>10018</c:v>
                </c:pt>
                <c:pt idx="74" formatCode="General">
                  <c:v>4962</c:v>
                </c:pt>
                <c:pt idx="75" formatCode="General">
                  <c:v>4865</c:v>
                </c:pt>
                <c:pt idx="76" formatCode="General">
                  <c:v>3900</c:v>
                </c:pt>
                <c:pt idx="77" formatCode="General">
                  <c:v>1677</c:v>
                </c:pt>
                <c:pt idx="78" formatCode="General">
                  <c:v>297</c:v>
                </c:pt>
                <c:pt idx="79" formatCode="General">
                  <c:v>0</c:v>
                </c:pt>
                <c:pt idx="80" formatCode="General">
                  <c:v>0</c:v>
                </c:pt>
                <c:pt idx="81" formatCode="General">
                  <c:v>33868</c:v>
                </c:pt>
                <c:pt idx="82" formatCode="General">
                  <c:v>28590</c:v>
                </c:pt>
                <c:pt idx="83" formatCode="General">
                  <c:v>26827</c:v>
                </c:pt>
                <c:pt idx="84" formatCode="General">
                  <c:v>15746</c:v>
                </c:pt>
                <c:pt idx="85" formatCode="General">
                  <c:v>10871</c:v>
                </c:pt>
                <c:pt idx="86" formatCode="General">
                  <c:v>10018</c:v>
                </c:pt>
                <c:pt idx="87" formatCode="General">
                  <c:v>4962</c:v>
                </c:pt>
                <c:pt idx="88" formatCode="General">
                  <c:v>4865</c:v>
                </c:pt>
                <c:pt idx="89" formatCode="General">
                  <c:v>3900</c:v>
                </c:pt>
                <c:pt idx="90" formatCode="General">
                  <c:v>1677</c:v>
                </c:pt>
                <c:pt idx="91" formatCode="General">
                  <c:v>297</c:v>
                </c:pt>
                <c:pt idx="92" formatCode="General">
                  <c:v>0</c:v>
                </c:pt>
                <c:pt idx="93" formatCode="General">
                  <c:v>33868</c:v>
                </c:pt>
                <c:pt idx="94" formatCode="General">
                  <c:v>28590</c:v>
                </c:pt>
                <c:pt idx="95" formatCode="General">
                  <c:v>26827</c:v>
                </c:pt>
                <c:pt idx="96" formatCode="General">
                  <c:v>15746</c:v>
                </c:pt>
                <c:pt idx="97" formatCode="General">
                  <c:v>10871</c:v>
                </c:pt>
                <c:pt idx="98" formatCode="General">
                  <c:v>10018</c:v>
                </c:pt>
                <c:pt idx="99" formatCode="General">
                  <c:v>4962</c:v>
                </c:pt>
                <c:pt idx="100" formatCode="General">
                  <c:v>4865</c:v>
                </c:pt>
                <c:pt idx="101" formatCode="General">
                  <c:v>3900</c:v>
                </c:pt>
                <c:pt idx="102" formatCode="General">
                  <c:v>1677</c:v>
                </c:pt>
                <c:pt idx="103" formatCode="General">
                  <c:v>297</c:v>
                </c:pt>
                <c:pt idx="104" formatCode="General">
                  <c:v>0</c:v>
                </c:pt>
                <c:pt idx="105" formatCode="General">
                  <c:v>28590</c:v>
                </c:pt>
                <c:pt idx="106" formatCode="General">
                  <c:v>26827</c:v>
                </c:pt>
                <c:pt idx="107" formatCode="General">
                  <c:v>15746</c:v>
                </c:pt>
                <c:pt idx="108" formatCode="General">
                  <c:v>10871</c:v>
                </c:pt>
                <c:pt idx="109" formatCode="General">
                  <c:v>10018</c:v>
                </c:pt>
                <c:pt idx="110" formatCode="General">
                  <c:v>4962</c:v>
                </c:pt>
                <c:pt idx="111" formatCode="General">
                  <c:v>4865</c:v>
                </c:pt>
                <c:pt idx="112" formatCode="General">
                  <c:v>3900</c:v>
                </c:pt>
                <c:pt idx="113" formatCode="General">
                  <c:v>1677</c:v>
                </c:pt>
                <c:pt idx="114" formatCode="General">
                  <c:v>297</c:v>
                </c:pt>
                <c:pt idx="115" formatCode="General">
                  <c:v>0</c:v>
                </c:pt>
              </c:numCache>
            </c:numRef>
          </c:bubbleSize>
          <c:bubble3D val="0"/>
          <c:extLst>
            <c:ext xmlns:c15="http://schemas.microsoft.com/office/drawing/2012/chart" uri="{02D57815-91ED-43cb-92C2-25804820EDAC}">
              <c15:datalabelsRange>
                <c15:f>Sheet1!$E$2:$E$150</c15:f>
                <c15:dlblRangeCache>
                  <c:ptCount val="149"/>
                  <c:pt idx="0">
                    <c:v>Findus</c:v>
                  </c:pt>
                  <c:pt idx="1">
                    <c:v>Pescanova S.A.</c:v>
                  </c:pt>
                  <c:pt idx="2">
                    <c:v>Private Label</c:v>
                  </c:pt>
                  <c:pt idx="3">
                    <c:v>Frosta</c:v>
                  </c:pt>
                  <c:pt idx="4">
                    <c:v>Panapesca</c:v>
                  </c:pt>
                  <c:pt idx="5">
                    <c:v>Other</c:v>
                  </c:pt>
                  <c:pt idx="6">
                    <c:v>Esca Srl</c:v>
                  </c:pt>
                  <c:pt idx="7">
                    <c:v>Arbi Dario Spa</c:v>
                  </c:pt>
                  <c:pt idx="8">
                    <c:v>Krusta Group</c:v>
                  </c:pt>
                  <c:pt idx="9">
                    <c:v>Fandicosta</c:v>
                  </c:pt>
                  <c:pt idx="10">
                    <c:v>Green Ice</c:v>
                  </c:pt>
                  <c:pt idx="11">
                    <c:v>Alpe Srl - Roma</c:v>
                  </c:pt>
                  <c:pt idx="12">
                    <c:v>Conserviera Adriatica Spa</c:v>
                  </c:pt>
                  <c:pt idx="13">
                    <c:v>New Food</c:v>
                  </c:pt>
                  <c:pt idx="14">
                    <c:v>Agras 1947</c:v>
                  </c:pt>
                  <c:pt idx="15">
                    <c:v>Garbo Snc Di Comanducci Andrea</c:v>
                  </c:pt>
                  <c:pt idx="16">
                    <c:v>Vis Industrie Alimentari</c:v>
                  </c:pt>
                  <c:pt idx="17">
                    <c:v>Buitoni</c:v>
                  </c:pt>
                  <c:pt idx="18">
                    <c:v>Mittico</c:v>
                  </c:pt>
                  <c:pt idx="19">
                    <c:v>Findus</c:v>
                  </c:pt>
                  <c:pt idx="20">
                    <c:v>Frosta</c:v>
                  </c:pt>
                  <c:pt idx="21">
                    <c:v>Private Label</c:v>
                  </c:pt>
                  <c:pt idx="22">
                    <c:v>Krusta Group</c:v>
                  </c:pt>
                  <c:pt idx="23">
                    <c:v>Pescanova S.A.</c:v>
                  </c:pt>
                  <c:pt idx="24">
                    <c:v>Esca Srl</c:v>
                  </c:pt>
                  <c:pt idx="25">
                    <c:v>Arbi Dario Spa</c:v>
                  </c:pt>
                  <c:pt idx="26">
                    <c:v>Emme Gel</c:v>
                  </c:pt>
                  <c:pt idx="27">
                    <c:v>Green Ice</c:v>
                  </c:pt>
                  <c:pt idx="28">
                    <c:v>Other</c:v>
                  </c:pt>
                  <c:pt idx="29">
                    <c:v>Soavegel</c:v>
                  </c:pt>
                  <c:pt idx="30">
                    <c:v>Buitoni</c:v>
                  </c:pt>
                  <c:pt idx="31">
                    <c:v>Findus</c:v>
                  </c:pt>
                  <c:pt idx="32">
                    <c:v>Other</c:v>
                  </c:pt>
                  <c:pt idx="33">
                    <c:v>Findus</c:v>
                  </c:pt>
                  <c:pt idx="34">
                    <c:v>Private Label</c:v>
                  </c:pt>
                  <c:pt idx="35">
                    <c:v>Esca Srl</c:v>
                  </c:pt>
                  <c:pt idx="36">
                    <c:v>Agras 1947</c:v>
                  </c:pt>
                  <c:pt idx="37">
                    <c:v>Frosta</c:v>
                  </c:pt>
                  <c:pt idx="38">
                    <c:v>Other</c:v>
                  </c:pt>
                  <c:pt idx="39">
                    <c:v>New Food</c:v>
                  </c:pt>
                  <c:pt idx="40">
                    <c:v>Noriberica</c:v>
                  </c:pt>
                  <c:pt idx="41">
                    <c:v>Krusta Group</c:v>
                  </c:pt>
                  <c:pt idx="42">
                    <c:v>Nai Prodotti Ittici</c:v>
                  </c:pt>
                  <c:pt idx="43">
                    <c:v>Green Ice</c:v>
                  </c:pt>
                  <c:pt idx="44">
                    <c:v>Pescanova S.A.</c:v>
                  </c:pt>
                  <c:pt idx="45">
                    <c:v>Alpe Srl - Roma</c:v>
                  </c:pt>
                  <c:pt idx="46">
                    <c:v>Appetais Italia Spa</c:v>
                  </c:pt>
                  <c:pt idx="47">
                    <c:v>Royal Greenland</c:v>
                  </c:pt>
                  <c:pt idx="48">
                    <c:v>Panapesca</c:v>
                  </c:pt>
                  <c:pt idx="49">
                    <c:v>Conserviera Adriatica Spa</c:v>
                  </c:pt>
                  <c:pt idx="50">
                    <c:v>Gerfrio</c:v>
                  </c:pt>
                  <c:pt idx="51">
                    <c:v>Garbo Snc Di Comanducci Andrea</c:v>
                  </c:pt>
                  <c:pt idx="52">
                    <c:v>Vis Industrie Alimentari</c:v>
                  </c:pt>
                  <c:pt idx="53">
                    <c:v>Soavegel</c:v>
                  </c:pt>
                  <c:pt idx="54">
                    <c:v>Nettuno Alimentari Srl</c:v>
                  </c:pt>
                  <c:pt idx="55">
                    <c:v>Buitoni</c:v>
                  </c:pt>
                  <c:pt idx="56">
                    <c:v>Pescanova S.A.</c:v>
                  </c:pt>
                  <c:pt idx="57">
                    <c:v>Alpe Srl - Roma</c:v>
                  </c:pt>
                  <c:pt idx="58">
                    <c:v>Appetais Italia Spa</c:v>
                  </c:pt>
                  <c:pt idx="59">
                    <c:v>Royal Greenland</c:v>
                  </c:pt>
                  <c:pt idx="60">
                    <c:v>Panapesca</c:v>
                  </c:pt>
                  <c:pt idx="61">
                    <c:v>Conserviera Adriatica Spa</c:v>
                  </c:pt>
                  <c:pt idx="62">
                    <c:v>Gerfrio</c:v>
                  </c:pt>
                  <c:pt idx="63">
                    <c:v>Garbo Snc Di Comanducci Andrea</c:v>
                  </c:pt>
                  <c:pt idx="64">
                    <c:v>Vis Industrie Alimentari</c:v>
                  </c:pt>
                  <c:pt idx="65">
                    <c:v>Soavegel</c:v>
                  </c:pt>
                  <c:pt idx="66">
                    <c:v>Nettuno Alimentari Srl</c:v>
                  </c:pt>
                  <c:pt idx="67">
                    <c:v>Buitoni</c:v>
                  </c:pt>
                  <c:pt idx="68">
                    <c:v>Pescanova S.A.</c:v>
                  </c:pt>
                  <c:pt idx="69">
                    <c:v>Alpe Srl - Roma</c:v>
                  </c:pt>
                  <c:pt idx="70">
                    <c:v>Appetais Italia Spa</c:v>
                  </c:pt>
                  <c:pt idx="71">
                    <c:v>Royal Greenland</c:v>
                  </c:pt>
                  <c:pt idx="72">
                    <c:v>Panapesca</c:v>
                  </c:pt>
                  <c:pt idx="73">
                    <c:v>Conserviera Adriatica Spa</c:v>
                  </c:pt>
                  <c:pt idx="74">
                    <c:v>Gerfrio</c:v>
                  </c:pt>
                  <c:pt idx="75">
                    <c:v>Garbo Snc Di Comanducci Andrea</c:v>
                  </c:pt>
                  <c:pt idx="76">
                    <c:v>Vis Industrie Alimentari</c:v>
                  </c:pt>
                  <c:pt idx="77">
                    <c:v>Soavegel</c:v>
                  </c:pt>
                  <c:pt idx="78">
                    <c:v>Nettuno Alimentari Srl</c:v>
                  </c:pt>
                  <c:pt idx="79">
                    <c:v>Buitoni</c:v>
                  </c:pt>
                  <c:pt idx="80">
                    <c:v>Buitoni</c:v>
                  </c:pt>
                  <c:pt idx="81">
                    <c:v>Pescanova S.A.</c:v>
                  </c:pt>
                  <c:pt idx="82">
                    <c:v>Alpe Srl - Roma</c:v>
                  </c:pt>
                  <c:pt idx="83">
                    <c:v>Appetais Italia Spa</c:v>
                  </c:pt>
                  <c:pt idx="84">
                    <c:v>Royal Greenland</c:v>
                  </c:pt>
                  <c:pt idx="85">
                    <c:v>Panapesca</c:v>
                  </c:pt>
                  <c:pt idx="86">
                    <c:v>Conserviera Adriatica Spa</c:v>
                  </c:pt>
                  <c:pt idx="87">
                    <c:v>Gerfrio</c:v>
                  </c:pt>
                  <c:pt idx="88">
                    <c:v>Garbo Snc Di Comanducci Andrea</c:v>
                  </c:pt>
                  <c:pt idx="89">
                    <c:v>Vis Industrie Alimentari</c:v>
                  </c:pt>
                  <c:pt idx="90">
                    <c:v>Soavegel</c:v>
                  </c:pt>
                  <c:pt idx="91">
                    <c:v>Nettuno Alimentari Srl</c:v>
                  </c:pt>
                  <c:pt idx="92">
                    <c:v>Buitoni</c:v>
                  </c:pt>
                  <c:pt idx="93">
                    <c:v>Pescanova S.A.</c:v>
                  </c:pt>
                  <c:pt idx="94">
                    <c:v>Alpe Srl - Roma</c:v>
                  </c:pt>
                  <c:pt idx="95">
                    <c:v>Appetais Italia Spa</c:v>
                  </c:pt>
                  <c:pt idx="96">
                    <c:v>Royal Greenland</c:v>
                  </c:pt>
                  <c:pt idx="97">
                    <c:v>Panapesca</c:v>
                  </c:pt>
                  <c:pt idx="98">
                    <c:v>Conserviera Adriatica Spa</c:v>
                  </c:pt>
                  <c:pt idx="99">
                    <c:v>Gerfrio</c:v>
                  </c:pt>
                  <c:pt idx="100">
                    <c:v>Garbo Snc Di Comanducci Andrea</c:v>
                  </c:pt>
                  <c:pt idx="101">
                    <c:v>Vis Industrie Alimentari</c:v>
                  </c:pt>
                  <c:pt idx="102">
                    <c:v>Soavegel</c:v>
                  </c:pt>
                  <c:pt idx="103">
                    <c:v>Nettuno Alimentari Srl</c:v>
                  </c:pt>
                  <c:pt idx="104">
                    <c:v>Buitoni</c:v>
                  </c:pt>
                  <c:pt idx="105">
                    <c:v>Alpe Srl - Roma</c:v>
                  </c:pt>
                  <c:pt idx="106">
                    <c:v>Appetais Italia Spa</c:v>
                  </c:pt>
                  <c:pt idx="107">
                    <c:v>Royal Greenland</c:v>
                  </c:pt>
                  <c:pt idx="108">
                    <c:v>Panapesca</c:v>
                  </c:pt>
                  <c:pt idx="109">
                    <c:v>Conserviera Adriatica Spa</c:v>
                  </c:pt>
                  <c:pt idx="110">
                    <c:v>Gerfrio</c:v>
                  </c:pt>
                  <c:pt idx="111">
                    <c:v>Garbo Snc Di Comanducci Andrea</c:v>
                  </c:pt>
                  <c:pt idx="112">
                    <c:v>Vis Industrie Alimentari</c:v>
                  </c:pt>
                  <c:pt idx="113">
                    <c:v>Soavegel</c:v>
                  </c:pt>
                  <c:pt idx="114">
                    <c:v>Nettuno Alimentari Srl</c:v>
                  </c:pt>
                  <c:pt idx="115">
                    <c:v>Buitoni</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5"/>
          <c:min val="0.5"/>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chemeClr val="bg2"/>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chemeClr val="bg2"/>
              </a:solidFill>
              <a:ln>
                <a:noFill/>
              </a:ln>
              <a:effectLst/>
            </c:spPr>
            <c:extLst>
              <c:ext xmlns:c16="http://schemas.microsoft.com/office/drawing/2014/chart" uri="{C3380CC4-5D6E-409C-BE32-E72D297353CC}">
                <c16:uniqueId val="{00000005-26FB-4B52-8D72-D56D618E8EAF}"/>
              </c:ext>
            </c:extLst>
          </c:dPt>
          <c:dPt>
            <c:idx val="3"/>
            <c:invertIfNegative val="0"/>
            <c:bubble3D val="0"/>
            <c:extLst>
              <c:ext xmlns:c16="http://schemas.microsoft.com/office/drawing/2014/chart" uri="{C3380CC4-5D6E-409C-BE32-E72D297353CC}">
                <c16:uniqueId val="{00000007-26FB-4B52-8D72-D56D618E8EAF}"/>
              </c:ext>
            </c:extLst>
          </c:dPt>
          <c:dPt>
            <c:idx val="4"/>
            <c:invertIfNegative val="0"/>
            <c:bubble3D val="0"/>
            <c:extLst>
              <c:ext xmlns:c16="http://schemas.microsoft.com/office/drawing/2014/chart" uri="{C3380CC4-5D6E-409C-BE32-E72D297353CC}">
                <c16:uniqueId val="{00000009-26FB-4B52-8D72-D56D618E8EAF}"/>
              </c:ext>
            </c:extLst>
          </c:dPt>
          <c:dPt>
            <c:idx val="5"/>
            <c:invertIfNegative val="0"/>
            <c:bubble3D val="0"/>
            <c:extLst>
              <c:ext xmlns:c16="http://schemas.microsoft.com/office/drawing/2014/chart" uri="{C3380CC4-5D6E-409C-BE32-E72D297353CC}">
                <c16:uniqueId val="{0000000B-26FB-4B52-8D72-D56D618E8EAF}"/>
              </c:ext>
            </c:extLst>
          </c:dPt>
          <c:dPt>
            <c:idx val="6"/>
            <c:invertIfNegative val="0"/>
            <c:bubble3D val="0"/>
            <c:spPr>
              <a:solidFill>
                <a:schemeClr val="bg2"/>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99C582A6-2ADC-42AD-B1B2-BD0B861947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8DAAD316-C7E0-4024-8027-63AA8FF85A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E94E5295-96EF-460F-B031-B886784C73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F58FE6CA-3F8E-41EC-B8D7-F5B0127BB1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CFA8E8FA-9142-4810-844B-F43709C78E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4DCE3BD2-596F-459E-BAFF-56F7121D38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1926D28A-871E-4825-9917-25D158C03F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5A780AA7-9DE2-4530-BAE9-F7C5B9F057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1A25F726-EF1F-4419-B010-4AC8A3F93E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44D06352-003C-429F-8232-62D362E628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6515E157-7EBD-4A47-985C-451C751BFD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B86C18EA-4E46-484B-AD25-BAF436E16C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26FB-4B52-8D72-D56D618E8EAF}"/>
                </c:ext>
              </c:extLst>
            </c:dLbl>
            <c:dLbl>
              <c:idx val="12"/>
              <c:tx>
                <c:rich>
                  <a:bodyPr/>
                  <a:lstStyle/>
                  <a:p>
                    <a:fld id="{7D8F23DB-0F04-494D-BD70-04A8D58ECE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B2D-4A32-96D2-9C641BCDE5CC}"/>
                </c:ext>
              </c:extLst>
            </c:dLbl>
            <c:dLbl>
              <c:idx val="13"/>
              <c:tx>
                <c:rich>
                  <a:bodyPr/>
                  <a:lstStyle/>
                  <a:p>
                    <a:fld id="{67668F7F-0F04-452E-9CA5-C845B73F31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26FB-4B52-8D72-D56D618E8EAF}"/>
                </c:ext>
              </c:extLst>
            </c:dLbl>
            <c:dLbl>
              <c:idx val="14"/>
              <c:tx>
                <c:rich>
                  <a:bodyPr/>
                  <a:lstStyle/>
                  <a:p>
                    <a:fld id="{FE441229-8209-432A-8D57-15A60821D6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26FB-4B52-8D72-D56D618E8EAF}"/>
                </c:ext>
              </c:extLst>
            </c:dLbl>
            <c:dLbl>
              <c:idx val="15"/>
              <c:tx>
                <c:rich>
                  <a:bodyPr/>
                  <a:lstStyle/>
                  <a:p>
                    <a:fld id="{F0E10CD3-A92E-4CE7-8F94-A0075BD8BB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26FB-4B52-8D72-D56D618E8EAF}"/>
                </c:ext>
              </c:extLst>
            </c:dLbl>
            <c:dLbl>
              <c:idx val="16"/>
              <c:tx>
                <c:rich>
                  <a:bodyPr/>
                  <a:lstStyle/>
                  <a:p>
                    <a:fld id="{1F35C181-7257-4ABF-AEFA-C1EFDCCDC7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A6E-4C83-9A06-9C3309B2855E}"/>
                </c:ext>
              </c:extLst>
            </c:dLbl>
            <c:dLbl>
              <c:idx val="17"/>
              <c:tx>
                <c:rich>
                  <a:bodyPr/>
                  <a:lstStyle/>
                  <a:p>
                    <a:fld id="{FBE0E62C-339A-4FE2-BF0B-B550F2667A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0A6E-4C83-9A06-9C3309B2855E}"/>
                </c:ext>
              </c:extLst>
            </c:dLbl>
            <c:dLbl>
              <c:idx val="18"/>
              <c:tx>
                <c:rich>
                  <a:bodyPr/>
                  <a:lstStyle/>
                  <a:p>
                    <a:fld id="{64726D9F-0E4E-4EAC-8AAC-66B41EF5A4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A6E-4C83-9A06-9C3309B2855E}"/>
                </c:ext>
              </c:extLst>
            </c:dLbl>
            <c:dLbl>
              <c:idx val="19"/>
              <c:tx>
                <c:rich>
                  <a:bodyPr/>
                  <a:lstStyle/>
                  <a:p>
                    <a:fld id="{313B8618-B743-4D2C-9A73-E842A7F74A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A6E-4C83-9A06-9C3309B2855E}"/>
                </c:ext>
              </c:extLst>
            </c:dLbl>
            <c:dLbl>
              <c:idx val="20"/>
              <c:tx>
                <c:rich>
                  <a:bodyPr/>
                  <a:lstStyle/>
                  <a:p>
                    <a:fld id="{6B0F3FF8-2CD4-471B-8464-76178530D5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C5AD-4BCF-9CB2-60EDA2D7DB42}"/>
                </c:ext>
              </c:extLst>
            </c:dLbl>
            <c:dLbl>
              <c:idx val="21"/>
              <c:tx>
                <c:rich>
                  <a:bodyPr/>
                  <a:lstStyle/>
                  <a:p>
                    <a:fld id="{FF81B970-13CF-403C-B763-9EC2AE94E8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5AD-4BCF-9CB2-60EDA2D7DB42}"/>
                </c:ext>
              </c:extLst>
            </c:dLbl>
            <c:dLbl>
              <c:idx val="22"/>
              <c:tx>
                <c:rich>
                  <a:bodyPr/>
                  <a:lstStyle/>
                  <a:p>
                    <a:fld id="{2C0E490B-FBB9-400B-B4EE-5ECE763BCD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5AD-4BCF-9CB2-60EDA2D7DB42}"/>
                </c:ext>
              </c:extLst>
            </c:dLbl>
            <c:dLbl>
              <c:idx val="23"/>
              <c:tx>
                <c:rich>
                  <a:bodyPr/>
                  <a:lstStyle/>
                  <a:p>
                    <a:fld id="{73A59BB1-70A0-4BFA-8BD2-2535ECB319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5AD-4BCF-9CB2-60EDA2D7DB42}"/>
                </c:ext>
              </c:extLst>
            </c:dLbl>
            <c:dLbl>
              <c:idx val="24"/>
              <c:tx>
                <c:rich>
                  <a:bodyPr/>
                  <a:lstStyle/>
                  <a:p>
                    <a:fld id="{67307D55-E499-455A-8AC3-43DB7C1683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A6E-4C83-9A06-9C3309B2855E}"/>
                </c:ext>
              </c:extLst>
            </c:dLbl>
            <c:dLbl>
              <c:idx val="25"/>
              <c:tx>
                <c:rich>
                  <a:bodyPr/>
                  <a:lstStyle/>
                  <a:p>
                    <a:fld id="{260BED3C-E34B-4CE2-BBF0-FCFBE0BA5B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D12-44DE-B956-CABCB15EBC04}"/>
                </c:ext>
              </c:extLst>
            </c:dLbl>
            <c:dLbl>
              <c:idx val="26"/>
              <c:tx>
                <c:rich>
                  <a:bodyPr/>
                  <a:lstStyle/>
                  <a:p>
                    <a:fld id="{E4DC83CB-3F6F-454A-8D48-9291A936B4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D12-44DE-B956-CABCB15EBC04}"/>
                </c:ext>
              </c:extLst>
            </c:dLbl>
            <c:dLbl>
              <c:idx val="27"/>
              <c:tx>
                <c:rich>
                  <a:bodyPr/>
                  <a:lstStyle/>
                  <a:p>
                    <a:fld id="{C494F64C-A45A-47E2-B4D7-0783623322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D12-44DE-B956-CABCB15EBC04}"/>
                </c:ext>
              </c:extLst>
            </c:dLbl>
            <c:dLbl>
              <c:idx val="28"/>
              <c:tx>
                <c:rich>
                  <a:bodyPr/>
                  <a:lstStyle/>
                  <a:p>
                    <a:fld id="{97ECF809-D907-4665-B098-C60DC0EF0C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D12-44DE-B956-CABCB15EBC04}"/>
                </c:ext>
              </c:extLst>
            </c:dLbl>
            <c:dLbl>
              <c:idx val="29"/>
              <c:tx>
                <c:rich>
                  <a:bodyPr/>
                  <a:lstStyle/>
                  <a:p>
                    <a:fld id="{BAD55BF4-7046-4135-A72D-53DF6416E4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47-486F-B734-6012CEA493B3}"/>
                </c:ext>
              </c:extLst>
            </c:dLbl>
            <c:dLbl>
              <c:idx val="30"/>
              <c:tx>
                <c:rich>
                  <a:bodyPr/>
                  <a:lstStyle/>
                  <a:p>
                    <a:fld id="{1B3D2065-015E-4F06-B48F-5B7F661D30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D12-44DE-B956-CABCB15EBC04}"/>
                </c:ext>
              </c:extLst>
            </c:dLbl>
            <c:dLbl>
              <c:idx val="31"/>
              <c:tx>
                <c:rich>
                  <a:bodyPr/>
                  <a:lstStyle/>
                  <a:p>
                    <a:fld id="{5CD8F060-F471-4BE9-B19F-6246D254AB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D12-44DE-B956-CABCB15EBC04}"/>
                </c:ext>
              </c:extLst>
            </c:dLbl>
            <c:dLbl>
              <c:idx val="32"/>
              <c:tx>
                <c:rich>
                  <a:bodyPr/>
                  <a:lstStyle/>
                  <a:p>
                    <a:fld id="{BB763AFD-BF2F-4043-B748-583AC81746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D12-44DE-B956-CABCB15EBC04}"/>
                </c:ext>
              </c:extLst>
            </c:dLbl>
            <c:dLbl>
              <c:idx val="33"/>
              <c:tx>
                <c:rich>
                  <a:bodyPr/>
                  <a:lstStyle/>
                  <a:p>
                    <a:fld id="{5AEBBBA9-8546-478F-948E-B3479ECEAF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D12-44DE-B956-CABCB15EBC04}"/>
                </c:ext>
              </c:extLst>
            </c:dLbl>
            <c:dLbl>
              <c:idx val="34"/>
              <c:tx>
                <c:rich>
                  <a:bodyPr/>
                  <a:lstStyle/>
                  <a:p>
                    <a:fld id="{7315CA71-D5A7-47CA-B332-A260777B82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D12-44DE-B956-CABCB15EBC04}"/>
                </c:ext>
              </c:extLst>
            </c:dLbl>
            <c:dLbl>
              <c:idx val="35"/>
              <c:tx>
                <c:rich>
                  <a:bodyPr/>
                  <a:lstStyle/>
                  <a:p>
                    <a:fld id="{50842560-EAD1-4412-A896-63359F444A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D12-44DE-B956-CABCB15EBC04}"/>
                </c:ext>
              </c:extLst>
            </c:dLbl>
            <c:dLbl>
              <c:idx val="36"/>
              <c:tx>
                <c:rich>
                  <a:bodyPr/>
                  <a:lstStyle/>
                  <a:p>
                    <a:fld id="{54204873-ABB1-40BD-A996-94ACC57FA2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D12-44DE-B956-CABCB15EBC04}"/>
                </c:ext>
              </c:extLst>
            </c:dLbl>
            <c:dLbl>
              <c:idx val="37"/>
              <c:tx>
                <c:rich>
                  <a:bodyPr/>
                  <a:lstStyle/>
                  <a:p>
                    <a:fld id="{E78B1749-74DD-453A-BC46-229E007A7C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D12-44DE-B956-CABCB15EBC04}"/>
                </c:ext>
              </c:extLst>
            </c:dLbl>
            <c:dLbl>
              <c:idx val="38"/>
              <c:tx>
                <c:rich>
                  <a:bodyPr/>
                  <a:lstStyle/>
                  <a:p>
                    <a:fld id="{7EDEF4DB-CF11-42D3-8FE9-0893CA5823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D12-44DE-B956-CABCB15EBC04}"/>
                </c:ext>
              </c:extLst>
            </c:dLbl>
            <c:dLbl>
              <c:idx val="39"/>
              <c:tx>
                <c:rich>
                  <a:bodyPr/>
                  <a:lstStyle/>
                  <a:p>
                    <a:fld id="{6D8922AF-28EE-4A94-8BA0-0221A91B14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D12-44DE-B956-CABCB15EBC04}"/>
                </c:ext>
              </c:extLst>
            </c:dLbl>
            <c:dLbl>
              <c:idx val="40"/>
              <c:tx>
                <c:rich>
                  <a:bodyPr/>
                  <a:lstStyle/>
                  <a:p>
                    <a:fld id="{C793BCB9-0BDB-424C-8A6F-C5A22A9321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D12-44DE-B956-CABCB15EBC04}"/>
                </c:ext>
              </c:extLst>
            </c:dLbl>
            <c:dLbl>
              <c:idx val="41"/>
              <c:tx>
                <c:rich>
                  <a:bodyPr/>
                  <a:lstStyle/>
                  <a:p>
                    <a:fld id="{32B9FB50-9EFF-489B-84B2-D95D9AE979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D12-44DE-B956-CABCB15EBC04}"/>
                </c:ext>
              </c:extLst>
            </c:dLbl>
            <c:dLbl>
              <c:idx val="42"/>
              <c:tx>
                <c:rich>
                  <a:bodyPr/>
                  <a:lstStyle/>
                  <a:p>
                    <a:fld id="{34922877-6A6D-407A-B65B-6F9578B679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D12-44DE-B956-CABCB15EBC04}"/>
                </c:ext>
              </c:extLst>
            </c:dLbl>
            <c:dLbl>
              <c:idx val="43"/>
              <c:tx>
                <c:rich>
                  <a:bodyPr/>
                  <a:lstStyle/>
                  <a:p>
                    <a:fld id="{E708358E-180C-41BD-929F-BE02DBD595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D12-44DE-B956-CABCB15EBC04}"/>
                </c:ext>
              </c:extLst>
            </c:dLbl>
            <c:dLbl>
              <c:idx val="44"/>
              <c:tx>
                <c:rich>
                  <a:bodyPr/>
                  <a:lstStyle/>
                  <a:p>
                    <a:fld id="{C58030FB-AF39-4834-9A5C-FBC4E55DF0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D12-44DE-B956-CABCB15EBC04}"/>
                </c:ext>
              </c:extLst>
            </c:dLbl>
            <c:dLbl>
              <c:idx val="45"/>
              <c:tx>
                <c:rich>
                  <a:bodyPr/>
                  <a:lstStyle/>
                  <a:p>
                    <a:fld id="{1D84288F-432C-451E-8F2E-41BCA8F847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D12-44DE-B956-CABCB15EBC04}"/>
                </c:ext>
              </c:extLst>
            </c:dLbl>
            <c:dLbl>
              <c:idx val="46"/>
              <c:tx>
                <c:rich>
                  <a:bodyPr/>
                  <a:lstStyle/>
                  <a:p>
                    <a:fld id="{85D928EF-DBBF-431C-B256-711E7AB795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D12-44DE-B956-CABCB15EBC04}"/>
                </c:ext>
              </c:extLst>
            </c:dLbl>
            <c:dLbl>
              <c:idx val="47"/>
              <c:tx>
                <c:rich>
                  <a:bodyPr/>
                  <a:lstStyle/>
                  <a:p>
                    <a:fld id="{F51AA779-AC30-43EA-BF25-72C4FBABF1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D12-44DE-B956-CABCB15EBC04}"/>
                </c:ext>
              </c:extLst>
            </c:dLbl>
            <c:dLbl>
              <c:idx val="48"/>
              <c:tx>
                <c:rich>
                  <a:bodyPr/>
                  <a:lstStyle/>
                  <a:p>
                    <a:fld id="{5695279A-7578-4475-B086-5B7059B763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D12-44DE-B956-CABCB15EBC04}"/>
                </c:ext>
              </c:extLst>
            </c:dLbl>
            <c:dLbl>
              <c:idx val="49"/>
              <c:tx>
                <c:rich>
                  <a:bodyPr/>
                  <a:lstStyle/>
                  <a:p>
                    <a:fld id="{CAE79A93-EA8B-4717-AA67-CB3D3C747E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D12-44DE-B956-CABCB15EBC04}"/>
                </c:ext>
              </c:extLst>
            </c:dLbl>
            <c:dLbl>
              <c:idx val="50"/>
              <c:tx>
                <c:rich>
                  <a:bodyPr/>
                  <a:lstStyle/>
                  <a:p>
                    <a:fld id="{0ADEDABB-CCB7-46C8-8092-79339294AB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D12-44DE-B956-CABCB15EBC04}"/>
                </c:ext>
              </c:extLst>
            </c:dLbl>
            <c:dLbl>
              <c:idx val="51"/>
              <c:tx>
                <c:rich>
                  <a:bodyPr/>
                  <a:lstStyle/>
                  <a:p>
                    <a:fld id="{9A44E4FA-FCCF-427F-9F93-EC97698BEB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D12-44DE-B956-CABCB15EBC04}"/>
                </c:ext>
              </c:extLst>
            </c:dLbl>
            <c:dLbl>
              <c:idx val="52"/>
              <c:tx>
                <c:rich>
                  <a:bodyPr/>
                  <a:lstStyle/>
                  <a:p>
                    <a:fld id="{27D2A89D-EBB0-46E0-BDE3-86D10B3FDE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D12-44DE-B956-CABCB15EBC04}"/>
                </c:ext>
              </c:extLst>
            </c:dLbl>
            <c:dLbl>
              <c:idx val="53"/>
              <c:tx>
                <c:rich>
                  <a:bodyPr/>
                  <a:lstStyle/>
                  <a:p>
                    <a:fld id="{09F90009-6401-4658-9125-DA74DAFDFF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D12-44DE-B956-CABCB15EBC04}"/>
                </c:ext>
              </c:extLst>
            </c:dLbl>
            <c:dLbl>
              <c:idx val="54"/>
              <c:tx>
                <c:rich>
                  <a:bodyPr/>
                  <a:lstStyle/>
                  <a:p>
                    <a:fld id="{2A99307A-3103-4D7F-AB4C-D47F7F670C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D12-44DE-B956-CABCB15EBC04}"/>
                </c:ext>
              </c:extLst>
            </c:dLbl>
            <c:dLbl>
              <c:idx val="55"/>
              <c:tx>
                <c:rich>
                  <a:bodyPr/>
                  <a:lstStyle/>
                  <a:p>
                    <a:fld id="{FA40FDBD-2A5F-42FB-8C04-8423BFCAB3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D12-44DE-B956-CABCB15EBC04}"/>
                </c:ext>
              </c:extLst>
            </c:dLbl>
            <c:dLbl>
              <c:idx val="56"/>
              <c:tx>
                <c:rich>
                  <a:bodyPr/>
                  <a:lstStyle/>
                  <a:p>
                    <a:fld id="{C1148A27-0707-46BD-97AB-6883CF5A57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8E3F-4D1B-A313-C02BEC0FDBD1}"/>
                </c:ext>
              </c:extLst>
            </c:dLbl>
            <c:dLbl>
              <c:idx val="57"/>
              <c:tx>
                <c:rich>
                  <a:bodyPr/>
                  <a:lstStyle/>
                  <a:p>
                    <a:fld id="{36290C2F-EE46-4765-B465-BA71A07258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8E3F-4D1B-A313-C02BEC0FDBD1}"/>
                </c:ext>
              </c:extLst>
            </c:dLbl>
            <c:dLbl>
              <c:idx val="58"/>
              <c:tx>
                <c:rich>
                  <a:bodyPr/>
                  <a:lstStyle/>
                  <a:p>
                    <a:fld id="{D602B5F6-7BE0-4E5E-A81B-3DCB8485F6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8E3F-4D1B-A313-C02BEC0FDBD1}"/>
                </c:ext>
              </c:extLst>
            </c:dLbl>
            <c:dLbl>
              <c:idx val="59"/>
              <c:tx>
                <c:rich>
                  <a:bodyPr/>
                  <a:lstStyle/>
                  <a:p>
                    <a:fld id="{2D2A6BB2-AEE9-4801-8596-C3814B6CA9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8E3F-4D1B-A313-C02BEC0FDBD1}"/>
                </c:ext>
              </c:extLst>
            </c:dLbl>
            <c:dLbl>
              <c:idx val="60"/>
              <c:tx>
                <c:rich>
                  <a:bodyPr/>
                  <a:lstStyle/>
                  <a:p>
                    <a:fld id="{6400BA6F-D90C-4D33-A903-B49D9E7F3B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8E3F-4D1B-A313-C02BEC0FDBD1}"/>
                </c:ext>
              </c:extLst>
            </c:dLbl>
            <c:dLbl>
              <c:idx val="61"/>
              <c:tx>
                <c:rich>
                  <a:bodyPr/>
                  <a:lstStyle/>
                  <a:p>
                    <a:fld id="{5249828B-1097-4BC9-AFC4-A9903E92F7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8E3F-4D1B-A313-C02BEC0FDBD1}"/>
                </c:ext>
              </c:extLst>
            </c:dLbl>
            <c:dLbl>
              <c:idx val="62"/>
              <c:tx>
                <c:rich>
                  <a:bodyPr/>
                  <a:lstStyle/>
                  <a:p>
                    <a:fld id="{680184D4-4FB5-4E33-A48A-6B5CD33022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8E3F-4D1B-A313-C02BEC0FDBD1}"/>
                </c:ext>
              </c:extLst>
            </c:dLbl>
            <c:dLbl>
              <c:idx val="63"/>
              <c:tx>
                <c:rich>
                  <a:bodyPr/>
                  <a:lstStyle/>
                  <a:p>
                    <a:fld id="{1026A256-94F9-44D6-AC30-BF03414229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8E3F-4D1B-A313-C02BEC0FDBD1}"/>
                </c:ext>
              </c:extLst>
            </c:dLbl>
            <c:dLbl>
              <c:idx val="64"/>
              <c:tx>
                <c:rich>
                  <a:bodyPr/>
                  <a:lstStyle/>
                  <a:p>
                    <a:fld id="{FF9B2E36-2793-48D4-9A45-9AB9510B68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8E3F-4D1B-A313-C02BEC0FDBD1}"/>
                </c:ext>
              </c:extLst>
            </c:dLbl>
            <c:dLbl>
              <c:idx val="65"/>
              <c:tx>
                <c:rich>
                  <a:bodyPr/>
                  <a:lstStyle/>
                  <a:p>
                    <a:fld id="{7A209BBE-C2A0-496B-AD7B-67BB547721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8E3F-4D1B-A313-C02BEC0FDBD1}"/>
                </c:ext>
              </c:extLst>
            </c:dLbl>
            <c:dLbl>
              <c:idx val="66"/>
              <c:tx>
                <c:rich>
                  <a:bodyPr/>
                  <a:lstStyle/>
                  <a:p>
                    <a:fld id="{734A0589-A2FB-4134-A088-FB732DF98A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8E3F-4D1B-A313-C02BEC0FDBD1}"/>
                </c:ext>
              </c:extLst>
            </c:dLbl>
            <c:dLbl>
              <c:idx val="67"/>
              <c:tx>
                <c:rich>
                  <a:bodyPr/>
                  <a:lstStyle/>
                  <a:p>
                    <a:fld id="{7A634AFE-9116-4DD3-8F7F-0B36CA7DF4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8E3F-4D1B-A313-C02BEC0FDBD1}"/>
                </c:ext>
              </c:extLst>
            </c:dLbl>
            <c:dLbl>
              <c:idx val="68"/>
              <c:tx>
                <c:rich>
                  <a:bodyPr/>
                  <a:lstStyle/>
                  <a:p>
                    <a:fld id="{BB307E10-D9F3-4CFE-BC70-A376F0D0AC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8E3F-4D1B-A313-C02BEC0FDBD1}"/>
                </c:ext>
              </c:extLst>
            </c:dLbl>
            <c:dLbl>
              <c:idx val="69"/>
              <c:tx>
                <c:rich>
                  <a:bodyPr/>
                  <a:lstStyle/>
                  <a:p>
                    <a:fld id="{DF8D28B4-2E8E-481A-BB5E-B18C22CBB7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8E3F-4D1B-A313-C02BEC0FDBD1}"/>
                </c:ext>
              </c:extLst>
            </c:dLbl>
            <c:dLbl>
              <c:idx val="70"/>
              <c:tx>
                <c:rich>
                  <a:bodyPr/>
                  <a:lstStyle/>
                  <a:p>
                    <a:fld id="{76EEE7C8-87D9-41F4-BEE4-4BD2CAA595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8E3F-4D1B-A313-C02BEC0FDBD1}"/>
                </c:ext>
              </c:extLst>
            </c:dLbl>
            <c:dLbl>
              <c:idx val="71"/>
              <c:tx>
                <c:rich>
                  <a:bodyPr/>
                  <a:lstStyle/>
                  <a:p>
                    <a:fld id="{B4D3F19D-4A9B-4E90-8E25-179859D8FE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8E3F-4D1B-A313-C02BEC0FDBD1}"/>
                </c:ext>
              </c:extLst>
            </c:dLbl>
            <c:dLbl>
              <c:idx val="72"/>
              <c:tx>
                <c:rich>
                  <a:bodyPr/>
                  <a:lstStyle/>
                  <a:p>
                    <a:fld id="{989AE246-E701-4C08-A84A-BC247C08BC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8E3F-4D1B-A313-C02BEC0FDBD1}"/>
                </c:ext>
              </c:extLst>
            </c:dLbl>
            <c:dLbl>
              <c:idx val="73"/>
              <c:tx>
                <c:rich>
                  <a:bodyPr/>
                  <a:lstStyle/>
                  <a:p>
                    <a:fld id="{338FB5CC-6792-42AC-8B7D-9A1F3D8320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8E3F-4D1B-A313-C02BEC0FDBD1}"/>
                </c:ext>
              </c:extLst>
            </c:dLbl>
            <c:dLbl>
              <c:idx val="74"/>
              <c:tx>
                <c:rich>
                  <a:bodyPr/>
                  <a:lstStyle/>
                  <a:p>
                    <a:fld id="{62815A5D-BF0E-4DE9-B4DC-C0400B9A76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8E3F-4D1B-A313-C02BEC0FDBD1}"/>
                </c:ext>
              </c:extLst>
            </c:dLbl>
            <c:dLbl>
              <c:idx val="75"/>
              <c:tx>
                <c:rich>
                  <a:bodyPr/>
                  <a:lstStyle/>
                  <a:p>
                    <a:fld id="{078D7FAB-A9CB-4991-9E05-419136043E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8E3F-4D1B-A313-C02BEC0FDBD1}"/>
                </c:ext>
              </c:extLst>
            </c:dLbl>
            <c:dLbl>
              <c:idx val="76"/>
              <c:tx>
                <c:rich>
                  <a:bodyPr/>
                  <a:lstStyle/>
                  <a:p>
                    <a:fld id="{B7AA67CF-3727-482D-9F68-220D7D13BF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8E3F-4D1B-A313-C02BEC0FDBD1}"/>
                </c:ext>
              </c:extLst>
            </c:dLbl>
            <c:dLbl>
              <c:idx val="77"/>
              <c:tx>
                <c:rich>
                  <a:bodyPr/>
                  <a:lstStyle/>
                  <a:p>
                    <a:fld id="{1DDA9C2F-3503-406C-ADB1-32B0D60DF2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8E3F-4D1B-A313-C02BEC0FDBD1}"/>
                </c:ext>
              </c:extLst>
            </c:dLbl>
            <c:dLbl>
              <c:idx val="78"/>
              <c:tx>
                <c:rich>
                  <a:bodyPr/>
                  <a:lstStyle/>
                  <a:p>
                    <a:fld id="{415A0558-4691-4738-A4D0-FFD2F6DCB1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8E3F-4D1B-A313-C02BEC0FDBD1}"/>
                </c:ext>
              </c:extLst>
            </c:dLbl>
            <c:dLbl>
              <c:idx val="79"/>
              <c:tx>
                <c:rich>
                  <a:bodyPr/>
                  <a:lstStyle/>
                  <a:p>
                    <a:fld id="{2560E55E-3982-4F0C-ADFA-14B731F79F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8E3F-4D1B-A313-C02BEC0FDBD1}"/>
                </c:ext>
              </c:extLst>
            </c:dLbl>
            <c:dLbl>
              <c:idx val="80"/>
              <c:tx>
                <c:rich>
                  <a:bodyPr/>
                  <a:lstStyle/>
                  <a:p>
                    <a:fld id="{34C6BA65-71F9-407F-958D-EDE89A24DB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8E3F-4D1B-A313-C02BEC0FDBD1}"/>
                </c:ext>
              </c:extLst>
            </c:dLbl>
            <c:dLbl>
              <c:idx val="81"/>
              <c:tx>
                <c:rich>
                  <a:bodyPr/>
                  <a:lstStyle/>
                  <a:p>
                    <a:fld id="{9D9CB37B-BED9-4FEA-A719-C5BA86533F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9-8E3F-4D1B-A313-C02BEC0FDBD1}"/>
                </c:ext>
              </c:extLst>
            </c:dLbl>
            <c:dLbl>
              <c:idx val="82"/>
              <c:tx>
                <c:rich>
                  <a:bodyPr/>
                  <a:lstStyle/>
                  <a:p>
                    <a:fld id="{17B65785-10B6-4678-89E1-540A7F4CB7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A-8E3F-4D1B-A313-C02BEC0FDBD1}"/>
                </c:ext>
              </c:extLst>
            </c:dLbl>
            <c:dLbl>
              <c:idx val="83"/>
              <c:tx>
                <c:rich>
                  <a:bodyPr/>
                  <a:lstStyle/>
                  <a:p>
                    <a:fld id="{F408CB18-6CE0-4498-9F7F-BB58493920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B-8E3F-4D1B-A313-C02BEC0FDBD1}"/>
                </c:ext>
              </c:extLst>
            </c:dLbl>
            <c:dLbl>
              <c:idx val="84"/>
              <c:tx>
                <c:rich>
                  <a:bodyPr/>
                  <a:lstStyle/>
                  <a:p>
                    <a:fld id="{87C36A61-99F8-4FA9-90AB-D79A5B7BF3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C-8E3F-4D1B-A313-C02BEC0FDBD1}"/>
                </c:ext>
              </c:extLst>
            </c:dLbl>
            <c:dLbl>
              <c:idx val="85"/>
              <c:tx>
                <c:rich>
                  <a:bodyPr/>
                  <a:lstStyle/>
                  <a:p>
                    <a:fld id="{4233E69D-98D9-4348-82F3-A263B4E31D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D-8E3F-4D1B-A313-C02BEC0FDBD1}"/>
                </c:ext>
              </c:extLst>
            </c:dLbl>
            <c:dLbl>
              <c:idx val="86"/>
              <c:tx>
                <c:rich>
                  <a:bodyPr/>
                  <a:lstStyle/>
                  <a:p>
                    <a:fld id="{99A0655D-EB78-40B5-968F-26DCDC5ADF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E-8E3F-4D1B-A313-C02BEC0FDBD1}"/>
                </c:ext>
              </c:extLst>
            </c:dLbl>
            <c:dLbl>
              <c:idx val="87"/>
              <c:tx>
                <c:rich>
                  <a:bodyPr/>
                  <a:lstStyle/>
                  <a:p>
                    <a:fld id="{5460ADCC-6E9C-4DE5-93B2-70D09588DD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F-8E3F-4D1B-A313-C02BEC0FDBD1}"/>
                </c:ext>
              </c:extLst>
            </c:dLbl>
            <c:dLbl>
              <c:idx val="88"/>
              <c:tx>
                <c:rich>
                  <a:bodyPr/>
                  <a:lstStyle/>
                  <a:p>
                    <a:fld id="{F51C29A2-CCFE-4A2A-8AC2-30EFF5D808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0-8E3F-4D1B-A313-C02BEC0FDBD1}"/>
                </c:ext>
              </c:extLst>
            </c:dLbl>
            <c:dLbl>
              <c:idx val="89"/>
              <c:tx>
                <c:rich>
                  <a:bodyPr/>
                  <a:lstStyle/>
                  <a:p>
                    <a:fld id="{FE0E4748-7F0A-414C-A1D0-ED3B0F5C05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1-8E3F-4D1B-A313-C02BEC0FDBD1}"/>
                </c:ext>
              </c:extLst>
            </c:dLbl>
            <c:dLbl>
              <c:idx val="90"/>
              <c:tx>
                <c:rich>
                  <a:bodyPr/>
                  <a:lstStyle/>
                  <a:p>
                    <a:fld id="{AB606B81-4DAE-42FC-996B-0BD5B3BFF8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2-8E3F-4D1B-A313-C02BEC0FDBD1}"/>
                </c:ext>
              </c:extLst>
            </c:dLbl>
            <c:dLbl>
              <c:idx val="91"/>
              <c:tx>
                <c:rich>
                  <a:bodyPr/>
                  <a:lstStyle/>
                  <a:p>
                    <a:fld id="{D2F907EF-8DB2-48A1-BEFF-996AA5435F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3-8E3F-4D1B-A313-C02BEC0FDBD1}"/>
                </c:ext>
              </c:extLst>
            </c:dLbl>
            <c:dLbl>
              <c:idx val="92"/>
              <c:tx>
                <c:rich>
                  <a:bodyPr/>
                  <a:lstStyle/>
                  <a:p>
                    <a:fld id="{7A956E9F-2164-46B3-BC9A-B8771A9E12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4-8E3F-4D1B-A313-C02BEC0FDBD1}"/>
                </c:ext>
              </c:extLst>
            </c:dLbl>
            <c:dLbl>
              <c:idx val="93"/>
              <c:tx>
                <c:rich>
                  <a:bodyPr/>
                  <a:lstStyle/>
                  <a:p>
                    <a:fld id="{13554D16-463C-4FF1-9370-74DEF45D98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5-8E3F-4D1B-A313-C02BEC0FDBD1}"/>
                </c:ext>
              </c:extLst>
            </c:dLbl>
            <c:dLbl>
              <c:idx val="94"/>
              <c:tx>
                <c:rich>
                  <a:bodyPr/>
                  <a:lstStyle/>
                  <a:p>
                    <a:fld id="{1D0C08A3-28BD-4C7E-942F-4ABF81525D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6-8E3F-4D1B-A313-C02BEC0FDBD1}"/>
                </c:ext>
              </c:extLst>
            </c:dLbl>
            <c:dLbl>
              <c:idx val="95"/>
              <c:tx>
                <c:rich>
                  <a:bodyPr/>
                  <a:lstStyle/>
                  <a:p>
                    <a:fld id="{6A1ECD65-E19F-4752-BCA5-6720120123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7-8E3F-4D1B-A313-C02BEC0FDBD1}"/>
                </c:ext>
              </c:extLst>
            </c:dLbl>
            <c:dLbl>
              <c:idx val="96"/>
              <c:tx>
                <c:rich>
                  <a:bodyPr/>
                  <a:lstStyle/>
                  <a:p>
                    <a:fld id="{7997230A-C062-4E6D-A28B-8F38D478CC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8-8E3F-4D1B-A313-C02BEC0FDBD1}"/>
                </c:ext>
              </c:extLst>
            </c:dLbl>
            <c:dLbl>
              <c:idx val="97"/>
              <c:tx>
                <c:rich>
                  <a:bodyPr/>
                  <a:lstStyle/>
                  <a:p>
                    <a:fld id="{0D9441F6-A3F6-4F2A-BA7D-1F71E2194A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9-8E3F-4D1B-A313-C02BEC0FDBD1}"/>
                </c:ext>
              </c:extLst>
            </c:dLbl>
            <c:dLbl>
              <c:idx val="98"/>
              <c:tx>
                <c:rich>
                  <a:bodyPr/>
                  <a:lstStyle/>
                  <a:p>
                    <a:fld id="{5A3CD5C1-6DDE-4FF5-8593-5EDBA2E77D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A-8E3F-4D1B-A313-C02BEC0FDBD1}"/>
                </c:ext>
              </c:extLst>
            </c:dLbl>
            <c:dLbl>
              <c:idx val="99"/>
              <c:tx>
                <c:rich>
                  <a:bodyPr/>
                  <a:lstStyle/>
                  <a:p>
                    <a:fld id="{EA03835B-7BB7-4145-A5D0-A9C61F6C6E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B-8E3F-4D1B-A313-C02BEC0FDBD1}"/>
                </c:ext>
              </c:extLst>
            </c:dLbl>
            <c:dLbl>
              <c:idx val="100"/>
              <c:tx>
                <c:rich>
                  <a:bodyPr/>
                  <a:lstStyle/>
                  <a:p>
                    <a:fld id="{56752600-A68F-489C-AABC-8039B4195F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C-8E3F-4D1B-A313-C02BEC0FDBD1}"/>
                </c:ext>
              </c:extLst>
            </c:dLbl>
            <c:dLbl>
              <c:idx val="101"/>
              <c:tx>
                <c:rich>
                  <a:bodyPr/>
                  <a:lstStyle/>
                  <a:p>
                    <a:fld id="{F87E63BF-5E13-4DDB-A9F5-27A43F6510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D-8E3F-4D1B-A313-C02BEC0FDBD1}"/>
                </c:ext>
              </c:extLst>
            </c:dLbl>
            <c:dLbl>
              <c:idx val="102"/>
              <c:tx>
                <c:rich>
                  <a:bodyPr/>
                  <a:lstStyle/>
                  <a:p>
                    <a:fld id="{57876D20-E762-4CD5-9675-8656F0EEC2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E-8E3F-4D1B-A313-C02BEC0FDBD1}"/>
                </c:ext>
              </c:extLst>
            </c:dLbl>
            <c:dLbl>
              <c:idx val="103"/>
              <c:tx>
                <c:rich>
                  <a:bodyPr/>
                  <a:lstStyle/>
                  <a:p>
                    <a:fld id="{6ED01BF9-C5EE-49BD-BDC5-E19F28CD6A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F-8E3F-4D1B-A313-C02BEC0FDBD1}"/>
                </c:ext>
              </c:extLst>
            </c:dLbl>
            <c:dLbl>
              <c:idx val="104"/>
              <c:tx>
                <c:rich>
                  <a:bodyPr/>
                  <a:lstStyle/>
                  <a:p>
                    <a:fld id="{74012811-2AF6-49B8-A21C-EA230621D9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0-8E3F-4D1B-A313-C02BEC0FDBD1}"/>
                </c:ext>
              </c:extLst>
            </c:dLbl>
            <c:dLbl>
              <c:idx val="105"/>
              <c:tx>
                <c:rich>
                  <a:bodyPr/>
                  <a:lstStyle/>
                  <a:p>
                    <a:fld id="{21877A15-1012-4689-AE16-5162E8F436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1-8E3F-4D1B-A313-C02BEC0FDBD1}"/>
                </c:ext>
              </c:extLst>
            </c:dLbl>
            <c:dLbl>
              <c:idx val="106"/>
              <c:tx>
                <c:rich>
                  <a:bodyPr/>
                  <a:lstStyle/>
                  <a:p>
                    <a:fld id="{A39CF1C5-CEFB-410D-A5BD-E1E34E5416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2-8E3F-4D1B-A313-C02BEC0FDBD1}"/>
                </c:ext>
              </c:extLst>
            </c:dLbl>
            <c:dLbl>
              <c:idx val="107"/>
              <c:tx>
                <c:rich>
                  <a:bodyPr/>
                  <a:lstStyle/>
                  <a:p>
                    <a:fld id="{269964C5-8F58-48E5-AE06-BF0284D7E3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3-8E3F-4D1B-A313-C02BEC0FDBD1}"/>
                </c:ext>
              </c:extLst>
            </c:dLbl>
            <c:dLbl>
              <c:idx val="108"/>
              <c:tx>
                <c:rich>
                  <a:bodyPr/>
                  <a:lstStyle/>
                  <a:p>
                    <a:fld id="{111C3272-D2CB-4887-A01D-36F287C63D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4-8E3F-4D1B-A313-C02BEC0FDBD1}"/>
                </c:ext>
              </c:extLst>
            </c:dLbl>
            <c:dLbl>
              <c:idx val="109"/>
              <c:tx>
                <c:rich>
                  <a:bodyPr/>
                  <a:lstStyle/>
                  <a:p>
                    <a:fld id="{937C0D65-4511-458D-A274-DC11D9E2A3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5-8E3F-4D1B-A313-C02BEC0FDBD1}"/>
                </c:ext>
              </c:extLst>
            </c:dLbl>
            <c:dLbl>
              <c:idx val="110"/>
              <c:tx>
                <c:rich>
                  <a:bodyPr/>
                  <a:lstStyle/>
                  <a:p>
                    <a:fld id="{C661E4AA-40BF-4052-B802-D9A5761B42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6-8E3F-4D1B-A313-C02BEC0FDBD1}"/>
                </c:ext>
              </c:extLst>
            </c:dLbl>
            <c:dLbl>
              <c:idx val="111"/>
              <c:tx>
                <c:rich>
                  <a:bodyPr/>
                  <a:lstStyle/>
                  <a:p>
                    <a:fld id="{20665538-423C-4DCD-9F95-D1566C14D5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7-8E3F-4D1B-A313-C02BEC0FDBD1}"/>
                </c:ext>
              </c:extLst>
            </c:dLbl>
            <c:dLbl>
              <c:idx val="112"/>
              <c:tx>
                <c:rich>
                  <a:bodyPr/>
                  <a:lstStyle/>
                  <a:p>
                    <a:fld id="{80CA9BC0-957E-4FCB-AAFF-C0FFAA2624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8-8E3F-4D1B-A313-C02BEC0FDBD1}"/>
                </c:ext>
              </c:extLst>
            </c:dLbl>
            <c:dLbl>
              <c:idx val="113"/>
              <c:tx>
                <c:rich>
                  <a:bodyPr/>
                  <a:lstStyle/>
                  <a:p>
                    <a:fld id="{2D292665-2175-49A6-9062-A1774A3731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9-8E3F-4D1B-A313-C02BEC0FDBD1}"/>
                </c:ext>
              </c:extLst>
            </c:dLbl>
            <c:dLbl>
              <c:idx val="114"/>
              <c:tx>
                <c:rich>
                  <a:bodyPr/>
                  <a:lstStyle/>
                  <a:p>
                    <a:fld id="{F307FFCE-C819-49AB-9B19-23F02D1BA1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A-8E3F-4D1B-A313-C02BEC0FDBD1}"/>
                </c:ext>
              </c:extLst>
            </c:dLbl>
            <c:dLbl>
              <c:idx val="115"/>
              <c:tx>
                <c:rich>
                  <a:bodyPr/>
                  <a:lstStyle/>
                  <a:p>
                    <a:fld id="{50CE1E36-840C-40EF-B864-0A75DF8569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D$2:$D$117</c:f>
              <c:numCache>
                <c:formatCode>General</c:formatCode>
                <c:ptCount val="116"/>
                <c:pt idx="0">
                  <c:v>1</c:v>
                </c:pt>
                <c:pt idx="1">
                  <c:v>1</c:v>
                </c:pt>
                <c:pt idx="2">
                  <c:v>1</c:v>
                </c:pt>
                <c:pt idx="3">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15" formatCode="0">
                  <c:v>1</c:v>
                </c:pt>
                <c:pt idx="16" formatCode="0">
                  <c:v>1</c:v>
                </c:pt>
                <c:pt idx="17" formatCode="0">
                  <c:v>2</c:v>
                </c:pt>
                <c:pt idx="18" formatCode="0">
                  <c:v>1</c:v>
                </c:pt>
                <c:pt idx="19" formatCode="0">
                  <c:v>2</c:v>
                </c:pt>
                <c:pt idx="20" formatCode="0">
                  <c:v>2</c:v>
                </c:pt>
                <c:pt idx="21" formatCode="0">
                  <c:v>2</c:v>
                </c:pt>
                <c:pt idx="22" formatCode="0">
                  <c:v>2</c:v>
                </c:pt>
                <c:pt idx="23" formatCode="0">
                  <c:v>2</c:v>
                </c:pt>
                <c:pt idx="24" formatCode="0">
                  <c:v>2</c:v>
                </c:pt>
                <c:pt idx="25" formatCode="0">
                  <c:v>2</c:v>
                </c:pt>
                <c:pt idx="26" formatCode="0">
                  <c:v>2</c:v>
                </c:pt>
                <c:pt idx="27">
                  <c:v>2</c:v>
                </c:pt>
                <c:pt idx="28">
                  <c:v>2</c:v>
                </c:pt>
                <c:pt idx="29">
                  <c:v>2</c:v>
                </c:pt>
                <c:pt idx="30">
                  <c:v>2</c:v>
                </c:pt>
                <c:pt idx="31">
                  <c:v>3</c:v>
                </c:pt>
                <c:pt idx="32">
                  <c:v>3</c:v>
                </c:pt>
                <c:pt idx="33">
                  <c:v>3</c:v>
                </c:pt>
                <c:pt idx="34">
                  <c:v>3</c:v>
                </c:pt>
                <c:pt idx="35">
                  <c:v>3</c:v>
                </c:pt>
                <c:pt idx="36">
                  <c:v>3</c:v>
                </c:pt>
                <c:pt idx="37">
                  <c:v>3</c:v>
                </c:pt>
                <c:pt idx="38">
                  <c:v>3</c:v>
                </c:pt>
                <c:pt idx="39">
                  <c:v>3</c:v>
                </c:pt>
                <c:pt idx="40">
                  <c:v>3</c:v>
                </c:pt>
                <c:pt idx="41">
                  <c:v>3</c:v>
                </c:pt>
                <c:pt idx="42">
                  <c:v>3</c:v>
                </c:pt>
                <c:pt idx="43">
                  <c:v>3</c:v>
                </c:pt>
                <c:pt idx="44">
                  <c:v>4</c:v>
                </c:pt>
                <c:pt idx="45">
                  <c:v>4</c:v>
                </c:pt>
                <c:pt idx="46">
                  <c:v>4</c:v>
                </c:pt>
                <c:pt idx="47">
                  <c:v>4</c:v>
                </c:pt>
                <c:pt idx="48">
                  <c:v>4</c:v>
                </c:pt>
                <c:pt idx="49">
                  <c:v>4</c:v>
                </c:pt>
                <c:pt idx="50">
                  <c:v>4</c:v>
                </c:pt>
                <c:pt idx="51">
                  <c:v>4</c:v>
                </c:pt>
                <c:pt idx="52">
                  <c:v>4</c:v>
                </c:pt>
                <c:pt idx="53">
                  <c:v>4</c:v>
                </c:pt>
                <c:pt idx="54">
                  <c:v>4</c:v>
                </c:pt>
                <c:pt idx="55">
                  <c:v>4</c:v>
                </c:pt>
                <c:pt idx="56">
                  <c:v>4</c:v>
                </c:pt>
                <c:pt idx="57">
                  <c:v>4</c:v>
                </c:pt>
                <c:pt idx="58">
                  <c:v>4</c:v>
                </c:pt>
                <c:pt idx="59">
                  <c:v>4</c:v>
                </c:pt>
                <c:pt idx="60">
                  <c:v>4</c:v>
                </c:pt>
                <c:pt idx="61">
                  <c:v>4</c:v>
                </c:pt>
                <c:pt idx="62">
                  <c:v>4</c:v>
                </c:pt>
                <c:pt idx="63">
                  <c:v>4</c:v>
                </c:pt>
                <c:pt idx="64">
                  <c:v>4</c:v>
                </c:pt>
                <c:pt idx="65">
                  <c:v>4</c:v>
                </c:pt>
                <c:pt idx="66">
                  <c:v>4</c:v>
                </c:pt>
                <c:pt idx="67">
                  <c:v>4</c:v>
                </c:pt>
                <c:pt idx="68">
                  <c:v>5</c:v>
                </c:pt>
                <c:pt idx="69">
                  <c:v>5</c:v>
                </c:pt>
                <c:pt idx="70">
                  <c:v>5</c:v>
                </c:pt>
                <c:pt idx="71">
                  <c:v>5</c:v>
                </c:pt>
                <c:pt idx="72">
                  <c:v>5</c:v>
                </c:pt>
                <c:pt idx="73">
                  <c:v>5</c:v>
                </c:pt>
                <c:pt idx="74">
                  <c:v>5</c:v>
                </c:pt>
                <c:pt idx="75">
                  <c:v>5</c:v>
                </c:pt>
                <c:pt idx="76">
                  <c:v>5</c:v>
                </c:pt>
                <c:pt idx="77">
                  <c:v>5</c:v>
                </c:pt>
                <c:pt idx="78">
                  <c:v>5</c:v>
                </c:pt>
                <c:pt idx="79">
                  <c:v>5</c:v>
                </c:pt>
                <c:pt idx="80">
                  <c:v>6</c:v>
                </c:pt>
                <c:pt idx="81">
                  <c:v>6</c:v>
                </c:pt>
                <c:pt idx="82">
                  <c:v>6</c:v>
                </c:pt>
                <c:pt idx="83">
                  <c:v>6</c:v>
                </c:pt>
                <c:pt idx="84">
                  <c:v>6</c:v>
                </c:pt>
                <c:pt idx="85">
                  <c:v>6</c:v>
                </c:pt>
                <c:pt idx="86">
                  <c:v>6</c:v>
                </c:pt>
                <c:pt idx="87">
                  <c:v>6</c:v>
                </c:pt>
                <c:pt idx="88">
                  <c:v>6</c:v>
                </c:pt>
                <c:pt idx="89">
                  <c:v>6</c:v>
                </c:pt>
                <c:pt idx="90">
                  <c:v>6</c:v>
                </c:pt>
                <c:pt idx="91">
                  <c:v>6</c:v>
                </c:pt>
                <c:pt idx="92">
                  <c:v>6</c:v>
                </c:pt>
                <c:pt idx="93">
                  <c:v>7</c:v>
                </c:pt>
                <c:pt idx="94">
                  <c:v>7</c:v>
                </c:pt>
                <c:pt idx="95">
                  <c:v>7</c:v>
                </c:pt>
                <c:pt idx="96">
                  <c:v>7</c:v>
                </c:pt>
                <c:pt idx="97">
                  <c:v>7</c:v>
                </c:pt>
                <c:pt idx="98">
                  <c:v>7</c:v>
                </c:pt>
                <c:pt idx="99">
                  <c:v>7</c:v>
                </c:pt>
                <c:pt idx="100">
                  <c:v>7</c:v>
                </c:pt>
                <c:pt idx="101">
                  <c:v>7</c:v>
                </c:pt>
                <c:pt idx="102">
                  <c:v>7</c:v>
                </c:pt>
                <c:pt idx="103">
                  <c:v>7</c:v>
                </c:pt>
                <c:pt idx="104">
                  <c:v>7</c:v>
                </c:pt>
                <c:pt idx="105">
                  <c:v>8</c:v>
                </c:pt>
                <c:pt idx="106">
                  <c:v>8</c:v>
                </c:pt>
                <c:pt idx="107">
                  <c:v>8</c:v>
                </c:pt>
                <c:pt idx="108">
                  <c:v>8</c:v>
                </c:pt>
                <c:pt idx="109">
                  <c:v>8</c:v>
                </c:pt>
                <c:pt idx="110">
                  <c:v>8</c:v>
                </c:pt>
                <c:pt idx="111">
                  <c:v>8</c:v>
                </c:pt>
                <c:pt idx="112">
                  <c:v>8</c:v>
                </c:pt>
                <c:pt idx="113">
                  <c:v>8</c:v>
                </c:pt>
                <c:pt idx="114">
                  <c:v>8</c:v>
                </c:pt>
                <c:pt idx="115">
                  <c:v>8</c:v>
                </c:pt>
              </c:numCache>
            </c:numRef>
          </c:xVal>
          <c:yVal>
            <c:numRef>
              <c:f>Sheet1!$B$2:$B$117</c:f>
              <c:numCache>
                <c:formatCode>0%;\-0%;0%</c:formatCode>
                <c:ptCount val="116"/>
                <c:pt idx="0">
                  <c:v>0.33537119853666614</c:v>
                </c:pt>
                <c:pt idx="1">
                  <c:v>1.3110575620733895</c:v>
                </c:pt>
                <c:pt idx="2">
                  <c:v>0.12281129115912857</c:v>
                </c:pt>
                <c:pt idx="3">
                  <c:v>0.52740423038450002</c:v>
                </c:pt>
                <c:pt idx="4">
                  <c:v>0.23394614817291179</c:v>
                </c:pt>
                <c:pt idx="5">
                  <c:v>0.40424723346828612</c:v>
                </c:pt>
                <c:pt idx="6">
                  <c:v>1.0381094546405629</c:v>
                </c:pt>
                <c:pt idx="7">
                  <c:v>0.39464140468177511</c:v>
                </c:pt>
                <c:pt idx="8">
                  <c:v>1.0804710500490677</c:v>
                </c:pt>
                <c:pt idx="9">
                  <c:v>0.29756844074137051</c:v>
                </c:pt>
                <c:pt idx="10">
                  <c:v>0.34245897269923464</c:v>
                </c:pt>
                <c:pt idx="11">
                  <c:v>0.64309733708988459</c:v>
                </c:pt>
                <c:pt idx="12">
                  <c:v>7.6182838813151563E-3</c:v>
                </c:pt>
                <c:pt idx="13">
                  <c:v>7.2727272727272724E-2</c:v>
                </c:pt>
                <c:pt idx="14">
                  <c:v>9.4564818215203822E-2</c:v>
                </c:pt>
                <c:pt idx="15">
                  <c:v>0.97732228521587439</c:v>
                </c:pt>
                <c:pt idx="16">
                  <c:v>0.12916246215943492</c:v>
                </c:pt>
                <c:pt idx="17">
                  <c:v>0</c:v>
                </c:pt>
                <c:pt idx="18">
                  <c:v>0</c:v>
                </c:pt>
                <c:pt idx="19">
                  <c:v>0.67651164854893464</c:v>
                </c:pt>
                <c:pt idx="20">
                  <c:v>1.189595592135231</c:v>
                </c:pt>
                <c:pt idx="21">
                  <c:v>0.17901899226560691</c:v>
                </c:pt>
                <c:pt idx="22">
                  <c:v>1.1122736936699982</c:v>
                </c:pt>
                <c:pt idx="23">
                  <c:v>0.85910295216250121</c:v>
                </c:pt>
                <c:pt idx="24">
                  <c:v>0.98060814099444116</c:v>
                </c:pt>
                <c:pt idx="25">
                  <c:v>0.54450632951838152</c:v>
                </c:pt>
                <c:pt idx="26">
                  <c:v>0.56422668334309645</c:v>
                </c:pt>
                <c:pt idx="27">
                  <c:v>0.30859076520030565</c:v>
                </c:pt>
                <c:pt idx="28">
                  <c:v>-5.088408644400786E-2</c:v>
                </c:pt>
                <c:pt idx="29">
                  <c:v>0.48655046266408436</c:v>
                </c:pt>
                <c:pt idx="30">
                  <c:v>5.8252427184466021E-2</c:v>
                </c:pt>
                <c:pt idx="31">
                  <c:v>0.57528207397007924</c:v>
                </c:pt>
                <c:pt idx="32">
                  <c:v>0</c:v>
                </c:pt>
                <c:pt idx="33">
                  <c:v>0.34969330141134647</c:v>
                </c:pt>
                <c:pt idx="34">
                  <c:v>9.3618913842698215E-2</c:v>
                </c:pt>
                <c:pt idx="35">
                  <c:v>0.39086369781125707</c:v>
                </c:pt>
                <c:pt idx="36">
                  <c:v>0.53102946813067886</c:v>
                </c:pt>
                <c:pt idx="37">
                  <c:v>0.30671829359418518</c:v>
                </c:pt>
                <c:pt idx="38">
                  <c:v>4.7373658397896083E-2</c:v>
                </c:pt>
                <c:pt idx="39">
                  <c:v>9.8011706773204491E-2</c:v>
                </c:pt>
                <c:pt idx="40">
                  <c:v>5.9622372365136428E-2</c:v>
                </c:pt>
                <c:pt idx="41">
                  <c:v>0.3325076129317282</c:v>
                </c:pt>
                <c:pt idx="42">
                  <c:v>1.6811941832822908E-2</c:v>
                </c:pt>
                <c:pt idx="43">
                  <c:v>0.13383247543284979</c:v>
                </c:pt>
                <c:pt idx="44">
                  <c:v>0.18520227334689512</c:v>
                </c:pt>
                <c:pt idx="45">
                  <c:v>0.15534287581423784</c:v>
                </c:pt>
                <c:pt idx="46">
                  <c:v>0.27216813979063992</c:v>
                </c:pt>
                <c:pt idx="47">
                  <c:v>0.14428544647878522</c:v>
                </c:pt>
                <c:pt idx="48">
                  <c:v>8.9574245868403263E-2</c:v>
                </c:pt>
                <c:pt idx="49">
                  <c:v>0.29961779961779961</c:v>
                </c:pt>
                <c:pt idx="50">
                  <c:v>0.32942695401728078</c:v>
                </c:pt>
                <c:pt idx="51">
                  <c:v>0.79519295870006768</c:v>
                </c:pt>
                <c:pt idx="52">
                  <c:v>5.1974626560261916E-2</c:v>
                </c:pt>
                <c:pt idx="53">
                  <c:v>-2.5057825751734774E-2</c:v>
                </c:pt>
                <c:pt idx="54">
                  <c:v>-0.28899835796387519</c:v>
                </c:pt>
                <c:pt idx="55">
                  <c:v>0</c:v>
                </c:pt>
                <c:pt idx="56" formatCode="0.00%">
                  <c:v>0.18520227334689512</c:v>
                </c:pt>
                <c:pt idx="57" formatCode="0.00%">
                  <c:v>0.15534287581423784</c:v>
                </c:pt>
                <c:pt idx="58" formatCode="0.00%">
                  <c:v>0.27216813979063992</c:v>
                </c:pt>
                <c:pt idx="59" formatCode="0.00%">
                  <c:v>0.14428544647878522</c:v>
                </c:pt>
                <c:pt idx="60" formatCode="0.00%">
                  <c:v>8.9574245868403263E-2</c:v>
                </c:pt>
                <c:pt idx="61" formatCode="0.00%">
                  <c:v>0.29961779961779961</c:v>
                </c:pt>
                <c:pt idx="62" formatCode="0.00%">
                  <c:v>0.32942695401728078</c:v>
                </c:pt>
                <c:pt idx="63" formatCode="0.00%">
                  <c:v>0.79519295870006768</c:v>
                </c:pt>
                <c:pt idx="64" formatCode="0.00%">
                  <c:v>5.1974626560261916E-2</c:v>
                </c:pt>
                <c:pt idx="65" formatCode="0.00%">
                  <c:v>-2.5057825751734774E-2</c:v>
                </c:pt>
                <c:pt idx="66" formatCode="0.00%">
                  <c:v>-0.28899835796387519</c:v>
                </c:pt>
                <c:pt idx="67" formatCode="0.00%">
                  <c:v>0</c:v>
                </c:pt>
                <c:pt idx="68" formatCode="General">
                  <c:v>0.18520227334689512</c:v>
                </c:pt>
                <c:pt idx="69" formatCode="General">
                  <c:v>0.15534287581423784</c:v>
                </c:pt>
                <c:pt idx="70" formatCode="General">
                  <c:v>0.27216813979063992</c:v>
                </c:pt>
                <c:pt idx="71" formatCode="General">
                  <c:v>0.14428544647878522</c:v>
                </c:pt>
                <c:pt idx="72" formatCode="General">
                  <c:v>8.9574245868403263E-2</c:v>
                </c:pt>
                <c:pt idx="73" formatCode="General">
                  <c:v>0.29961779961779961</c:v>
                </c:pt>
                <c:pt idx="74" formatCode="General">
                  <c:v>0.32942695401728078</c:v>
                </c:pt>
                <c:pt idx="75" formatCode="General">
                  <c:v>0.79519295870006768</c:v>
                </c:pt>
                <c:pt idx="76" formatCode="General">
                  <c:v>5.1974626560261916E-2</c:v>
                </c:pt>
                <c:pt idx="77" formatCode="General">
                  <c:v>-2.5057825751734774E-2</c:v>
                </c:pt>
                <c:pt idx="78" formatCode="General">
                  <c:v>-0.28899835796387519</c:v>
                </c:pt>
                <c:pt idx="79" formatCode="General">
                  <c:v>0</c:v>
                </c:pt>
                <c:pt idx="80" formatCode="General">
                  <c:v>0</c:v>
                </c:pt>
                <c:pt idx="81" formatCode="General">
                  <c:v>0.18520227334689512</c:v>
                </c:pt>
                <c:pt idx="82" formatCode="General">
                  <c:v>0.15534287581423784</c:v>
                </c:pt>
                <c:pt idx="83" formatCode="General">
                  <c:v>0.27216813979063992</c:v>
                </c:pt>
                <c:pt idx="84" formatCode="General">
                  <c:v>0.14428544647878522</c:v>
                </c:pt>
                <c:pt idx="85" formatCode="General">
                  <c:v>8.9574245868403263E-2</c:v>
                </c:pt>
                <c:pt idx="86" formatCode="General">
                  <c:v>0.29961779961779961</c:v>
                </c:pt>
                <c:pt idx="87" formatCode="General">
                  <c:v>0.32942695401728078</c:v>
                </c:pt>
                <c:pt idx="88" formatCode="General">
                  <c:v>0.79519295870006768</c:v>
                </c:pt>
                <c:pt idx="89" formatCode="General">
                  <c:v>5.1974626560261916E-2</c:v>
                </c:pt>
                <c:pt idx="90" formatCode="General">
                  <c:v>-2.5057825751734774E-2</c:v>
                </c:pt>
                <c:pt idx="91" formatCode="General">
                  <c:v>-0.28899835796387519</c:v>
                </c:pt>
                <c:pt idx="92" formatCode="General">
                  <c:v>0</c:v>
                </c:pt>
                <c:pt idx="93" formatCode="General">
                  <c:v>0.18520227334689512</c:v>
                </c:pt>
                <c:pt idx="94" formatCode="General">
                  <c:v>0.15534287581423784</c:v>
                </c:pt>
                <c:pt idx="95" formatCode="General">
                  <c:v>0.27216813979063992</c:v>
                </c:pt>
                <c:pt idx="96" formatCode="General">
                  <c:v>0.14428544647878522</c:v>
                </c:pt>
                <c:pt idx="97" formatCode="General">
                  <c:v>8.9574245868403263E-2</c:v>
                </c:pt>
                <c:pt idx="98" formatCode="General">
                  <c:v>0.29961779961779961</c:v>
                </c:pt>
                <c:pt idx="99" formatCode="General">
                  <c:v>0.32942695401728078</c:v>
                </c:pt>
                <c:pt idx="100" formatCode="General">
                  <c:v>0.79519295870006768</c:v>
                </c:pt>
                <c:pt idx="101" formatCode="General">
                  <c:v>5.1974626560261916E-2</c:v>
                </c:pt>
                <c:pt idx="102" formatCode="General">
                  <c:v>-2.5057825751734774E-2</c:v>
                </c:pt>
                <c:pt idx="103" formatCode="General">
                  <c:v>-0.28899835796387519</c:v>
                </c:pt>
                <c:pt idx="104" formatCode="General">
                  <c:v>0</c:v>
                </c:pt>
                <c:pt idx="105" formatCode="General">
                  <c:v>0.15534287581423784</c:v>
                </c:pt>
                <c:pt idx="106" formatCode="General">
                  <c:v>0.27216813979063992</c:v>
                </c:pt>
                <c:pt idx="107" formatCode="General">
                  <c:v>0.14428544647878522</c:v>
                </c:pt>
                <c:pt idx="108" formatCode="General">
                  <c:v>8.9574245868403263E-2</c:v>
                </c:pt>
                <c:pt idx="109" formatCode="General">
                  <c:v>0.29961779961779961</c:v>
                </c:pt>
                <c:pt idx="110" formatCode="General">
                  <c:v>0.32942695401728078</c:v>
                </c:pt>
                <c:pt idx="111" formatCode="General">
                  <c:v>0.79519295870006768</c:v>
                </c:pt>
                <c:pt idx="112" formatCode="General">
                  <c:v>5.1974626560261916E-2</c:v>
                </c:pt>
                <c:pt idx="113" formatCode="General">
                  <c:v>-2.5057825751734774E-2</c:v>
                </c:pt>
                <c:pt idx="114" formatCode="General">
                  <c:v>-0.28899835796387519</c:v>
                </c:pt>
                <c:pt idx="115" formatCode="General">
                  <c:v>0</c:v>
                </c:pt>
              </c:numCache>
            </c:numRef>
          </c:yVal>
          <c:bubbleSize>
            <c:numRef>
              <c:f>Sheet1!$C$2:$C$117</c:f>
              <c:numCache>
                <c:formatCode>0%;\-0%;0%</c:formatCode>
                <c:ptCount val="116"/>
                <c:pt idx="0">
                  <c:v>4111084</c:v>
                </c:pt>
                <c:pt idx="1">
                  <c:v>1160533</c:v>
                </c:pt>
                <c:pt idx="2">
                  <c:v>1117212</c:v>
                </c:pt>
                <c:pt idx="3">
                  <c:v>504428</c:v>
                </c:pt>
                <c:pt idx="4">
                  <c:v>459435</c:v>
                </c:pt>
                <c:pt idx="5">
                  <c:v>386077</c:v>
                </c:pt>
                <c:pt idx="6">
                  <c:v>277647</c:v>
                </c:pt>
                <c:pt idx="7">
                  <c:v>222216</c:v>
                </c:pt>
                <c:pt idx="8">
                  <c:v>108739</c:v>
                </c:pt>
                <c:pt idx="9">
                  <c:v>100141</c:v>
                </c:pt>
                <c:pt idx="10">
                  <c:v>18851</c:v>
                </c:pt>
                <c:pt idx="11">
                  <c:v>13981</c:v>
                </c:pt>
                <c:pt idx="12">
                  <c:v>10864</c:v>
                </c:pt>
                <c:pt idx="13">
                  <c:v>7717</c:v>
                </c:pt>
                <c:pt idx="14">
                  <c:v>7439</c:v>
                </c:pt>
                <c:pt idx="15">
                  <c:v>4428</c:v>
                </c:pt>
                <c:pt idx="16">
                  <c:v>1120</c:v>
                </c:pt>
                <c:pt idx="17">
                  <c:v>21</c:v>
                </c:pt>
                <c:pt idx="18">
                  <c:v>0</c:v>
                </c:pt>
                <c:pt idx="19">
                  <c:v>12037304</c:v>
                </c:pt>
                <c:pt idx="20">
                  <c:v>5124041</c:v>
                </c:pt>
                <c:pt idx="21">
                  <c:v>4271666</c:v>
                </c:pt>
                <c:pt idx="22">
                  <c:v>1061364</c:v>
                </c:pt>
                <c:pt idx="23">
                  <c:v>786468</c:v>
                </c:pt>
                <c:pt idx="24">
                  <c:v>606283</c:v>
                </c:pt>
                <c:pt idx="25">
                  <c:v>479058</c:v>
                </c:pt>
                <c:pt idx="26">
                  <c:v>306437</c:v>
                </c:pt>
                <c:pt idx="27">
                  <c:v>83930</c:v>
                </c:pt>
                <c:pt idx="28">
                  <c:v>32553</c:v>
                </c:pt>
                <c:pt idx="29">
                  <c:v>24613</c:v>
                </c:pt>
                <c:pt idx="30">
                  <c:v>42</c:v>
                </c:pt>
                <c:pt idx="31">
                  <c:v>16067456</c:v>
                </c:pt>
                <c:pt idx="32">
                  <c:v>0</c:v>
                </c:pt>
                <c:pt idx="33">
                  <c:v>2257543</c:v>
                </c:pt>
                <c:pt idx="34">
                  <c:v>350113</c:v>
                </c:pt>
                <c:pt idx="35">
                  <c:v>238922</c:v>
                </c:pt>
                <c:pt idx="36">
                  <c:v>178620</c:v>
                </c:pt>
                <c:pt idx="37">
                  <c:v>98148</c:v>
                </c:pt>
                <c:pt idx="38">
                  <c:v>76752</c:v>
                </c:pt>
                <c:pt idx="39">
                  <c:v>59927</c:v>
                </c:pt>
                <c:pt idx="40">
                  <c:v>59154</c:v>
                </c:pt>
                <c:pt idx="41">
                  <c:v>58860</c:v>
                </c:pt>
                <c:pt idx="42">
                  <c:v>53214</c:v>
                </c:pt>
                <c:pt idx="43">
                  <c:v>45806</c:v>
                </c:pt>
                <c:pt idx="44">
                  <c:v>33868</c:v>
                </c:pt>
                <c:pt idx="45">
                  <c:v>28590</c:v>
                </c:pt>
                <c:pt idx="46">
                  <c:v>26827</c:v>
                </c:pt>
                <c:pt idx="47">
                  <c:v>15746</c:v>
                </c:pt>
                <c:pt idx="48">
                  <c:v>10871</c:v>
                </c:pt>
                <c:pt idx="49">
                  <c:v>10018</c:v>
                </c:pt>
                <c:pt idx="50">
                  <c:v>4962</c:v>
                </c:pt>
                <c:pt idx="51">
                  <c:v>4865</c:v>
                </c:pt>
                <c:pt idx="52">
                  <c:v>3900</c:v>
                </c:pt>
                <c:pt idx="53">
                  <c:v>1677</c:v>
                </c:pt>
                <c:pt idx="54">
                  <c:v>297</c:v>
                </c:pt>
                <c:pt idx="55">
                  <c:v>0</c:v>
                </c:pt>
                <c:pt idx="56" formatCode="General">
                  <c:v>33868</c:v>
                </c:pt>
                <c:pt idx="57" formatCode="General">
                  <c:v>28590</c:v>
                </c:pt>
                <c:pt idx="58" formatCode="General">
                  <c:v>26827</c:v>
                </c:pt>
                <c:pt idx="59" formatCode="General">
                  <c:v>15746</c:v>
                </c:pt>
                <c:pt idx="60" formatCode="General">
                  <c:v>10871</c:v>
                </c:pt>
                <c:pt idx="61" formatCode="General">
                  <c:v>10018</c:v>
                </c:pt>
                <c:pt idx="62" formatCode="General">
                  <c:v>4962</c:v>
                </c:pt>
                <c:pt idx="63" formatCode="General">
                  <c:v>4865</c:v>
                </c:pt>
                <c:pt idx="64" formatCode="General">
                  <c:v>3900</c:v>
                </c:pt>
                <c:pt idx="65" formatCode="General">
                  <c:v>1677</c:v>
                </c:pt>
                <c:pt idx="66" formatCode="General">
                  <c:v>297</c:v>
                </c:pt>
                <c:pt idx="67" formatCode="General">
                  <c:v>0</c:v>
                </c:pt>
                <c:pt idx="68" formatCode="General">
                  <c:v>33868</c:v>
                </c:pt>
                <c:pt idx="69" formatCode="General">
                  <c:v>28590</c:v>
                </c:pt>
                <c:pt idx="70" formatCode="General">
                  <c:v>26827</c:v>
                </c:pt>
                <c:pt idx="71" formatCode="General">
                  <c:v>15746</c:v>
                </c:pt>
                <c:pt idx="72" formatCode="General">
                  <c:v>10871</c:v>
                </c:pt>
                <c:pt idx="73" formatCode="General">
                  <c:v>10018</c:v>
                </c:pt>
                <c:pt idx="74" formatCode="General">
                  <c:v>4962</c:v>
                </c:pt>
                <c:pt idx="75" formatCode="General">
                  <c:v>4865</c:v>
                </c:pt>
                <c:pt idx="76" formatCode="General">
                  <c:v>3900</c:v>
                </c:pt>
                <c:pt idx="77" formatCode="General">
                  <c:v>1677</c:v>
                </c:pt>
                <c:pt idx="78" formatCode="General">
                  <c:v>297</c:v>
                </c:pt>
                <c:pt idx="79" formatCode="General">
                  <c:v>0</c:v>
                </c:pt>
                <c:pt idx="80" formatCode="General">
                  <c:v>0</c:v>
                </c:pt>
                <c:pt idx="81" formatCode="General">
                  <c:v>33868</c:v>
                </c:pt>
                <c:pt idx="82" formatCode="General">
                  <c:v>28590</c:v>
                </c:pt>
                <c:pt idx="83" formatCode="General">
                  <c:v>26827</c:v>
                </c:pt>
                <c:pt idx="84" formatCode="General">
                  <c:v>15746</c:v>
                </c:pt>
                <c:pt idx="85" formatCode="General">
                  <c:v>10871</c:v>
                </c:pt>
                <c:pt idx="86" formatCode="General">
                  <c:v>10018</c:v>
                </c:pt>
                <c:pt idx="87" formatCode="General">
                  <c:v>4962</c:v>
                </c:pt>
                <c:pt idx="88" formatCode="General">
                  <c:v>4865</c:v>
                </c:pt>
                <c:pt idx="89" formatCode="General">
                  <c:v>3900</c:v>
                </c:pt>
                <c:pt idx="90" formatCode="General">
                  <c:v>1677</c:v>
                </c:pt>
                <c:pt idx="91" formatCode="General">
                  <c:v>297</c:v>
                </c:pt>
                <c:pt idx="92" formatCode="General">
                  <c:v>0</c:v>
                </c:pt>
                <c:pt idx="93" formatCode="General">
                  <c:v>33868</c:v>
                </c:pt>
                <c:pt idx="94" formatCode="General">
                  <c:v>28590</c:v>
                </c:pt>
                <c:pt idx="95" formatCode="General">
                  <c:v>26827</c:v>
                </c:pt>
                <c:pt idx="96" formatCode="General">
                  <c:v>15746</c:v>
                </c:pt>
                <c:pt idx="97" formatCode="General">
                  <c:v>10871</c:v>
                </c:pt>
                <c:pt idx="98" formatCode="General">
                  <c:v>10018</c:v>
                </c:pt>
                <c:pt idx="99" formatCode="General">
                  <c:v>4962</c:v>
                </c:pt>
                <c:pt idx="100" formatCode="General">
                  <c:v>4865</c:v>
                </c:pt>
                <c:pt idx="101" formatCode="General">
                  <c:v>3900</c:v>
                </c:pt>
                <c:pt idx="102" formatCode="General">
                  <c:v>1677</c:v>
                </c:pt>
                <c:pt idx="103" formatCode="General">
                  <c:v>297</c:v>
                </c:pt>
                <c:pt idx="104" formatCode="General">
                  <c:v>0</c:v>
                </c:pt>
                <c:pt idx="105" formatCode="General">
                  <c:v>28590</c:v>
                </c:pt>
                <c:pt idx="106" formatCode="General">
                  <c:v>26827</c:v>
                </c:pt>
                <c:pt idx="107" formatCode="General">
                  <c:v>15746</c:v>
                </c:pt>
                <c:pt idx="108" formatCode="General">
                  <c:v>10871</c:v>
                </c:pt>
                <c:pt idx="109" formatCode="General">
                  <c:v>10018</c:v>
                </c:pt>
                <c:pt idx="110" formatCode="General">
                  <c:v>4962</c:v>
                </c:pt>
                <c:pt idx="111" formatCode="General">
                  <c:v>4865</c:v>
                </c:pt>
                <c:pt idx="112" formatCode="General">
                  <c:v>3900</c:v>
                </c:pt>
                <c:pt idx="113" formatCode="General">
                  <c:v>1677</c:v>
                </c:pt>
                <c:pt idx="114" formatCode="General">
                  <c:v>297</c:v>
                </c:pt>
                <c:pt idx="115" formatCode="General">
                  <c:v>0</c:v>
                </c:pt>
              </c:numCache>
            </c:numRef>
          </c:bubbleSize>
          <c:bubble3D val="0"/>
          <c:extLst>
            <c:ext xmlns:c15="http://schemas.microsoft.com/office/drawing/2012/chart" uri="{02D57815-91ED-43cb-92C2-25804820EDAC}">
              <c15:datalabelsRange>
                <c15:f>Sheet1!$E$2:$E$150</c15:f>
                <c15:dlblRangeCache>
                  <c:ptCount val="149"/>
                  <c:pt idx="0">
                    <c:v>Findus</c:v>
                  </c:pt>
                  <c:pt idx="1">
                    <c:v>Pescanova S.A.</c:v>
                  </c:pt>
                  <c:pt idx="2">
                    <c:v>Private Label</c:v>
                  </c:pt>
                  <c:pt idx="3">
                    <c:v>Frosta</c:v>
                  </c:pt>
                  <c:pt idx="4">
                    <c:v>Panapesca</c:v>
                  </c:pt>
                  <c:pt idx="5">
                    <c:v>Other</c:v>
                  </c:pt>
                  <c:pt idx="6">
                    <c:v>Esca Srl</c:v>
                  </c:pt>
                  <c:pt idx="7">
                    <c:v>Arbi Dario Spa</c:v>
                  </c:pt>
                  <c:pt idx="8">
                    <c:v>Krusta Group</c:v>
                  </c:pt>
                  <c:pt idx="9">
                    <c:v>Fandicosta</c:v>
                  </c:pt>
                  <c:pt idx="10">
                    <c:v>Green Ice</c:v>
                  </c:pt>
                  <c:pt idx="11">
                    <c:v>Alpe Srl - Roma</c:v>
                  </c:pt>
                  <c:pt idx="12">
                    <c:v>Conserviera Adriatica Spa</c:v>
                  </c:pt>
                  <c:pt idx="13">
                    <c:v>New Food</c:v>
                  </c:pt>
                  <c:pt idx="14">
                    <c:v>Agras 1947</c:v>
                  </c:pt>
                  <c:pt idx="15">
                    <c:v>Garbo Snc Di Comanducci Andrea</c:v>
                  </c:pt>
                  <c:pt idx="16">
                    <c:v>Vis Industrie Alimentari</c:v>
                  </c:pt>
                  <c:pt idx="17">
                    <c:v>Buitoni</c:v>
                  </c:pt>
                  <c:pt idx="18">
                    <c:v>Mittico</c:v>
                  </c:pt>
                  <c:pt idx="19">
                    <c:v>Findus</c:v>
                  </c:pt>
                  <c:pt idx="20">
                    <c:v>Frosta</c:v>
                  </c:pt>
                  <c:pt idx="21">
                    <c:v>Private Label</c:v>
                  </c:pt>
                  <c:pt idx="22">
                    <c:v>Krusta Group</c:v>
                  </c:pt>
                  <c:pt idx="23">
                    <c:v>Pescanova S.A.</c:v>
                  </c:pt>
                  <c:pt idx="24">
                    <c:v>Esca Srl</c:v>
                  </c:pt>
                  <c:pt idx="25">
                    <c:v>Arbi Dario Spa</c:v>
                  </c:pt>
                  <c:pt idx="26">
                    <c:v>Emme Gel</c:v>
                  </c:pt>
                  <c:pt idx="27">
                    <c:v>Green Ice</c:v>
                  </c:pt>
                  <c:pt idx="28">
                    <c:v>Other</c:v>
                  </c:pt>
                  <c:pt idx="29">
                    <c:v>Soavegel</c:v>
                  </c:pt>
                  <c:pt idx="30">
                    <c:v>Buitoni</c:v>
                  </c:pt>
                  <c:pt idx="31">
                    <c:v>Findus</c:v>
                  </c:pt>
                  <c:pt idx="32">
                    <c:v>Other</c:v>
                  </c:pt>
                  <c:pt idx="33">
                    <c:v>Findus</c:v>
                  </c:pt>
                  <c:pt idx="34">
                    <c:v>Private Label</c:v>
                  </c:pt>
                  <c:pt idx="35">
                    <c:v>Esca Srl</c:v>
                  </c:pt>
                  <c:pt idx="36">
                    <c:v>Agras 1947</c:v>
                  </c:pt>
                  <c:pt idx="37">
                    <c:v>Frosta</c:v>
                  </c:pt>
                  <c:pt idx="38">
                    <c:v>Other</c:v>
                  </c:pt>
                  <c:pt idx="39">
                    <c:v>New Food</c:v>
                  </c:pt>
                  <c:pt idx="40">
                    <c:v>Noriberica</c:v>
                  </c:pt>
                  <c:pt idx="41">
                    <c:v>Krusta Group</c:v>
                  </c:pt>
                  <c:pt idx="42">
                    <c:v>Nai Prodotti Ittici</c:v>
                  </c:pt>
                  <c:pt idx="43">
                    <c:v>Green Ice</c:v>
                  </c:pt>
                  <c:pt idx="44">
                    <c:v>Pescanova S.A.</c:v>
                  </c:pt>
                  <c:pt idx="45">
                    <c:v>Alpe Srl - Roma</c:v>
                  </c:pt>
                  <c:pt idx="46">
                    <c:v>Appetais Italia Spa</c:v>
                  </c:pt>
                  <c:pt idx="47">
                    <c:v>Royal Greenland</c:v>
                  </c:pt>
                  <c:pt idx="48">
                    <c:v>Panapesca</c:v>
                  </c:pt>
                  <c:pt idx="49">
                    <c:v>Conserviera Adriatica Spa</c:v>
                  </c:pt>
                  <c:pt idx="50">
                    <c:v>Gerfrio</c:v>
                  </c:pt>
                  <c:pt idx="51">
                    <c:v>Garbo Snc Di Comanducci Andrea</c:v>
                  </c:pt>
                  <c:pt idx="52">
                    <c:v>Vis Industrie Alimentari</c:v>
                  </c:pt>
                  <c:pt idx="53">
                    <c:v>Soavegel</c:v>
                  </c:pt>
                  <c:pt idx="54">
                    <c:v>Nettuno Alimentari Srl</c:v>
                  </c:pt>
                  <c:pt idx="55">
                    <c:v>Buitoni</c:v>
                  </c:pt>
                  <c:pt idx="56">
                    <c:v>Pescanova S.A.</c:v>
                  </c:pt>
                  <c:pt idx="57">
                    <c:v>Alpe Srl - Roma</c:v>
                  </c:pt>
                  <c:pt idx="58">
                    <c:v>Appetais Italia Spa</c:v>
                  </c:pt>
                  <c:pt idx="59">
                    <c:v>Royal Greenland</c:v>
                  </c:pt>
                  <c:pt idx="60">
                    <c:v>Panapesca</c:v>
                  </c:pt>
                  <c:pt idx="61">
                    <c:v>Conserviera Adriatica Spa</c:v>
                  </c:pt>
                  <c:pt idx="62">
                    <c:v>Gerfrio</c:v>
                  </c:pt>
                  <c:pt idx="63">
                    <c:v>Garbo Snc Di Comanducci Andrea</c:v>
                  </c:pt>
                  <c:pt idx="64">
                    <c:v>Vis Industrie Alimentari</c:v>
                  </c:pt>
                  <c:pt idx="65">
                    <c:v>Soavegel</c:v>
                  </c:pt>
                  <c:pt idx="66">
                    <c:v>Nettuno Alimentari Srl</c:v>
                  </c:pt>
                  <c:pt idx="67">
                    <c:v>Buitoni</c:v>
                  </c:pt>
                  <c:pt idx="68">
                    <c:v>Pescanova S.A.</c:v>
                  </c:pt>
                  <c:pt idx="69">
                    <c:v>Alpe Srl - Roma</c:v>
                  </c:pt>
                  <c:pt idx="70">
                    <c:v>Appetais Italia Spa</c:v>
                  </c:pt>
                  <c:pt idx="71">
                    <c:v>Royal Greenland</c:v>
                  </c:pt>
                  <c:pt idx="72">
                    <c:v>Panapesca</c:v>
                  </c:pt>
                  <c:pt idx="73">
                    <c:v>Conserviera Adriatica Spa</c:v>
                  </c:pt>
                  <c:pt idx="74">
                    <c:v>Gerfrio</c:v>
                  </c:pt>
                  <c:pt idx="75">
                    <c:v>Garbo Snc Di Comanducci Andrea</c:v>
                  </c:pt>
                  <c:pt idx="76">
                    <c:v>Vis Industrie Alimentari</c:v>
                  </c:pt>
                  <c:pt idx="77">
                    <c:v>Soavegel</c:v>
                  </c:pt>
                  <c:pt idx="78">
                    <c:v>Nettuno Alimentari Srl</c:v>
                  </c:pt>
                  <c:pt idx="79">
                    <c:v>Buitoni</c:v>
                  </c:pt>
                  <c:pt idx="80">
                    <c:v>Buitoni</c:v>
                  </c:pt>
                  <c:pt idx="81">
                    <c:v>Pescanova S.A.</c:v>
                  </c:pt>
                  <c:pt idx="82">
                    <c:v>Alpe Srl - Roma</c:v>
                  </c:pt>
                  <c:pt idx="83">
                    <c:v>Appetais Italia Spa</c:v>
                  </c:pt>
                  <c:pt idx="84">
                    <c:v>Royal Greenland</c:v>
                  </c:pt>
                  <c:pt idx="85">
                    <c:v>Panapesca</c:v>
                  </c:pt>
                  <c:pt idx="86">
                    <c:v>Conserviera Adriatica Spa</c:v>
                  </c:pt>
                  <c:pt idx="87">
                    <c:v>Gerfrio</c:v>
                  </c:pt>
                  <c:pt idx="88">
                    <c:v>Garbo Snc Di Comanducci Andrea</c:v>
                  </c:pt>
                  <c:pt idx="89">
                    <c:v>Vis Industrie Alimentari</c:v>
                  </c:pt>
                  <c:pt idx="90">
                    <c:v>Soavegel</c:v>
                  </c:pt>
                  <c:pt idx="91">
                    <c:v>Nettuno Alimentari Srl</c:v>
                  </c:pt>
                  <c:pt idx="92">
                    <c:v>Buitoni</c:v>
                  </c:pt>
                  <c:pt idx="93">
                    <c:v>Pescanova S.A.</c:v>
                  </c:pt>
                  <c:pt idx="94">
                    <c:v>Alpe Srl - Roma</c:v>
                  </c:pt>
                  <c:pt idx="95">
                    <c:v>Appetais Italia Spa</c:v>
                  </c:pt>
                  <c:pt idx="96">
                    <c:v>Royal Greenland</c:v>
                  </c:pt>
                  <c:pt idx="97">
                    <c:v>Panapesca</c:v>
                  </c:pt>
                  <c:pt idx="98">
                    <c:v>Conserviera Adriatica Spa</c:v>
                  </c:pt>
                  <c:pt idx="99">
                    <c:v>Gerfrio</c:v>
                  </c:pt>
                  <c:pt idx="100">
                    <c:v>Garbo Snc Di Comanducci Andrea</c:v>
                  </c:pt>
                  <c:pt idx="101">
                    <c:v>Vis Industrie Alimentari</c:v>
                  </c:pt>
                  <c:pt idx="102">
                    <c:v>Soavegel</c:v>
                  </c:pt>
                  <c:pt idx="103">
                    <c:v>Nettuno Alimentari Srl</c:v>
                  </c:pt>
                  <c:pt idx="104">
                    <c:v>Buitoni</c:v>
                  </c:pt>
                  <c:pt idx="105">
                    <c:v>Alpe Srl - Roma</c:v>
                  </c:pt>
                  <c:pt idx="106">
                    <c:v>Appetais Italia Spa</c:v>
                  </c:pt>
                  <c:pt idx="107">
                    <c:v>Royal Greenland</c:v>
                  </c:pt>
                  <c:pt idx="108">
                    <c:v>Panapesca</c:v>
                  </c:pt>
                  <c:pt idx="109">
                    <c:v>Conserviera Adriatica Spa</c:v>
                  </c:pt>
                  <c:pt idx="110">
                    <c:v>Gerfrio</c:v>
                  </c:pt>
                  <c:pt idx="111">
                    <c:v>Garbo Snc Di Comanducci Andrea</c:v>
                  </c:pt>
                  <c:pt idx="112">
                    <c:v>Vis Industrie Alimentari</c:v>
                  </c:pt>
                  <c:pt idx="113">
                    <c:v>Soavegel</c:v>
                  </c:pt>
                  <c:pt idx="114">
                    <c:v>Nettuno Alimentari Srl</c:v>
                  </c:pt>
                  <c:pt idx="115">
                    <c:v>Buitoni</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5"/>
          <c:min val="0.5"/>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chemeClr val="bg2"/>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chemeClr val="bg2"/>
              </a:solidFill>
              <a:ln>
                <a:noFill/>
              </a:ln>
              <a:effectLst/>
            </c:spPr>
            <c:extLst>
              <c:ext xmlns:c16="http://schemas.microsoft.com/office/drawing/2014/chart" uri="{C3380CC4-5D6E-409C-BE32-E72D297353CC}">
                <c16:uniqueId val="{00000005-26FB-4B52-8D72-D56D618E8EAF}"/>
              </c:ext>
            </c:extLst>
          </c:dPt>
          <c:dPt>
            <c:idx val="3"/>
            <c:invertIfNegative val="0"/>
            <c:bubble3D val="0"/>
            <c:extLst>
              <c:ext xmlns:c16="http://schemas.microsoft.com/office/drawing/2014/chart" uri="{C3380CC4-5D6E-409C-BE32-E72D297353CC}">
                <c16:uniqueId val="{00000007-26FB-4B52-8D72-D56D618E8EAF}"/>
              </c:ext>
            </c:extLst>
          </c:dPt>
          <c:dPt>
            <c:idx val="4"/>
            <c:invertIfNegative val="0"/>
            <c:bubble3D val="0"/>
            <c:extLst>
              <c:ext xmlns:c16="http://schemas.microsoft.com/office/drawing/2014/chart" uri="{C3380CC4-5D6E-409C-BE32-E72D297353CC}">
                <c16:uniqueId val="{00000009-26FB-4B52-8D72-D56D618E8EAF}"/>
              </c:ext>
            </c:extLst>
          </c:dPt>
          <c:dPt>
            <c:idx val="5"/>
            <c:invertIfNegative val="0"/>
            <c:bubble3D val="0"/>
            <c:extLst>
              <c:ext xmlns:c16="http://schemas.microsoft.com/office/drawing/2014/chart" uri="{C3380CC4-5D6E-409C-BE32-E72D297353CC}">
                <c16:uniqueId val="{0000000B-26FB-4B52-8D72-D56D618E8EAF}"/>
              </c:ext>
            </c:extLst>
          </c:dPt>
          <c:dPt>
            <c:idx val="6"/>
            <c:invertIfNegative val="0"/>
            <c:bubble3D val="0"/>
            <c:spPr>
              <a:solidFill>
                <a:schemeClr val="bg2"/>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06D2B6AE-EEFE-4B23-9FAA-DB4DC7FA54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A2F9690C-CA40-4780-BF6A-0380742594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1D8237DF-F004-4E8A-9E91-B83900E767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E5B7817C-ADAE-494C-A58E-63161AA5A9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A77E4B89-84B4-41E4-BEEE-82D9BB126C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B3138471-24CB-45A2-A55D-716915698F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D7F8B214-6428-4461-BF50-7C2A7A2861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3514FFEA-00F9-467E-9328-596235BE51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FD401076-C443-4592-9FB6-C054FAEB6E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EA585F41-C9F7-4043-90B9-22EDA85E9A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2022C3FE-C210-4286-90B4-86F37CCF3E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2292DDF8-269D-4EA2-B44C-46F018B6AB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26FB-4B52-8D72-D56D618E8EAF}"/>
                </c:ext>
              </c:extLst>
            </c:dLbl>
            <c:dLbl>
              <c:idx val="12"/>
              <c:tx>
                <c:rich>
                  <a:bodyPr/>
                  <a:lstStyle/>
                  <a:p>
                    <a:fld id="{A1A22AFA-2A42-4AFC-95BC-D034882AE7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B2D-4A32-96D2-9C641BCDE5CC}"/>
                </c:ext>
              </c:extLst>
            </c:dLbl>
            <c:dLbl>
              <c:idx val="13"/>
              <c:tx>
                <c:rich>
                  <a:bodyPr/>
                  <a:lstStyle/>
                  <a:p>
                    <a:fld id="{4B1B5FF5-80BF-4175-851E-5577667081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26FB-4B52-8D72-D56D618E8EAF}"/>
                </c:ext>
              </c:extLst>
            </c:dLbl>
            <c:dLbl>
              <c:idx val="14"/>
              <c:tx>
                <c:rich>
                  <a:bodyPr/>
                  <a:lstStyle/>
                  <a:p>
                    <a:fld id="{41755364-90B2-4F1C-8CB1-502CCA42FA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26FB-4B52-8D72-D56D618E8EAF}"/>
                </c:ext>
              </c:extLst>
            </c:dLbl>
            <c:dLbl>
              <c:idx val="15"/>
              <c:tx>
                <c:rich>
                  <a:bodyPr/>
                  <a:lstStyle/>
                  <a:p>
                    <a:fld id="{4F569E8B-F0D7-4AD4-86B2-CAC2B7DCBB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26FB-4B52-8D72-D56D618E8EAF}"/>
                </c:ext>
              </c:extLst>
            </c:dLbl>
            <c:dLbl>
              <c:idx val="16"/>
              <c:tx>
                <c:rich>
                  <a:bodyPr/>
                  <a:lstStyle/>
                  <a:p>
                    <a:fld id="{B2BBD71D-2ABE-4555-A5D5-4006FAEA2D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A6E-4C83-9A06-9C3309B2855E}"/>
                </c:ext>
              </c:extLst>
            </c:dLbl>
            <c:dLbl>
              <c:idx val="17"/>
              <c:tx>
                <c:rich>
                  <a:bodyPr/>
                  <a:lstStyle/>
                  <a:p>
                    <a:fld id="{A292B68E-07EB-4B8A-988E-970A25676E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0A6E-4C83-9A06-9C3309B2855E}"/>
                </c:ext>
              </c:extLst>
            </c:dLbl>
            <c:dLbl>
              <c:idx val="18"/>
              <c:tx>
                <c:rich>
                  <a:bodyPr/>
                  <a:lstStyle/>
                  <a:p>
                    <a:fld id="{E6E713BD-BD3A-4385-ACCD-F69B850392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A6E-4C83-9A06-9C3309B2855E}"/>
                </c:ext>
              </c:extLst>
            </c:dLbl>
            <c:dLbl>
              <c:idx val="19"/>
              <c:tx>
                <c:rich>
                  <a:bodyPr/>
                  <a:lstStyle/>
                  <a:p>
                    <a:fld id="{50334274-35FD-4835-9604-DFAE5B89C7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A6E-4C83-9A06-9C3309B2855E}"/>
                </c:ext>
              </c:extLst>
            </c:dLbl>
            <c:dLbl>
              <c:idx val="20"/>
              <c:tx>
                <c:rich>
                  <a:bodyPr/>
                  <a:lstStyle/>
                  <a:p>
                    <a:fld id="{59F75623-0BA5-4ABF-8924-07BA43E77E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C5AD-4BCF-9CB2-60EDA2D7DB42}"/>
                </c:ext>
              </c:extLst>
            </c:dLbl>
            <c:dLbl>
              <c:idx val="21"/>
              <c:tx>
                <c:rich>
                  <a:bodyPr/>
                  <a:lstStyle/>
                  <a:p>
                    <a:fld id="{C36E5CCC-CADC-4427-9FB1-2D9238F784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5AD-4BCF-9CB2-60EDA2D7DB42}"/>
                </c:ext>
              </c:extLst>
            </c:dLbl>
            <c:dLbl>
              <c:idx val="22"/>
              <c:tx>
                <c:rich>
                  <a:bodyPr/>
                  <a:lstStyle/>
                  <a:p>
                    <a:fld id="{2B161605-898C-407C-89F0-A47BB6CE90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5AD-4BCF-9CB2-60EDA2D7DB42}"/>
                </c:ext>
              </c:extLst>
            </c:dLbl>
            <c:dLbl>
              <c:idx val="23"/>
              <c:tx>
                <c:rich>
                  <a:bodyPr/>
                  <a:lstStyle/>
                  <a:p>
                    <a:fld id="{6E8F9AEA-AF52-45F5-8C90-425CA492BC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5AD-4BCF-9CB2-60EDA2D7DB42}"/>
                </c:ext>
              </c:extLst>
            </c:dLbl>
            <c:dLbl>
              <c:idx val="24"/>
              <c:tx>
                <c:rich>
                  <a:bodyPr/>
                  <a:lstStyle/>
                  <a:p>
                    <a:fld id="{145F1C8E-5CAD-43BB-A22A-BA4F7122B0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A6E-4C83-9A06-9C3309B2855E}"/>
                </c:ext>
              </c:extLst>
            </c:dLbl>
            <c:dLbl>
              <c:idx val="25"/>
              <c:tx>
                <c:rich>
                  <a:bodyPr/>
                  <a:lstStyle/>
                  <a:p>
                    <a:fld id="{CD153242-FF6E-46AB-9841-170BF2F6DD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D12-44DE-B956-CABCB15EBC04}"/>
                </c:ext>
              </c:extLst>
            </c:dLbl>
            <c:dLbl>
              <c:idx val="26"/>
              <c:tx>
                <c:rich>
                  <a:bodyPr/>
                  <a:lstStyle/>
                  <a:p>
                    <a:fld id="{6AEC64B1-0935-4E3F-8F95-124A0B543E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D12-44DE-B956-CABCB15EBC04}"/>
                </c:ext>
              </c:extLst>
            </c:dLbl>
            <c:dLbl>
              <c:idx val="27"/>
              <c:tx>
                <c:rich>
                  <a:bodyPr/>
                  <a:lstStyle/>
                  <a:p>
                    <a:fld id="{943E97DB-904D-4642-BE6F-70D14E2155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D12-44DE-B956-CABCB15EBC04}"/>
                </c:ext>
              </c:extLst>
            </c:dLbl>
            <c:dLbl>
              <c:idx val="28"/>
              <c:tx>
                <c:rich>
                  <a:bodyPr/>
                  <a:lstStyle/>
                  <a:p>
                    <a:fld id="{C48DF7CB-6610-423C-B219-26D8ACC559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D12-44DE-B956-CABCB15EBC04}"/>
                </c:ext>
              </c:extLst>
            </c:dLbl>
            <c:dLbl>
              <c:idx val="29"/>
              <c:tx>
                <c:rich>
                  <a:bodyPr/>
                  <a:lstStyle/>
                  <a:p>
                    <a:fld id="{DC2B5B6C-D90D-4741-97BE-C7C24D19F7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47-486F-B734-6012CEA493B3}"/>
                </c:ext>
              </c:extLst>
            </c:dLbl>
            <c:dLbl>
              <c:idx val="30"/>
              <c:tx>
                <c:rich>
                  <a:bodyPr/>
                  <a:lstStyle/>
                  <a:p>
                    <a:fld id="{DC64F4A2-F4CD-4557-B446-37414A7CC3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D12-44DE-B956-CABCB15EBC04}"/>
                </c:ext>
              </c:extLst>
            </c:dLbl>
            <c:dLbl>
              <c:idx val="31"/>
              <c:tx>
                <c:rich>
                  <a:bodyPr/>
                  <a:lstStyle/>
                  <a:p>
                    <a:fld id="{34C362C2-5680-42D7-A47B-1185FD7799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D12-44DE-B956-CABCB15EBC04}"/>
                </c:ext>
              </c:extLst>
            </c:dLbl>
            <c:dLbl>
              <c:idx val="32"/>
              <c:tx>
                <c:rich>
                  <a:bodyPr/>
                  <a:lstStyle/>
                  <a:p>
                    <a:fld id="{640841F5-65F0-4230-90B2-D5060DDBE5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D12-44DE-B956-CABCB15EBC04}"/>
                </c:ext>
              </c:extLst>
            </c:dLbl>
            <c:dLbl>
              <c:idx val="33"/>
              <c:tx>
                <c:rich>
                  <a:bodyPr/>
                  <a:lstStyle/>
                  <a:p>
                    <a:fld id="{0CD9F47A-0880-4C0C-B5A1-F153F5D403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D12-44DE-B956-CABCB15EBC04}"/>
                </c:ext>
              </c:extLst>
            </c:dLbl>
            <c:dLbl>
              <c:idx val="34"/>
              <c:tx>
                <c:rich>
                  <a:bodyPr/>
                  <a:lstStyle/>
                  <a:p>
                    <a:fld id="{70D7FF93-7BF3-4CDD-A341-7E5553232F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D12-44DE-B956-CABCB15EBC04}"/>
                </c:ext>
              </c:extLst>
            </c:dLbl>
            <c:dLbl>
              <c:idx val="35"/>
              <c:tx>
                <c:rich>
                  <a:bodyPr/>
                  <a:lstStyle/>
                  <a:p>
                    <a:fld id="{A8D72E52-C2AF-47FD-AFDF-DB46D87BE3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D12-44DE-B956-CABCB15EBC04}"/>
                </c:ext>
              </c:extLst>
            </c:dLbl>
            <c:dLbl>
              <c:idx val="36"/>
              <c:tx>
                <c:rich>
                  <a:bodyPr/>
                  <a:lstStyle/>
                  <a:p>
                    <a:fld id="{2A73BE58-7AB7-4EC7-BBE9-E2FB6C4261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D12-44DE-B956-CABCB15EBC04}"/>
                </c:ext>
              </c:extLst>
            </c:dLbl>
            <c:dLbl>
              <c:idx val="37"/>
              <c:tx>
                <c:rich>
                  <a:bodyPr/>
                  <a:lstStyle/>
                  <a:p>
                    <a:fld id="{0282EB58-C82C-48E2-B144-A8D1EC4AFE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D12-44DE-B956-CABCB15EBC04}"/>
                </c:ext>
              </c:extLst>
            </c:dLbl>
            <c:dLbl>
              <c:idx val="38"/>
              <c:tx>
                <c:rich>
                  <a:bodyPr/>
                  <a:lstStyle/>
                  <a:p>
                    <a:fld id="{84BB275F-D1D2-4708-9840-25ECC63888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D12-44DE-B956-CABCB15EBC04}"/>
                </c:ext>
              </c:extLst>
            </c:dLbl>
            <c:dLbl>
              <c:idx val="39"/>
              <c:tx>
                <c:rich>
                  <a:bodyPr/>
                  <a:lstStyle/>
                  <a:p>
                    <a:fld id="{67F68E7F-42FB-41CE-990C-59B4FE2ABE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D12-44DE-B956-CABCB15EBC04}"/>
                </c:ext>
              </c:extLst>
            </c:dLbl>
            <c:dLbl>
              <c:idx val="40"/>
              <c:tx>
                <c:rich>
                  <a:bodyPr/>
                  <a:lstStyle/>
                  <a:p>
                    <a:fld id="{DF793A07-A939-4467-99F4-712AEE5421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D12-44DE-B956-CABCB15EBC04}"/>
                </c:ext>
              </c:extLst>
            </c:dLbl>
            <c:dLbl>
              <c:idx val="41"/>
              <c:tx>
                <c:rich>
                  <a:bodyPr/>
                  <a:lstStyle/>
                  <a:p>
                    <a:fld id="{2CAF06F9-96FF-46C3-A7EC-F10D33BE4F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D12-44DE-B956-CABCB15EBC04}"/>
                </c:ext>
              </c:extLst>
            </c:dLbl>
            <c:dLbl>
              <c:idx val="42"/>
              <c:tx>
                <c:rich>
                  <a:bodyPr/>
                  <a:lstStyle/>
                  <a:p>
                    <a:fld id="{DDEEEE9A-3DEB-4406-9531-CC6E101738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D12-44DE-B956-CABCB15EBC04}"/>
                </c:ext>
              </c:extLst>
            </c:dLbl>
            <c:dLbl>
              <c:idx val="43"/>
              <c:tx>
                <c:rich>
                  <a:bodyPr/>
                  <a:lstStyle/>
                  <a:p>
                    <a:fld id="{A8B3DFB1-E254-4E79-97A0-7D9B5AEB5B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D12-44DE-B956-CABCB15EBC04}"/>
                </c:ext>
              </c:extLst>
            </c:dLbl>
            <c:dLbl>
              <c:idx val="44"/>
              <c:tx>
                <c:rich>
                  <a:bodyPr/>
                  <a:lstStyle/>
                  <a:p>
                    <a:fld id="{4FD0F3A1-7BDA-4305-884D-30516D838B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D12-44DE-B956-CABCB15EBC04}"/>
                </c:ext>
              </c:extLst>
            </c:dLbl>
            <c:dLbl>
              <c:idx val="45"/>
              <c:tx>
                <c:rich>
                  <a:bodyPr/>
                  <a:lstStyle/>
                  <a:p>
                    <a:fld id="{99CBD409-249B-41D4-9540-8267CBCA82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D12-44DE-B956-CABCB15EBC04}"/>
                </c:ext>
              </c:extLst>
            </c:dLbl>
            <c:dLbl>
              <c:idx val="46"/>
              <c:tx>
                <c:rich>
                  <a:bodyPr/>
                  <a:lstStyle/>
                  <a:p>
                    <a:fld id="{ECA5B402-8EA2-4248-8B0A-AC6DCA6D43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D12-44DE-B956-CABCB15EBC04}"/>
                </c:ext>
              </c:extLst>
            </c:dLbl>
            <c:dLbl>
              <c:idx val="47"/>
              <c:tx>
                <c:rich>
                  <a:bodyPr/>
                  <a:lstStyle/>
                  <a:p>
                    <a:fld id="{A83782BA-8866-4848-B678-50894C9D3D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D12-44DE-B956-CABCB15EBC04}"/>
                </c:ext>
              </c:extLst>
            </c:dLbl>
            <c:dLbl>
              <c:idx val="48"/>
              <c:tx>
                <c:rich>
                  <a:bodyPr/>
                  <a:lstStyle/>
                  <a:p>
                    <a:fld id="{7B2FF3ED-64B7-4003-8DBC-9BD38125E0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D12-44DE-B956-CABCB15EBC04}"/>
                </c:ext>
              </c:extLst>
            </c:dLbl>
            <c:dLbl>
              <c:idx val="49"/>
              <c:tx>
                <c:rich>
                  <a:bodyPr/>
                  <a:lstStyle/>
                  <a:p>
                    <a:fld id="{34955E0B-CF06-4DBE-A5C4-A54F0ABA95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D12-44DE-B956-CABCB15EBC04}"/>
                </c:ext>
              </c:extLst>
            </c:dLbl>
            <c:dLbl>
              <c:idx val="50"/>
              <c:tx>
                <c:rich>
                  <a:bodyPr/>
                  <a:lstStyle/>
                  <a:p>
                    <a:fld id="{62D23BD2-4448-41DD-87ED-CC381E5C9A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D12-44DE-B956-CABCB15EBC04}"/>
                </c:ext>
              </c:extLst>
            </c:dLbl>
            <c:dLbl>
              <c:idx val="51"/>
              <c:tx>
                <c:rich>
                  <a:bodyPr/>
                  <a:lstStyle/>
                  <a:p>
                    <a:fld id="{FC9EBE2E-1700-4B6F-922B-D4B5B2DD77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D12-44DE-B956-CABCB15EBC04}"/>
                </c:ext>
              </c:extLst>
            </c:dLbl>
            <c:dLbl>
              <c:idx val="52"/>
              <c:tx>
                <c:rich>
                  <a:bodyPr/>
                  <a:lstStyle/>
                  <a:p>
                    <a:fld id="{8B409427-E479-4A2D-9180-BD042212AE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D12-44DE-B956-CABCB15EBC04}"/>
                </c:ext>
              </c:extLst>
            </c:dLbl>
            <c:dLbl>
              <c:idx val="53"/>
              <c:tx>
                <c:rich>
                  <a:bodyPr/>
                  <a:lstStyle/>
                  <a:p>
                    <a:fld id="{E46AB402-FD60-46A2-B6CE-90B4287DD9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D12-44DE-B956-CABCB15EBC04}"/>
                </c:ext>
              </c:extLst>
            </c:dLbl>
            <c:dLbl>
              <c:idx val="54"/>
              <c:tx>
                <c:rich>
                  <a:bodyPr/>
                  <a:lstStyle/>
                  <a:p>
                    <a:fld id="{1E170B0A-7129-48EA-B977-DF3AE6050E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D12-44DE-B956-CABCB15EBC04}"/>
                </c:ext>
              </c:extLst>
            </c:dLbl>
            <c:dLbl>
              <c:idx val="55"/>
              <c:tx>
                <c:rich>
                  <a:bodyPr/>
                  <a:lstStyle/>
                  <a:p>
                    <a:fld id="{4F6633BD-7576-4B71-B1B8-F8D71C7C33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D12-44DE-B956-CABCB15EBC04}"/>
                </c:ext>
              </c:extLst>
            </c:dLbl>
            <c:dLbl>
              <c:idx val="56"/>
              <c:tx>
                <c:rich>
                  <a:bodyPr/>
                  <a:lstStyle/>
                  <a:p>
                    <a:fld id="{BD004B70-24C1-401C-936F-1900BE63AA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8E3F-4D1B-A313-C02BEC0FDBD1}"/>
                </c:ext>
              </c:extLst>
            </c:dLbl>
            <c:dLbl>
              <c:idx val="57"/>
              <c:tx>
                <c:rich>
                  <a:bodyPr/>
                  <a:lstStyle/>
                  <a:p>
                    <a:fld id="{7F67C77C-1CC4-4015-A4B4-25EB871C1E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8E3F-4D1B-A313-C02BEC0FDBD1}"/>
                </c:ext>
              </c:extLst>
            </c:dLbl>
            <c:dLbl>
              <c:idx val="58"/>
              <c:tx>
                <c:rich>
                  <a:bodyPr/>
                  <a:lstStyle/>
                  <a:p>
                    <a:fld id="{3C3B93D3-52E8-4466-A4C1-BA3D8FC0C5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8E3F-4D1B-A313-C02BEC0FDBD1}"/>
                </c:ext>
              </c:extLst>
            </c:dLbl>
            <c:dLbl>
              <c:idx val="59"/>
              <c:tx>
                <c:rich>
                  <a:bodyPr/>
                  <a:lstStyle/>
                  <a:p>
                    <a:fld id="{24FC6DF6-4B87-448C-9229-1E4C0F8925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8E3F-4D1B-A313-C02BEC0FDBD1}"/>
                </c:ext>
              </c:extLst>
            </c:dLbl>
            <c:dLbl>
              <c:idx val="60"/>
              <c:tx>
                <c:rich>
                  <a:bodyPr/>
                  <a:lstStyle/>
                  <a:p>
                    <a:fld id="{336D761F-DCC8-4005-9F40-5D74C27729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8E3F-4D1B-A313-C02BEC0FDBD1}"/>
                </c:ext>
              </c:extLst>
            </c:dLbl>
            <c:dLbl>
              <c:idx val="61"/>
              <c:tx>
                <c:rich>
                  <a:bodyPr/>
                  <a:lstStyle/>
                  <a:p>
                    <a:fld id="{CFEA04C2-905E-4B6A-AB6C-5918698061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8E3F-4D1B-A313-C02BEC0FDBD1}"/>
                </c:ext>
              </c:extLst>
            </c:dLbl>
            <c:dLbl>
              <c:idx val="62"/>
              <c:tx>
                <c:rich>
                  <a:bodyPr/>
                  <a:lstStyle/>
                  <a:p>
                    <a:fld id="{D6714323-ABE9-49A5-8994-F910F6683C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8E3F-4D1B-A313-C02BEC0FDBD1}"/>
                </c:ext>
              </c:extLst>
            </c:dLbl>
            <c:dLbl>
              <c:idx val="63"/>
              <c:tx>
                <c:rich>
                  <a:bodyPr/>
                  <a:lstStyle/>
                  <a:p>
                    <a:fld id="{49D052EB-362C-4C9B-AFED-7881B07B35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8E3F-4D1B-A313-C02BEC0FDBD1}"/>
                </c:ext>
              </c:extLst>
            </c:dLbl>
            <c:dLbl>
              <c:idx val="64"/>
              <c:tx>
                <c:rich>
                  <a:bodyPr/>
                  <a:lstStyle/>
                  <a:p>
                    <a:fld id="{30E766C9-F06A-4456-89AA-E707710402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8E3F-4D1B-A313-C02BEC0FDBD1}"/>
                </c:ext>
              </c:extLst>
            </c:dLbl>
            <c:dLbl>
              <c:idx val="65"/>
              <c:tx>
                <c:rich>
                  <a:bodyPr/>
                  <a:lstStyle/>
                  <a:p>
                    <a:fld id="{23EE9BD8-8B0E-467D-89A9-642243C875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8E3F-4D1B-A313-C02BEC0FDBD1}"/>
                </c:ext>
              </c:extLst>
            </c:dLbl>
            <c:dLbl>
              <c:idx val="66"/>
              <c:tx>
                <c:rich>
                  <a:bodyPr/>
                  <a:lstStyle/>
                  <a:p>
                    <a:fld id="{93CDA618-7DDB-4797-9089-B9B054872B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8E3F-4D1B-A313-C02BEC0FDBD1}"/>
                </c:ext>
              </c:extLst>
            </c:dLbl>
            <c:dLbl>
              <c:idx val="67"/>
              <c:tx>
                <c:rich>
                  <a:bodyPr/>
                  <a:lstStyle/>
                  <a:p>
                    <a:fld id="{E4CE04F4-74D1-4535-AF46-C510BA5888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8E3F-4D1B-A313-C02BEC0FDBD1}"/>
                </c:ext>
              </c:extLst>
            </c:dLbl>
            <c:dLbl>
              <c:idx val="68"/>
              <c:tx>
                <c:rich>
                  <a:bodyPr/>
                  <a:lstStyle/>
                  <a:p>
                    <a:fld id="{DF7CF4DC-EB1D-40F4-9E81-F4168C0F9A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8E3F-4D1B-A313-C02BEC0FDBD1}"/>
                </c:ext>
              </c:extLst>
            </c:dLbl>
            <c:dLbl>
              <c:idx val="69"/>
              <c:tx>
                <c:rich>
                  <a:bodyPr/>
                  <a:lstStyle/>
                  <a:p>
                    <a:fld id="{2E2BC785-A29A-4149-B6EB-64B3FEDDEF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8E3F-4D1B-A313-C02BEC0FDBD1}"/>
                </c:ext>
              </c:extLst>
            </c:dLbl>
            <c:dLbl>
              <c:idx val="70"/>
              <c:tx>
                <c:rich>
                  <a:bodyPr/>
                  <a:lstStyle/>
                  <a:p>
                    <a:fld id="{CF147D69-8FC6-4825-ACC3-11EFEDE431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8E3F-4D1B-A313-C02BEC0FDBD1}"/>
                </c:ext>
              </c:extLst>
            </c:dLbl>
            <c:dLbl>
              <c:idx val="71"/>
              <c:tx>
                <c:rich>
                  <a:bodyPr/>
                  <a:lstStyle/>
                  <a:p>
                    <a:fld id="{7B53D4BC-C9E0-4225-84F0-781306EDFA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8E3F-4D1B-A313-C02BEC0FDBD1}"/>
                </c:ext>
              </c:extLst>
            </c:dLbl>
            <c:dLbl>
              <c:idx val="72"/>
              <c:tx>
                <c:rich>
                  <a:bodyPr/>
                  <a:lstStyle/>
                  <a:p>
                    <a:fld id="{DEB80B3B-B4F1-4DF5-8711-8B1E4B5AC8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8E3F-4D1B-A313-C02BEC0FDBD1}"/>
                </c:ext>
              </c:extLst>
            </c:dLbl>
            <c:dLbl>
              <c:idx val="73"/>
              <c:tx>
                <c:rich>
                  <a:bodyPr/>
                  <a:lstStyle/>
                  <a:p>
                    <a:fld id="{B5ECEA3B-4F3F-4034-B776-918655FC6C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8E3F-4D1B-A313-C02BEC0FDBD1}"/>
                </c:ext>
              </c:extLst>
            </c:dLbl>
            <c:dLbl>
              <c:idx val="74"/>
              <c:tx>
                <c:rich>
                  <a:bodyPr/>
                  <a:lstStyle/>
                  <a:p>
                    <a:fld id="{B420590E-215F-4754-AFF4-B2DFCD2441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8E3F-4D1B-A313-C02BEC0FDBD1}"/>
                </c:ext>
              </c:extLst>
            </c:dLbl>
            <c:dLbl>
              <c:idx val="75"/>
              <c:tx>
                <c:rich>
                  <a:bodyPr/>
                  <a:lstStyle/>
                  <a:p>
                    <a:fld id="{56C08922-BFE3-4B3F-A419-6B40A42D4A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8E3F-4D1B-A313-C02BEC0FDBD1}"/>
                </c:ext>
              </c:extLst>
            </c:dLbl>
            <c:dLbl>
              <c:idx val="76"/>
              <c:tx>
                <c:rich>
                  <a:bodyPr/>
                  <a:lstStyle/>
                  <a:p>
                    <a:fld id="{8EE7780A-1984-456D-B0EB-24A864376E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8E3F-4D1B-A313-C02BEC0FDBD1}"/>
                </c:ext>
              </c:extLst>
            </c:dLbl>
            <c:dLbl>
              <c:idx val="77"/>
              <c:tx>
                <c:rich>
                  <a:bodyPr/>
                  <a:lstStyle/>
                  <a:p>
                    <a:fld id="{CD3B04E9-3B2A-4E95-B187-27DCEEC53A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8E3F-4D1B-A313-C02BEC0FDBD1}"/>
                </c:ext>
              </c:extLst>
            </c:dLbl>
            <c:dLbl>
              <c:idx val="78"/>
              <c:tx>
                <c:rich>
                  <a:bodyPr/>
                  <a:lstStyle/>
                  <a:p>
                    <a:fld id="{8D7272F0-09DF-4D45-A889-40236B58C4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8E3F-4D1B-A313-C02BEC0FDBD1}"/>
                </c:ext>
              </c:extLst>
            </c:dLbl>
            <c:dLbl>
              <c:idx val="79"/>
              <c:tx>
                <c:rich>
                  <a:bodyPr/>
                  <a:lstStyle/>
                  <a:p>
                    <a:fld id="{A1FADE81-ADE4-4A65-86D3-A058000BEF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8E3F-4D1B-A313-C02BEC0FDBD1}"/>
                </c:ext>
              </c:extLst>
            </c:dLbl>
            <c:dLbl>
              <c:idx val="80"/>
              <c:tx>
                <c:rich>
                  <a:bodyPr/>
                  <a:lstStyle/>
                  <a:p>
                    <a:fld id="{CF35E1CC-6E42-4CA8-9A8C-E733E9B907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8E3F-4D1B-A313-C02BEC0FDBD1}"/>
                </c:ext>
              </c:extLst>
            </c:dLbl>
            <c:dLbl>
              <c:idx val="81"/>
              <c:tx>
                <c:rich>
                  <a:bodyPr/>
                  <a:lstStyle/>
                  <a:p>
                    <a:fld id="{F89A1022-6ED9-481B-A35E-AC97CA7659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9-8E3F-4D1B-A313-C02BEC0FDBD1}"/>
                </c:ext>
              </c:extLst>
            </c:dLbl>
            <c:dLbl>
              <c:idx val="82"/>
              <c:tx>
                <c:rich>
                  <a:bodyPr/>
                  <a:lstStyle/>
                  <a:p>
                    <a:fld id="{36D578AF-924A-4699-BD20-662D82FA15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A-8E3F-4D1B-A313-C02BEC0FDBD1}"/>
                </c:ext>
              </c:extLst>
            </c:dLbl>
            <c:dLbl>
              <c:idx val="83"/>
              <c:tx>
                <c:rich>
                  <a:bodyPr/>
                  <a:lstStyle/>
                  <a:p>
                    <a:fld id="{828CCCA5-D9E0-4CF9-A93D-B8DA8454A9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B-8E3F-4D1B-A313-C02BEC0FDBD1}"/>
                </c:ext>
              </c:extLst>
            </c:dLbl>
            <c:dLbl>
              <c:idx val="84"/>
              <c:tx>
                <c:rich>
                  <a:bodyPr/>
                  <a:lstStyle/>
                  <a:p>
                    <a:fld id="{6690E1B9-AADD-4445-9322-4A62E3DA8F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C-8E3F-4D1B-A313-C02BEC0FDBD1}"/>
                </c:ext>
              </c:extLst>
            </c:dLbl>
            <c:dLbl>
              <c:idx val="85"/>
              <c:tx>
                <c:rich>
                  <a:bodyPr/>
                  <a:lstStyle/>
                  <a:p>
                    <a:fld id="{951E0BB7-527D-41BA-9DE3-821E565671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D-8E3F-4D1B-A313-C02BEC0FDBD1}"/>
                </c:ext>
              </c:extLst>
            </c:dLbl>
            <c:dLbl>
              <c:idx val="86"/>
              <c:tx>
                <c:rich>
                  <a:bodyPr/>
                  <a:lstStyle/>
                  <a:p>
                    <a:fld id="{7C5FDE90-24E1-41B8-AC0D-1CF0F4F841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E-8E3F-4D1B-A313-C02BEC0FDBD1}"/>
                </c:ext>
              </c:extLst>
            </c:dLbl>
            <c:dLbl>
              <c:idx val="87"/>
              <c:tx>
                <c:rich>
                  <a:bodyPr/>
                  <a:lstStyle/>
                  <a:p>
                    <a:fld id="{164CEB1A-7E8B-4A66-943C-22F786009B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F-8E3F-4D1B-A313-C02BEC0FDBD1}"/>
                </c:ext>
              </c:extLst>
            </c:dLbl>
            <c:dLbl>
              <c:idx val="88"/>
              <c:tx>
                <c:rich>
                  <a:bodyPr/>
                  <a:lstStyle/>
                  <a:p>
                    <a:fld id="{4562875E-8B89-49CF-BCBD-2641E5D2DD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0-8E3F-4D1B-A313-C02BEC0FDBD1}"/>
                </c:ext>
              </c:extLst>
            </c:dLbl>
            <c:dLbl>
              <c:idx val="89"/>
              <c:tx>
                <c:rich>
                  <a:bodyPr/>
                  <a:lstStyle/>
                  <a:p>
                    <a:fld id="{8D8C208B-71B4-4729-A6EC-6FBD60B917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1-8E3F-4D1B-A313-C02BEC0FDBD1}"/>
                </c:ext>
              </c:extLst>
            </c:dLbl>
            <c:dLbl>
              <c:idx val="90"/>
              <c:tx>
                <c:rich>
                  <a:bodyPr/>
                  <a:lstStyle/>
                  <a:p>
                    <a:fld id="{9539DD0F-7AA9-4DCA-9DE3-3921AA6FC5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2-8E3F-4D1B-A313-C02BEC0FDBD1}"/>
                </c:ext>
              </c:extLst>
            </c:dLbl>
            <c:dLbl>
              <c:idx val="91"/>
              <c:tx>
                <c:rich>
                  <a:bodyPr/>
                  <a:lstStyle/>
                  <a:p>
                    <a:fld id="{3471ECDA-5DC1-44F9-B82F-7A10936DE7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3-8E3F-4D1B-A313-C02BEC0FDBD1}"/>
                </c:ext>
              </c:extLst>
            </c:dLbl>
            <c:dLbl>
              <c:idx val="92"/>
              <c:tx>
                <c:rich>
                  <a:bodyPr/>
                  <a:lstStyle/>
                  <a:p>
                    <a:fld id="{13EE3697-D2A0-4D7D-B86C-E8ED05EB41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4-8E3F-4D1B-A313-C02BEC0FDBD1}"/>
                </c:ext>
              </c:extLst>
            </c:dLbl>
            <c:dLbl>
              <c:idx val="93"/>
              <c:tx>
                <c:rich>
                  <a:bodyPr/>
                  <a:lstStyle/>
                  <a:p>
                    <a:fld id="{566D0E5A-5360-41F7-B35C-5A48030642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5-8E3F-4D1B-A313-C02BEC0FDBD1}"/>
                </c:ext>
              </c:extLst>
            </c:dLbl>
            <c:dLbl>
              <c:idx val="94"/>
              <c:tx>
                <c:rich>
                  <a:bodyPr/>
                  <a:lstStyle/>
                  <a:p>
                    <a:fld id="{5BC614DF-509F-4F79-9622-CF1159679C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6-8E3F-4D1B-A313-C02BEC0FDBD1}"/>
                </c:ext>
              </c:extLst>
            </c:dLbl>
            <c:dLbl>
              <c:idx val="95"/>
              <c:tx>
                <c:rich>
                  <a:bodyPr/>
                  <a:lstStyle/>
                  <a:p>
                    <a:fld id="{FF522B56-2D1D-475D-819F-8C3F810C46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7-8E3F-4D1B-A313-C02BEC0FDBD1}"/>
                </c:ext>
              </c:extLst>
            </c:dLbl>
            <c:dLbl>
              <c:idx val="96"/>
              <c:tx>
                <c:rich>
                  <a:bodyPr/>
                  <a:lstStyle/>
                  <a:p>
                    <a:fld id="{2E05483A-506A-4A63-B9F0-613274D11A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8-8E3F-4D1B-A313-C02BEC0FDBD1}"/>
                </c:ext>
              </c:extLst>
            </c:dLbl>
            <c:dLbl>
              <c:idx val="97"/>
              <c:tx>
                <c:rich>
                  <a:bodyPr/>
                  <a:lstStyle/>
                  <a:p>
                    <a:fld id="{1CF0ED0E-374C-4432-914F-5B482EA511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9-8E3F-4D1B-A313-C02BEC0FDBD1}"/>
                </c:ext>
              </c:extLst>
            </c:dLbl>
            <c:dLbl>
              <c:idx val="98"/>
              <c:tx>
                <c:rich>
                  <a:bodyPr/>
                  <a:lstStyle/>
                  <a:p>
                    <a:fld id="{8F13A226-2E0F-4668-8DCE-871C4C4EFF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A-8E3F-4D1B-A313-C02BEC0FDBD1}"/>
                </c:ext>
              </c:extLst>
            </c:dLbl>
            <c:dLbl>
              <c:idx val="99"/>
              <c:tx>
                <c:rich>
                  <a:bodyPr/>
                  <a:lstStyle/>
                  <a:p>
                    <a:fld id="{7D0A27EB-2A07-48F8-B256-CAEABC8C01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B-8E3F-4D1B-A313-C02BEC0FDBD1}"/>
                </c:ext>
              </c:extLst>
            </c:dLbl>
            <c:dLbl>
              <c:idx val="100"/>
              <c:tx>
                <c:rich>
                  <a:bodyPr/>
                  <a:lstStyle/>
                  <a:p>
                    <a:fld id="{96DD5B67-8A48-42E6-B6D8-129B53BBC3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C-8E3F-4D1B-A313-C02BEC0FDBD1}"/>
                </c:ext>
              </c:extLst>
            </c:dLbl>
            <c:dLbl>
              <c:idx val="101"/>
              <c:tx>
                <c:rich>
                  <a:bodyPr/>
                  <a:lstStyle/>
                  <a:p>
                    <a:fld id="{EAA5EB04-9F74-4594-BF82-8B1057579B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D-8E3F-4D1B-A313-C02BEC0FDBD1}"/>
                </c:ext>
              </c:extLst>
            </c:dLbl>
            <c:dLbl>
              <c:idx val="102"/>
              <c:tx>
                <c:rich>
                  <a:bodyPr/>
                  <a:lstStyle/>
                  <a:p>
                    <a:fld id="{7243532C-936A-47B4-87A5-FE42BF08CC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E-8E3F-4D1B-A313-C02BEC0FDBD1}"/>
                </c:ext>
              </c:extLst>
            </c:dLbl>
            <c:dLbl>
              <c:idx val="103"/>
              <c:tx>
                <c:rich>
                  <a:bodyPr/>
                  <a:lstStyle/>
                  <a:p>
                    <a:fld id="{4134E7BB-FAC5-40E3-B6F2-0BDC37DAD4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F-8E3F-4D1B-A313-C02BEC0FDBD1}"/>
                </c:ext>
              </c:extLst>
            </c:dLbl>
            <c:dLbl>
              <c:idx val="104"/>
              <c:tx>
                <c:rich>
                  <a:bodyPr/>
                  <a:lstStyle/>
                  <a:p>
                    <a:fld id="{E4A0E3BA-0266-4EDB-9CA2-F01AFB4022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0-8E3F-4D1B-A313-C02BEC0FDBD1}"/>
                </c:ext>
              </c:extLst>
            </c:dLbl>
            <c:dLbl>
              <c:idx val="105"/>
              <c:tx>
                <c:rich>
                  <a:bodyPr/>
                  <a:lstStyle/>
                  <a:p>
                    <a:fld id="{2BA3755E-E87E-44C1-8151-29C9DD050B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1-8E3F-4D1B-A313-C02BEC0FDBD1}"/>
                </c:ext>
              </c:extLst>
            </c:dLbl>
            <c:dLbl>
              <c:idx val="106"/>
              <c:tx>
                <c:rich>
                  <a:bodyPr/>
                  <a:lstStyle/>
                  <a:p>
                    <a:fld id="{AA579DDF-1AE8-42BF-BF96-A5000D1BA6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2-8E3F-4D1B-A313-C02BEC0FDBD1}"/>
                </c:ext>
              </c:extLst>
            </c:dLbl>
            <c:dLbl>
              <c:idx val="107"/>
              <c:tx>
                <c:rich>
                  <a:bodyPr/>
                  <a:lstStyle/>
                  <a:p>
                    <a:fld id="{35002B10-B4B7-47FD-A48F-3AD7B0064C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3-8E3F-4D1B-A313-C02BEC0FDBD1}"/>
                </c:ext>
              </c:extLst>
            </c:dLbl>
            <c:dLbl>
              <c:idx val="108"/>
              <c:tx>
                <c:rich>
                  <a:bodyPr/>
                  <a:lstStyle/>
                  <a:p>
                    <a:fld id="{28B65051-CF5A-4D89-B119-A1BEBFDFBD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4-8E3F-4D1B-A313-C02BEC0FDBD1}"/>
                </c:ext>
              </c:extLst>
            </c:dLbl>
            <c:dLbl>
              <c:idx val="109"/>
              <c:tx>
                <c:rich>
                  <a:bodyPr/>
                  <a:lstStyle/>
                  <a:p>
                    <a:fld id="{F083ED1D-F1CE-4F11-A423-74C6030049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5-8E3F-4D1B-A313-C02BEC0FDBD1}"/>
                </c:ext>
              </c:extLst>
            </c:dLbl>
            <c:dLbl>
              <c:idx val="110"/>
              <c:tx>
                <c:rich>
                  <a:bodyPr/>
                  <a:lstStyle/>
                  <a:p>
                    <a:fld id="{7E76E79F-7BEE-41A8-8D35-364527A48D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6-8E3F-4D1B-A313-C02BEC0FDBD1}"/>
                </c:ext>
              </c:extLst>
            </c:dLbl>
            <c:dLbl>
              <c:idx val="111"/>
              <c:tx>
                <c:rich>
                  <a:bodyPr/>
                  <a:lstStyle/>
                  <a:p>
                    <a:fld id="{B8EAA254-612A-407E-950E-D6120C9799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7-8E3F-4D1B-A313-C02BEC0FDBD1}"/>
                </c:ext>
              </c:extLst>
            </c:dLbl>
            <c:dLbl>
              <c:idx val="112"/>
              <c:tx>
                <c:rich>
                  <a:bodyPr/>
                  <a:lstStyle/>
                  <a:p>
                    <a:fld id="{58EF2139-9909-4A63-A9B7-303BD3B39F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8-8E3F-4D1B-A313-C02BEC0FDBD1}"/>
                </c:ext>
              </c:extLst>
            </c:dLbl>
            <c:dLbl>
              <c:idx val="113"/>
              <c:tx>
                <c:rich>
                  <a:bodyPr/>
                  <a:lstStyle/>
                  <a:p>
                    <a:fld id="{5FC08BFD-D801-4BDA-9CF8-0191DC1F23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9-8E3F-4D1B-A313-C02BEC0FDBD1}"/>
                </c:ext>
              </c:extLst>
            </c:dLbl>
            <c:dLbl>
              <c:idx val="114"/>
              <c:tx>
                <c:rich>
                  <a:bodyPr/>
                  <a:lstStyle/>
                  <a:p>
                    <a:fld id="{5AB6AA40-5150-4BDF-8E6E-A6C692754D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A-8E3F-4D1B-A313-C02BEC0FDBD1}"/>
                </c:ext>
              </c:extLst>
            </c:dLbl>
            <c:dLbl>
              <c:idx val="115"/>
              <c:tx>
                <c:rich>
                  <a:bodyPr/>
                  <a:lstStyle/>
                  <a:p>
                    <a:fld id="{B84D3C25-75F5-4641-B431-05CA9C5655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D$2:$D$117</c:f>
              <c:numCache>
                <c:formatCode>General</c:formatCode>
                <c:ptCount val="116"/>
                <c:pt idx="0">
                  <c:v>1</c:v>
                </c:pt>
                <c:pt idx="1">
                  <c:v>1</c:v>
                </c:pt>
                <c:pt idx="2">
                  <c:v>1</c:v>
                </c:pt>
                <c:pt idx="3">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15" formatCode="0">
                  <c:v>1</c:v>
                </c:pt>
                <c:pt idx="16" formatCode="0">
                  <c:v>1</c:v>
                </c:pt>
                <c:pt idx="17" formatCode="0">
                  <c:v>2</c:v>
                </c:pt>
                <c:pt idx="18" formatCode="0">
                  <c:v>1</c:v>
                </c:pt>
                <c:pt idx="19" formatCode="0">
                  <c:v>2</c:v>
                </c:pt>
                <c:pt idx="20" formatCode="0">
                  <c:v>2</c:v>
                </c:pt>
                <c:pt idx="21" formatCode="0">
                  <c:v>2</c:v>
                </c:pt>
                <c:pt idx="22" formatCode="0">
                  <c:v>2</c:v>
                </c:pt>
                <c:pt idx="23" formatCode="0">
                  <c:v>2</c:v>
                </c:pt>
                <c:pt idx="24" formatCode="0">
                  <c:v>2</c:v>
                </c:pt>
                <c:pt idx="25" formatCode="0">
                  <c:v>2</c:v>
                </c:pt>
                <c:pt idx="26" formatCode="0">
                  <c:v>2</c:v>
                </c:pt>
                <c:pt idx="27">
                  <c:v>2</c:v>
                </c:pt>
                <c:pt idx="28">
                  <c:v>2</c:v>
                </c:pt>
                <c:pt idx="29">
                  <c:v>2</c:v>
                </c:pt>
                <c:pt idx="30">
                  <c:v>2</c:v>
                </c:pt>
                <c:pt idx="31">
                  <c:v>3</c:v>
                </c:pt>
                <c:pt idx="32">
                  <c:v>3</c:v>
                </c:pt>
                <c:pt idx="33">
                  <c:v>3</c:v>
                </c:pt>
                <c:pt idx="34">
                  <c:v>3</c:v>
                </c:pt>
                <c:pt idx="35">
                  <c:v>3</c:v>
                </c:pt>
                <c:pt idx="36">
                  <c:v>3</c:v>
                </c:pt>
                <c:pt idx="37">
                  <c:v>3</c:v>
                </c:pt>
                <c:pt idx="38">
                  <c:v>3</c:v>
                </c:pt>
                <c:pt idx="39">
                  <c:v>3</c:v>
                </c:pt>
                <c:pt idx="40">
                  <c:v>3</c:v>
                </c:pt>
                <c:pt idx="41">
                  <c:v>3</c:v>
                </c:pt>
                <c:pt idx="42">
                  <c:v>3</c:v>
                </c:pt>
                <c:pt idx="43">
                  <c:v>3</c:v>
                </c:pt>
                <c:pt idx="44">
                  <c:v>4</c:v>
                </c:pt>
                <c:pt idx="45">
                  <c:v>4</c:v>
                </c:pt>
                <c:pt idx="46">
                  <c:v>4</c:v>
                </c:pt>
                <c:pt idx="47">
                  <c:v>4</c:v>
                </c:pt>
                <c:pt idx="48">
                  <c:v>4</c:v>
                </c:pt>
                <c:pt idx="49">
                  <c:v>4</c:v>
                </c:pt>
                <c:pt idx="50">
                  <c:v>4</c:v>
                </c:pt>
                <c:pt idx="51">
                  <c:v>4</c:v>
                </c:pt>
                <c:pt idx="52">
                  <c:v>4</c:v>
                </c:pt>
                <c:pt idx="53">
                  <c:v>4</c:v>
                </c:pt>
                <c:pt idx="54">
                  <c:v>4</c:v>
                </c:pt>
                <c:pt idx="55">
                  <c:v>4</c:v>
                </c:pt>
                <c:pt idx="56">
                  <c:v>4</c:v>
                </c:pt>
                <c:pt idx="57">
                  <c:v>4</c:v>
                </c:pt>
                <c:pt idx="58">
                  <c:v>4</c:v>
                </c:pt>
                <c:pt idx="59">
                  <c:v>4</c:v>
                </c:pt>
                <c:pt idx="60">
                  <c:v>4</c:v>
                </c:pt>
                <c:pt idx="61">
                  <c:v>4</c:v>
                </c:pt>
                <c:pt idx="62">
                  <c:v>4</c:v>
                </c:pt>
                <c:pt idx="63">
                  <c:v>4</c:v>
                </c:pt>
                <c:pt idx="64">
                  <c:v>4</c:v>
                </c:pt>
                <c:pt idx="65">
                  <c:v>4</c:v>
                </c:pt>
                <c:pt idx="66">
                  <c:v>4</c:v>
                </c:pt>
                <c:pt idx="67">
                  <c:v>4</c:v>
                </c:pt>
                <c:pt idx="68">
                  <c:v>5</c:v>
                </c:pt>
                <c:pt idx="69">
                  <c:v>5</c:v>
                </c:pt>
                <c:pt idx="70">
                  <c:v>5</c:v>
                </c:pt>
                <c:pt idx="71">
                  <c:v>5</c:v>
                </c:pt>
                <c:pt idx="72">
                  <c:v>5</c:v>
                </c:pt>
                <c:pt idx="73">
                  <c:v>5</c:v>
                </c:pt>
                <c:pt idx="74">
                  <c:v>5</c:v>
                </c:pt>
                <c:pt idx="75">
                  <c:v>5</c:v>
                </c:pt>
                <c:pt idx="76">
                  <c:v>5</c:v>
                </c:pt>
                <c:pt idx="77">
                  <c:v>5</c:v>
                </c:pt>
                <c:pt idx="78">
                  <c:v>5</c:v>
                </c:pt>
                <c:pt idx="79">
                  <c:v>5</c:v>
                </c:pt>
                <c:pt idx="80">
                  <c:v>6</c:v>
                </c:pt>
                <c:pt idx="81">
                  <c:v>6</c:v>
                </c:pt>
                <c:pt idx="82">
                  <c:v>6</c:v>
                </c:pt>
                <c:pt idx="83">
                  <c:v>6</c:v>
                </c:pt>
                <c:pt idx="84">
                  <c:v>6</c:v>
                </c:pt>
                <c:pt idx="85">
                  <c:v>6</c:v>
                </c:pt>
                <c:pt idx="86">
                  <c:v>6</c:v>
                </c:pt>
                <c:pt idx="87">
                  <c:v>6</c:v>
                </c:pt>
                <c:pt idx="88">
                  <c:v>6</c:v>
                </c:pt>
                <c:pt idx="89">
                  <c:v>6</c:v>
                </c:pt>
                <c:pt idx="90">
                  <c:v>6</c:v>
                </c:pt>
                <c:pt idx="91">
                  <c:v>6</c:v>
                </c:pt>
                <c:pt idx="92">
                  <c:v>6</c:v>
                </c:pt>
                <c:pt idx="93">
                  <c:v>7</c:v>
                </c:pt>
                <c:pt idx="94">
                  <c:v>7</c:v>
                </c:pt>
                <c:pt idx="95">
                  <c:v>7</c:v>
                </c:pt>
                <c:pt idx="96">
                  <c:v>7</c:v>
                </c:pt>
                <c:pt idx="97">
                  <c:v>7</c:v>
                </c:pt>
                <c:pt idx="98">
                  <c:v>7</c:v>
                </c:pt>
                <c:pt idx="99">
                  <c:v>7</c:v>
                </c:pt>
                <c:pt idx="100">
                  <c:v>7</c:v>
                </c:pt>
                <c:pt idx="101">
                  <c:v>7</c:v>
                </c:pt>
                <c:pt idx="102">
                  <c:v>7</c:v>
                </c:pt>
                <c:pt idx="103">
                  <c:v>7</c:v>
                </c:pt>
                <c:pt idx="104">
                  <c:v>7</c:v>
                </c:pt>
                <c:pt idx="105">
                  <c:v>8</c:v>
                </c:pt>
                <c:pt idx="106">
                  <c:v>8</c:v>
                </c:pt>
                <c:pt idx="107">
                  <c:v>8</c:v>
                </c:pt>
                <c:pt idx="108">
                  <c:v>8</c:v>
                </c:pt>
                <c:pt idx="109">
                  <c:v>8</c:v>
                </c:pt>
                <c:pt idx="110">
                  <c:v>8</c:v>
                </c:pt>
                <c:pt idx="111">
                  <c:v>8</c:v>
                </c:pt>
                <c:pt idx="112">
                  <c:v>8</c:v>
                </c:pt>
                <c:pt idx="113">
                  <c:v>8</c:v>
                </c:pt>
                <c:pt idx="114">
                  <c:v>8</c:v>
                </c:pt>
                <c:pt idx="115">
                  <c:v>8</c:v>
                </c:pt>
              </c:numCache>
            </c:numRef>
          </c:xVal>
          <c:yVal>
            <c:numRef>
              <c:f>Sheet1!$B$2:$B$117</c:f>
              <c:numCache>
                <c:formatCode>0%;\-0%;0%</c:formatCode>
                <c:ptCount val="116"/>
                <c:pt idx="0">
                  <c:v>0.33537119853666614</c:v>
                </c:pt>
                <c:pt idx="1">
                  <c:v>1.3110575620733895</c:v>
                </c:pt>
                <c:pt idx="2">
                  <c:v>0.12281129115912857</c:v>
                </c:pt>
                <c:pt idx="3">
                  <c:v>0.52740423038450002</c:v>
                </c:pt>
                <c:pt idx="4">
                  <c:v>0.23394614817291179</c:v>
                </c:pt>
                <c:pt idx="5">
                  <c:v>0.40424723346828612</c:v>
                </c:pt>
                <c:pt idx="6">
                  <c:v>1.0381094546405629</c:v>
                </c:pt>
                <c:pt idx="7">
                  <c:v>0.39464140468177511</c:v>
                </c:pt>
                <c:pt idx="8">
                  <c:v>1.0804710500490677</c:v>
                </c:pt>
                <c:pt idx="9">
                  <c:v>0.29756844074137051</c:v>
                </c:pt>
                <c:pt idx="10">
                  <c:v>0.34245897269923464</c:v>
                </c:pt>
                <c:pt idx="11">
                  <c:v>0.64309733708988459</c:v>
                </c:pt>
                <c:pt idx="12">
                  <c:v>7.6182838813151563E-3</c:v>
                </c:pt>
                <c:pt idx="13">
                  <c:v>7.2727272727272724E-2</c:v>
                </c:pt>
                <c:pt idx="14">
                  <c:v>9.4564818215203822E-2</c:v>
                </c:pt>
                <c:pt idx="15">
                  <c:v>0.97732228521587439</c:v>
                </c:pt>
                <c:pt idx="16">
                  <c:v>0.12916246215943492</c:v>
                </c:pt>
                <c:pt idx="17">
                  <c:v>0</c:v>
                </c:pt>
                <c:pt idx="18">
                  <c:v>0</c:v>
                </c:pt>
                <c:pt idx="19">
                  <c:v>0.67651164854893464</c:v>
                </c:pt>
                <c:pt idx="20">
                  <c:v>1.189595592135231</c:v>
                </c:pt>
                <c:pt idx="21">
                  <c:v>0.17901899226560691</c:v>
                </c:pt>
                <c:pt idx="22">
                  <c:v>1.1122736936699982</c:v>
                </c:pt>
                <c:pt idx="23">
                  <c:v>0.85910295216250121</c:v>
                </c:pt>
                <c:pt idx="24">
                  <c:v>0.98060814099444116</c:v>
                </c:pt>
                <c:pt idx="25">
                  <c:v>0.54450632951838152</c:v>
                </c:pt>
                <c:pt idx="26">
                  <c:v>0.56422668334309645</c:v>
                </c:pt>
                <c:pt idx="27">
                  <c:v>0.30859076520030565</c:v>
                </c:pt>
                <c:pt idx="28">
                  <c:v>-5.088408644400786E-2</c:v>
                </c:pt>
                <c:pt idx="29">
                  <c:v>0.48655046266408436</c:v>
                </c:pt>
                <c:pt idx="30">
                  <c:v>5.8252427184466021E-2</c:v>
                </c:pt>
                <c:pt idx="31">
                  <c:v>0.57528207397007924</c:v>
                </c:pt>
                <c:pt idx="32">
                  <c:v>0</c:v>
                </c:pt>
                <c:pt idx="33">
                  <c:v>0.34969330141134647</c:v>
                </c:pt>
                <c:pt idx="34">
                  <c:v>9.3618913842698215E-2</c:v>
                </c:pt>
                <c:pt idx="35">
                  <c:v>0.39086369781125707</c:v>
                </c:pt>
                <c:pt idx="36">
                  <c:v>0.53102946813067886</c:v>
                </c:pt>
                <c:pt idx="37">
                  <c:v>0.30671829359418518</c:v>
                </c:pt>
                <c:pt idx="38">
                  <c:v>4.7373658397896083E-2</c:v>
                </c:pt>
                <c:pt idx="39">
                  <c:v>9.8011706773204491E-2</c:v>
                </c:pt>
                <c:pt idx="40">
                  <c:v>5.9622372365136428E-2</c:v>
                </c:pt>
                <c:pt idx="41">
                  <c:v>0.3325076129317282</c:v>
                </c:pt>
                <c:pt idx="42">
                  <c:v>1.6811941832822908E-2</c:v>
                </c:pt>
                <c:pt idx="43">
                  <c:v>0.13383247543284979</c:v>
                </c:pt>
                <c:pt idx="44">
                  <c:v>0.18520227334689512</c:v>
                </c:pt>
                <c:pt idx="45">
                  <c:v>0.15534287581423784</c:v>
                </c:pt>
                <c:pt idx="46">
                  <c:v>0.27216813979063992</c:v>
                </c:pt>
                <c:pt idx="47">
                  <c:v>0.14428544647878522</c:v>
                </c:pt>
                <c:pt idx="48">
                  <c:v>8.9574245868403263E-2</c:v>
                </c:pt>
                <c:pt idx="49">
                  <c:v>0.29961779961779961</c:v>
                </c:pt>
                <c:pt idx="50">
                  <c:v>0.32942695401728078</c:v>
                </c:pt>
                <c:pt idx="51">
                  <c:v>0.79519295870006768</c:v>
                </c:pt>
                <c:pt idx="52">
                  <c:v>5.1974626560261916E-2</c:v>
                </c:pt>
                <c:pt idx="53">
                  <c:v>-2.5057825751734774E-2</c:v>
                </c:pt>
                <c:pt idx="54">
                  <c:v>-0.28899835796387519</c:v>
                </c:pt>
                <c:pt idx="55">
                  <c:v>0</c:v>
                </c:pt>
                <c:pt idx="56" formatCode="0.00%">
                  <c:v>0.18520227334689512</c:v>
                </c:pt>
                <c:pt idx="57" formatCode="0.00%">
                  <c:v>0.15534287581423784</c:v>
                </c:pt>
                <c:pt idx="58" formatCode="0.00%">
                  <c:v>0.27216813979063992</c:v>
                </c:pt>
                <c:pt idx="59" formatCode="0.00%">
                  <c:v>0.14428544647878522</c:v>
                </c:pt>
                <c:pt idx="60" formatCode="0.00%">
                  <c:v>8.9574245868403263E-2</c:v>
                </c:pt>
                <c:pt idx="61" formatCode="0.00%">
                  <c:v>0.29961779961779961</c:v>
                </c:pt>
                <c:pt idx="62" formatCode="0.00%">
                  <c:v>0.32942695401728078</c:v>
                </c:pt>
                <c:pt idx="63" formatCode="0.00%">
                  <c:v>0.79519295870006768</c:v>
                </c:pt>
                <c:pt idx="64" formatCode="0.00%">
                  <c:v>5.1974626560261916E-2</c:v>
                </c:pt>
                <c:pt idx="65" formatCode="0.00%">
                  <c:v>-2.5057825751734774E-2</c:v>
                </c:pt>
                <c:pt idx="66" formatCode="0.00%">
                  <c:v>-0.28899835796387519</c:v>
                </c:pt>
                <c:pt idx="67" formatCode="0.00%">
                  <c:v>0</c:v>
                </c:pt>
                <c:pt idx="68" formatCode="General">
                  <c:v>0.18520227334689512</c:v>
                </c:pt>
                <c:pt idx="69" formatCode="General">
                  <c:v>0.15534287581423784</c:v>
                </c:pt>
                <c:pt idx="70" formatCode="General">
                  <c:v>0.27216813979063992</c:v>
                </c:pt>
                <c:pt idx="71" formatCode="General">
                  <c:v>0.14428544647878522</c:v>
                </c:pt>
                <c:pt idx="72" formatCode="General">
                  <c:v>8.9574245868403263E-2</c:v>
                </c:pt>
                <c:pt idx="73" formatCode="General">
                  <c:v>0.29961779961779961</c:v>
                </c:pt>
                <c:pt idx="74" formatCode="General">
                  <c:v>0.32942695401728078</c:v>
                </c:pt>
                <c:pt idx="75" formatCode="General">
                  <c:v>0.79519295870006768</c:v>
                </c:pt>
                <c:pt idx="76" formatCode="General">
                  <c:v>5.1974626560261916E-2</c:v>
                </c:pt>
                <c:pt idx="77" formatCode="General">
                  <c:v>-2.5057825751734774E-2</c:v>
                </c:pt>
                <c:pt idx="78" formatCode="General">
                  <c:v>-0.28899835796387519</c:v>
                </c:pt>
                <c:pt idx="79" formatCode="General">
                  <c:v>0</c:v>
                </c:pt>
                <c:pt idx="80" formatCode="General">
                  <c:v>0</c:v>
                </c:pt>
                <c:pt idx="81" formatCode="General">
                  <c:v>0.18520227334689512</c:v>
                </c:pt>
                <c:pt idx="82" formatCode="General">
                  <c:v>0.15534287581423784</c:v>
                </c:pt>
                <c:pt idx="83" formatCode="General">
                  <c:v>0.27216813979063992</c:v>
                </c:pt>
                <c:pt idx="84" formatCode="General">
                  <c:v>0.14428544647878522</c:v>
                </c:pt>
                <c:pt idx="85" formatCode="General">
                  <c:v>8.9574245868403263E-2</c:v>
                </c:pt>
                <c:pt idx="86" formatCode="General">
                  <c:v>0.29961779961779961</c:v>
                </c:pt>
                <c:pt idx="87" formatCode="General">
                  <c:v>0.32942695401728078</c:v>
                </c:pt>
                <c:pt idx="88" formatCode="General">
                  <c:v>0.79519295870006768</c:v>
                </c:pt>
                <c:pt idx="89" formatCode="General">
                  <c:v>5.1974626560261916E-2</c:v>
                </c:pt>
                <c:pt idx="90" formatCode="General">
                  <c:v>-2.5057825751734774E-2</c:v>
                </c:pt>
                <c:pt idx="91" formatCode="General">
                  <c:v>-0.28899835796387519</c:v>
                </c:pt>
                <c:pt idx="92" formatCode="General">
                  <c:v>0</c:v>
                </c:pt>
                <c:pt idx="93" formatCode="General">
                  <c:v>0.18520227334689512</c:v>
                </c:pt>
                <c:pt idx="94" formatCode="General">
                  <c:v>0.15534287581423784</c:v>
                </c:pt>
                <c:pt idx="95" formatCode="General">
                  <c:v>0.27216813979063992</c:v>
                </c:pt>
                <c:pt idx="96" formatCode="General">
                  <c:v>0.14428544647878522</c:v>
                </c:pt>
                <c:pt idx="97" formatCode="General">
                  <c:v>8.9574245868403263E-2</c:v>
                </c:pt>
                <c:pt idx="98" formatCode="General">
                  <c:v>0.29961779961779961</c:v>
                </c:pt>
                <c:pt idx="99" formatCode="General">
                  <c:v>0.32942695401728078</c:v>
                </c:pt>
                <c:pt idx="100" formatCode="General">
                  <c:v>0.79519295870006768</c:v>
                </c:pt>
                <c:pt idx="101" formatCode="General">
                  <c:v>5.1974626560261916E-2</c:v>
                </c:pt>
                <c:pt idx="102" formatCode="General">
                  <c:v>-2.5057825751734774E-2</c:v>
                </c:pt>
                <c:pt idx="103" formatCode="General">
                  <c:v>-0.28899835796387519</c:v>
                </c:pt>
                <c:pt idx="104" formatCode="General">
                  <c:v>0</c:v>
                </c:pt>
                <c:pt idx="105" formatCode="General">
                  <c:v>0.15534287581423784</c:v>
                </c:pt>
                <c:pt idx="106" formatCode="General">
                  <c:v>0.27216813979063992</c:v>
                </c:pt>
                <c:pt idx="107" formatCode="General">
                  <c:v>0.14428544647878522</c:v>
                </c:pt>
                <c:pt idx="108" formatCode="General">
                  <c:v>8.9574245868403263E-2</c:v>
                </c:pt>
                <c:pt idx="109" formatCode="General">
                  <c:v>0.29961779961779961</c:v>
                </c:pt>
                <c:pt idx="110" formatCode="General">
                  <c:v>0.32942695401728078</c:v>
                </c:pt>
                <c:pt idx="111" formatCode="General">
                  <c:v>0.79519295870006768</c:v>
                </c:pt>
                <c:pt idx="112" formatCode="General">
                  <c:v>5.1974626560261916E-2</c:v>
                </c:pt>
                <c:pt idx="113" formatCode="General">
                  <c:v>-2.5057825751734774E-2</c:v>
                </c:pt>
                <c:pt idx="114" formatCode="General">
                  <c:v>-0.28899835796387519</c:v>
                </c:pt>
                <c:pt idx="115" formatCode="General">
                  <c:v>0</c:v>
                </c:pt>
              </c:numCache>
            </c:numRef>
          </c:yVal>
          <c:bubbleSize>
            <c:numRef>
              <c:f>Sheet1!$C$2:$C$117</c:f>
              <c:numCache>
                <c:formatCode>0%;\-0%;0%</c:formatCode>
                <c:ptCount val="116"/>
                <c:pt idx="0">
                  <c:v>4111084</c:v>
                </c:pt>
                <c:pt idx="1">
                  <c:v>1160533</c:v>
                </c:pt>
                <c:pt idx="2">
                  <c:v>1117212</c:v>
                </c:pt>
                <c:pt idx="3">
                  <c:v>504428</c:v>
                </c:pt>
                <c:pt idx="4">
                  <c:v>459435</c:v>
                </c:pt>
                <c:pt idx="5">
                  <c:v>386077</c:v>
                </c:pt>
                <c:pt idx="6">
                  <c:v>277647</c:v>
                </c:pt>
                <c:pt idx="7">
                  <c:v>222216</c:v>
                </c:pt>
                <c:pt idx="8">
                  <c:v>108739</c:v>
                </c:pt>
                <c:pt idx="9">
                  <c:v>100141</c:v>
                </c:pt>
                <c:pt idx="10">
                  <c:v>18851</c:v>
                </c:pt>
                <c:pt idx="11">
                  <c:v>13981</c:v>
                </c:pt>
                <c:pt idx="12">
                  <c:v>10864</c:v>
                </c:pt>
                <c:pt idx="13">
                  <c:v>7717</c:v>
                </c:pt>
                <c:pt idx="14">
                  <c:v>7439</c:v>
                </c:pt>
                <c:pt idx="15">
                  <c:v>4428</c:v>
                </c:pt>
                <c:pt idx="16">
                  <c:v>1120</c:v>
                </c:pt>
                <c:pt idx="17">
                  <c:v>21</c:v>
                </c:pt>
                <c:pt idx="18">
                  <c:v>0</c:v>
                </c:pt>
                <c:pt idx="19">
                  <c:v>12037304</c:v>
                </c:pt>
                <c:pt idx="20">
                  <c:v>5124041</c:v>
                </c:pt>
                <c:pt idx="21">
                  <c:v>4271666</c:v>
                </c:pt>
                <c:pt idx="22">
                  <c:v>1061364</c:v>
                </c:pt>
                <c:pt idx="23">
                  <c:v>786468</c:v>
                </c:pt>
                <c:pt idx="24">
                  <c:v>606283</c:v>
                </c:pt>
                <c:pt idx="25">
                  <c:v>479058</c:v>
                </c:pt>
                <c:pt idx="26">
                  <c:v>306437</c:v>
                </c:pt>
                <c:pt idx="27">
                  <c:v>83930</c:v>
                </c:pt>
                <c:pt idx="28">
                  <c:v>32553</c:v>
                </c:pt>
                <c:pt idx="29">
                  <c:v>24613</c:v>
                </c:pt>
                <c:pt idx="30">
                  <c:v>42</c:v>
                </c:pt>
                <c:pt idx="31">
                  <c:v>16067456</c:v>
                </c:pt>
                <c:pt idx="32">
                  <c:v>0</c:v>
                </c:pt>
                <c:pt idx="33">
                  <c:v>2257543</c:v>
                </c:pt>
                <c:pt idx="34">
                  <c:v>350113</c:v>
                </c:pt>
                <c:pt idx="35">
                  <c:v>238922</c:v>
                </c:pt>
                <c:pt idx="36">
                  <c:v>178620</c:v>
                </c:pt>
                <c:pt idx="37">
                  <c:v>98148</c:v>
                </c:pt>
                <c:pt idx="38">
                  <c:v>76752</c:v>
                </c:pt>
                <c:pt idx="39">
                  <c:v>59927</c:v>
                </c:pt>
                <c:pt idx="40">
                  <c:v>59154</c:v>
                </c:pt>
                <c:pt idx="41">
                  <c:v>58860</c:v>
                </c:pt>
                <c:pt idx="42">
                  <c:v>53214</c:v>
                </c:pt>
                <c:pt idx="43">
                  <c:v>45806</c:v>
                </c:pt>
                <c:pt idx="44">
                  <c:v>33868</c:v>
                </c:pt>
                <c:pt idx="45">
                  <c:v>28590</c:v>
                </c:pt>
                <c:pt idx="46">
                  <c:v>26827</c:v>
                </c:pt>
                <c:pt idx="47">
                  <c:v>15746</c:v>
                </c:pt>
                <c:pt idx="48">
                  <c:v>10871</c:v>
                </c:pt>
                <c:pt idx="49">
                  <c:v>10018</c:v>
                </c:pt>
                <c:pt idx="50">
                  <c:v>4962</c:v>
                </c:pt>
                <c:pt idx="51">
                  <c:v>4865</c:v>
                </c:pt>
                <c:pt idx="52">
                  <c:v>3900</c:v>
                </c:pt>
                <c:pt idx="53">
                  <c:v>1677</c:v>
                </c:pt>
                <c:pt idx="54">
                  <c:v>297</c:v>
                </c:pt>
                <c:pt idx="55">
                  <c:v>0</c:v>
                </c:pt>
                <c:pt idx="56" formatCode="General">
                  <c:v>33868</c:v>
                </c:pt>
                <c:pt idx="57" formatCode="General">
                  <c:v>28590</c:v>
                </c:pt>
                <c:pt idx="58" formatCode="General">
                  <c:v>26827</c:v>
                </c:pt>
                <c:pt idx="59" formatCode="General">
                  <c:v>15746</c:v>
                </c:pt>
                <c:pt idx="60" formatCode="General">
                  <c:v>10871</c:v>
                </c:pt>
                <c:pt idx="61" formatCode="General">
                  <c:v>10018</c:v>
                </c:pt>
                <c:pt idx="62" formatCode="General">
                  <c:v>4962</c:v>
                </c:pt>
                <c:pt idx="63" formatCode="General">
                  <c:v>4865</c:v>
                </c:pt>
                <c:pt idx="64" formatCode="General">
                  <c:v>3900</c:v>
                </c:pt>
                <c:pt idx="65" formatCode="General">
                  <c:v>1677</c:v>
                </c:pt>
                <c:pt idx="66" formatCode="General">
                  <c:v>297</c:v>
                </c:pt>
                <c:pt idx="67" formatCode="General">
                  <c:v>0</c:v>
                </c:pt>
                <c:pt idx="68" formatCode="General">
                  <c:v>33868</c:v>
                </c:pt>
                <c:pt idx="69" formatCode="General">
                  <c:v>28590</c:v>
                </c:pt>
                <c:pt idx="70" formatCode="General">
                  <c:v>26827</c:v>
                </c:pt>
                <c:pt idx="71" formatCode="General">
                  <c:v>15746</c:v>
                </c:pt>
                <c:pt idx="72" formatCode="General">
                  <c:v>10871</c:v>
                </c:pt>
                <c:pt idx="73" formatCode="General">
                  <c:v>10018</c:v>
                </c:pt>
                <c:pt idx="74" formatCode="General">
                  <c:v>4962</c:v>
                </c:pt>
                <c:pt idx="75" formatCode="General">
                  <c:v>4865</c:v>
                </c:pt>
                <c:pt idx="76" formatCode="General">
                  <c:v>3900</c:v>
                </c:pt>
                <c:pt idx="77" formatCode="General">
                  <c:v>1677</c:v>
                </c:pt>
                <c:pt idx="78" formatCode="General">
                  <c:v>297</c:v>
                </c:pt>
                <c:pt idx="79" formatCode="General">
                  <c:v>0</c:v>
                </c:pt>
                <c:pt idx="80" formatCode="General">
                  <c:v>0</c:v>
                </c:pt>
                <c:pt idx="81" formatCode="General">
                  <c:v>33868</c:v>
                </c:pt>
                <c:pt idx="82" formatCode="General">
                  <c:v>28590</c:v>
                </c:pt>
                <c:pt idx="83" formatCode="General">
                  <c:v>26827</c:v>
                </c:pt>
                <c:pt idx="84" formatCode="General">
                  <c:v>15746</c:v>
                </c:pt>
                <c:pt idx="85" formatCode="General">
                  <c:v>10871</c:v>
                </c:pt>
                <c:pt idx="86" formatCode="General">
                  <c:v>10018</c:v>
                </c:pt>
                <c:pt idx="87" formatCode="General">
                  <c:v>4962</c:v>
                </c:pt>
                <c:pt idx="88" formatCode="General">
                  <c:v>4865</c:v>
                </c:pt>
                <c:pt idx="89" formatCode="General">
                  <c:v>3900</c:v>
                </c:pt>
                <c:pt idx="90" formatCode="General">
                  <c:v>1677</c:v>
                </c:pt>
                <c:pt idx="91" formatCode="General">
                  <c:v>297</c:v>
                </c:pt>
                <c:pt idx="92" formatCode="General">
                  <c:v>0</c:v>
                </c:pt>
                <c:pt idx="93" formatCode="General">
                  <c:v>33868</c:v>
                </c:pt>
                <c:pt idx="94" formatCode="General">
                  <c:v>28590</c:v>
                </c:pt>
                <c:pt idx="95" formatCode="General">
                  <c:v>26827</c:v>
                </c:pt>
                <c:pt idx="96" formatCode="General">
                  <c:v>15746</c:v>
                </c:pt>
                <c:pt idx="97" formatCode="General">
                  <c:v>10871</c:v>
                </c:pt>
                <c:pt idx="98" formatCode="General">
                  <c:v>10018</c:v>
                </c:pt>
                <c:pt idx="99" formatCode="General">
                  <c:v>4962</c:v>
                </c:pt>
                <c:pt idx="100" formatCode="General">
                  <c:v>4865</c:v>
                </c:pt>
                <c:pt idx="101" formatCode="General">
                  <c:v>3900</c:v>
                </c:pt>
                <c:pt idx="102" formatCode="General">
                  <c:v>1677</c:v>
                </c:pt>
                <c:pt idx="103" formatCode="General">
                  <c:v>297</c:v>
                </c:pt>
                <c:pt idx="104" formatCode="General">
                  <c:v>0</c:v>
                </c:pt>
                <c:pt idx="105" formatCode="General">
                  <c:v>28590</c:v>
                </c:pt>
                <c:pt idx="106" formatCode="General">
                  <c:v>26827</c:v>
                </c:pt>
                <c:pt idx="107" formatCode="General">
                  <c:v>15746</c:v>
                </c:pt>
                <c:pt idx="108" formatCode="General">
                  <c:v>10871</c:v>
                </c:pt>
                <c:pt idx="109" formatCode="General">
                  <c:v>10018</c:v>
                </c:pt>
                <c:pt idx="110" formatCode="General">
                  <c:v>4962</c:v>
                </c:pt>
                <c:pt idx="111" formatCode="General">
                  <c:v>4865</c:v>
                </c:pt>
                <c:pt idx="112" formatCode="General">
                  <c:v>3900</c:v>
                </c:pt>
                <c:pt idx="113" formatCode="General">
                  <c:v>1677</c:v>
                </c:pt>
                <c:pt idx="114" formatCode="General">
                  <c:v>297</c:v>
                </c:pt>
                <c:pt idx="115" formatCode="General">
                  <c:v>0</c:v>
                </c:pt>
              </c:numCache>
            </c:numRef>
          </c:bubbleSize>
          <c:bubble3D val="0"/>
          <c:extLst>
            <c:ext xmlns:c15="http://schemas.microsoft.com/office/drawing/2012/chart" uri="{02D57815-91ED-43cb-92C2-25804820EDAC}">
              <c15:datalabelsRange>
                <c15:f>Sheet1!$E$2:$E$150</c15:f>
                <c15:dlblRangeCache>
                  <c:ptCount val="149"/>
                  <c:pt idx="0">
                    <c:v>Findus</c:v>
                  </c:pt>
                  <c:pt idx="1">
                    <c:v>Pescanova S.A.</c:v>
                  </c:pt>
                  <c:pt idx="2">
                    <c:v>Private Label</c:v>
                  </c:pt>
                  <c:pt idx="3">
                    <c:v>Frosta</c:v>
                  </c:pt>
                  <c:pt idx="4">
                    <c:v>Panapesca</c:v>
                  </c:pt>
                  <c:pt idx="5">
                    <c:v>Other</c:v>
                  </c:pt>
                  <c:pt idx="6">
                    <c:v>Esca Srl</c:v>
                  </c:pt>
                  <c:pt idx="7">
                    <c:v>Arbi Dario Spa</c:v>
                  </c:pt>
                  <c:pt idx="8">
                    <c:v>Krusta Group</c:v>
                  </c:pt>
                  <c:pt idx="9">
                    <c:v>Fandicosta</c:v>
                  </c:pt>
                  <c:pt idx="10">
                    <c:v>Green Ice</c:v>
                  </c:pt>
                  <c:pt idx="11">
                    <c:v>Alpe Srl - Roma</c:v>
                  </c:pt>
                  <c:pt idx="12">
                    <c:v>Conserviera Adriatica Spa</c:v>
                  </c:pt>
                  <c:pt idx="13">
                    <c:v>New Food</c:v>
                  </c:pt>
                  <c:pt idx="14">
                    <c:v>Agras 1947</c:v>
                  </c:pt>
                  <c:pt idx="15">
                    <c:v>Garbo Snc Di Comanducci Andrea</c:v>
                  </c:pt>
                  <c:pt idx="16">
                    <c:v>Vis Industrie Alimentari</c:v>
                  </c:pt>
                  <c:pt idx="17">
                    <c:v>Buitoni</c:v>
                  </c:pt>
                  <c:pt idx="18">
                    <c:v>Mittico</c:v>
                  </c:pt>
                  <c:pt idx="19">
                    <c:v>Findus</c:v>
                  </c:pt>
                  <c:pt idx="20">
                    <c:v>Frosta</c:v>
                  </c:pt>
                  <c:pt idx="21">
                    <c:v>Private Label</c:v>
                  </c:pt>
                  <c:pt idx="22">
                    <c:v>Krusta Group</c:v>
                  </c:pt>
                  <c:pt idx="23">
                    <c:v>Pescanova S.A.</c:v>
                  </c:pt>
                  <c:pt idx="24">
                    <c:v>Esca Srl</c:v>
                  </c:pt>
                  <c:pt idx="25">
                    <c:v>Arbi Dario Spa</c:v>
                  </c:pt>
                  <c:pt idx="26">
                    <c:v>Emme Gel</c:v>
                  </c:pt>
                  <c:pt idx="27">
                    <c:v>Green Ice</c:v>
                  </c:pt>
                  <c:pt idx="28">
                    <c:v>Other</c:v>
                  </c:pt>
                  <c:pt idx="29">
                    <c:v>Soavegel</c:v>
                  </c:pt>
                  <c:pt idx="30">
                    <c:v>Buitoni</c:v>
                  </c:pt>
                  <c:pt idx="31">
                    <c:v>Findus</c:v>
                  </c:pt>
                  <c:pt idx="32">
                    <c:v>Other</c:v>
                  </c:pt>
                  <c:pt idx="33">
                    <c:v>Findus</c:v>
                  </c:pt>
                  <c:pt idx="34">
                    <c:v>Private Label</c:v>
                  </c:pt>
                  <c:pt idx="35">
                    <c:v>Esca Srl</c:v>
                  </c:pt>
                  <c:pt idx="36">
                    <c:v>Agras 1947</c:v>
                  </c:pt>
                  <c:pt idx="37">
                    <c:v>Frosta</c:v>
                  </c:pt>
                  <c:pt idx="38">
                    <c:v>Other</c:v>
                  </c:pt>
                  <c:pt idx="39">
                    <c:v>New Food</c:v>
                  </c:pt>
                  <c:pt idx="40">
                    <c:v>Noriberica</c:v>
                  </c:pt>
                  <c:pt idx="41">
                    <c:v>Krusta Group</c:v>
                  </c:pt>
                  <c:pt idx="42">
                    <c:v>Nai Prodotti Ittici</c:v>
                  </c:pt>
                  <c:pt idx="43">
                    <c:v>Green Ice</c:v>
                  </c:pt>
                  <c:pt idx="44">
                    <c:v>Pescanova S.A.</c:v>
                  </c:pt>
                  <c:pt idx="45">
                    <c:v>Alpe Srl - Roma</c:v>
                  </c:pt>
                  <c:pt idx="46">
                    <c:v>Appetais Italia Spa</c:v>
                  </c:pt>
                  <c:pt idx="47">
                    <c:v>Royal Greenland</c:v>
                  </c:pt>
                  <c:pt idx="48">
                    <c:v>Panapesca</c:v>
                  </c:pt>
                  <c:pt idx="49">
                    <c:v>Conserviera Adriatica Spa</c:v>
                  </c:pt>
                  <c:pt idx="50">
                    <c:v>Gerfrio</c:v>
                  </c:pt>
                  <c:pt idx="51">
                    <c:v>Garbo Snc Di Comanducci Andrea</c:v>
                  </c:pt>
                  <c:pt idx="52">
                    <c:v>Vis Industrie Alimentari</c:v>
                  </c:pt>
                  <c:pt idx="53">
                    <c:v>Soavegel</c:v>
                  </c:pt>
                  <c:pt idx="54">
                    <c:v>Nettuno Alimentari Srl</c:v>
                  </c:pt>
                  <c:pt idx="55">
                    <c:v>Buitoni</c:v>
                  </c:pt>
                  <c:pt idx="56">
                    <c:v>Pescanova S.A.</c:v>
                  </c:pt>
                  <c:pt idx="57">
                    <c:v>Alpe Srl - Roma</c:v>
                  </c:pt>
                  <c:pt idx="58">
                    <c:v>Appetais Italia Spa</c:v>
                  </c:pt>
                  <c:pt idx="59">
                    <c:v>Royal Greenland</c:v>
                  </c:pt>
                  <c:pt idx="60">
                    <c:v>Panapesca</c:v>
                  </c:pt>
                  <c:pt idx="61">
                    <c:v>Conserviera Adriatica Spa</c:v>
                  </c:pt>
                  <c:pt idx="62">
                    <c:v>Gerfrio</c:v>
                  </c:pt>
                  <c:pt idx="63">
                    <c:v>Garbo Snc Di Comanducci Andrea</c:v>
                  </c:pt>
                  <c:pt idx="64">
                    <c:v>Vis Industrie Alimentari</c:v>
                  </c:pt>
                  <c:pt idx="65">
                    <c:v>Soavegel</c:v>
                  </c:pt>
                  <c:pt idx="66">
                    <c:v>Nettuno Alimentari Srl</c:v>
                  </c:pt>
                  <c:pt idx="67">
                    <c:v>Buitoni</c:v>
                  </c:pt>
                  <c:pt idx="68">
                    <c:v>Pescanova S.A.</c:v>
                  </c:pt>
                  <c:pt idx="69">
                    <c:v>Alpe Srl - Roma</c:v>
                  </c:pt>
                  <c:pt idx="70">
                    <c:v>Appetais Italia Spa</c:v>
                  </c:pt>
                  <c:pt idx="71">
                    <c:v>Royal Greenland</c:v>
                  </c:pt>
                  <c:pt idx="72">
                    <c:v>Panapesca</c:v>
                  </c:pt>
                  <c:pt idx="73">
                    <c:v>Conserviera Adriatica Spa</c:v>
                  </c:pt>
                  <c:pt idx="74">
                    <c:v>Gerfrio</c:v>
                  </c:pt>
                  <c:pt idx="75">
                    <c:v>Garbo Snc Di Comanducci Andrea</c:v>
                  </c:pt>
                  <c:pt idx="76">
                    <c:v>Vis Industrie Alimentari</c:v>
                  </c:pt>
                  <c:pt idx="77">
                    <c:v>Soavegel</c:v>
                  </c:pt>
                  <c:pt idx="78">
                    <c:v>Nettuno Alimentari Srl</c:v>
                  </c:pt>
                  <c:pt idx="79">
                    <c:v>Buitoni</c:v>
                  </c:pt>
                  <c:pt idx="80">
                    <c:v>Buitoni</c:v>
                  </c:pt>
                  <c:pt idx="81">
                    <c:v>Pescanova S.A.</c:v>
                  </c:pt>
                  <c:pt idx="82">
                    <c:v>Alpe Srl - Roma</c:v>
                  </c:pt>
                  <c:pt idx="83">
                    <c:v>Appetais Italia Spa</c:v>
                  </c:pt>
                  <c:pt idx="84">
                    <c:v>Royal Greenland</c:v>
                  </c:pt>
                  <c:pt idx="85">
                    <c:v>Panapesca</c:v>
                  </c:pt>
                  <c:pt idx="86">
                    <c:v>Conserviera Adriatica Spa</c:v>
                  </c:pt>
                  <c:pt idx="87">
                    <c:v>Gerfrio</c:v>
                  </c:pt>
                  <c:pt idx="88">
                    <c:v>Garbo Snc Di Comanducci Andrea</c:v>
                  </c:pt>
                  <c:pt idx="89">
                    <c:v>Vis Industrie Alimentari</c:v>
                  </c:pt>
                  <c:pt idx="90">
                    <c:v>Soavegel</c:v>
                  </c:pt>
                  <c:pt idx="91">
                    <c:v>Nettuno Alimentari Srl</c:v>
                  </c:pt>
                  <c:pt idx="92">
                    <c:v>Buitoni</c:v>
                  </c:pt>
                  <c:pt idx="93">
                    <c:v>Pescanova S.A.</c:v>
                  </c:pt>
                  <c:pt idx="94">
                    <c:v>Alpe Srl - Roma</c:v>
                  </c:pt>
                  <c:pt idx="95">
                    <c:v>Appetais Italia Spa</c:v>
                  </c:pt>
                  <c:pt idx="96">
                    <c:v>Royal Greenland</c:v>
                  </c:pt>
                  <c:pt idx="97">
                    <c:v>Panapesca</c:v>
                  </c:pt>
                  <c:pt idx="98">
                    <c:v>Conserviera Adriatica Spa</c:v>
                  </c:pt>
                  <c:pt idx="99">
                    <c:v>Gerfrio</c:v>
                  </c:pt>
                  <c:pt idx="100">
                    <c:v>Garbo Snc Di Comanducci Andrea</c:v>
                  </c:pt>
                  <c:pt idx="101">
                    <c:v>Vis Industrie Alimentari</c:v>
                  </c:pt>
                  <c:pt idx="102">
                    <c:v>Soavegel</c:v>
                  </c:pt>
                  <c:pt idx="103">
                    <c:v>Nettuno Alimentari Srl</c:v>
                  </c:pt>
                  <c:pt idx="104">
                    <c:v>Buitoni</c:v>
                  </c:pt>
                  <c:pt idx="105">
                    <c:v>Alpe Srl - Roma</c:v>
                  </c:pt>
                  <c:pt idx="106">
                    <c:v>Appetais Italia Spa</c:v>
                  </c:pt>
                  <c:pt idx="107">
                    <c:v>Royal Greenland</c:v>
                  </c:pt>
                  <c:pt idx="108">
                    <c:v>Panapesca</c:v>
                  </c:pt>
                  <c:pt idx="109">
                    <c:v>Conserviera Adriatica Spa</c:v>
                  </c:pt>
                  <c:pt idx="110">
                    <c:v>Gerfrio</c:v>
                  </c:pt>
                  <c:pt idx="111">
                    <c:v>Garbo Snc Di Comanducci Andrea</c:v>
                  </c:pt>
                  <c:pt idx="112">
                    <c:v>Vis Industrie Alimentari</c:v>
                  </c:pt>
                  <c:pt idx="113">
                    <c:v>Soavegel</c:v>
                  </c:pt>
                  <c:pt idx="114">
                    <c:v>Nettuno Alimentari Srl</c:v>
                  </c:pt>
                  <c:pt idx="115">
                    <c:v>Buitoni</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5"/>
          <c:min val="0.5"/>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chemeClr val="bg2"/>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chemeClr val="bg2"/>
              </a:solidFill>
              <a:ln>
                <a:noFill/>
              </a:ln>
              <a:effectLst/>
            </c:spPr>
            <c:extLst>
              <c:ext xmlns:c16="http://schemas.microsoft.com/office/drawing/2014/chart" uri="{C3380CC4-5D6E-409C-BE32-E72D297353CC}">
                <c16:uniqueId val="{00000005-26FB-4B52-8D72-D56D618E8EAF}"/>
              </c:ext>
            </c:extLst>
          </c:dPt>
          <c:dPt>
            <c:idx val="3"/>
            <c:invertIfNegative val="0"/>
            <c:bubble3D val="0"/>
            <c:extLst>
              <c:ext xmlns:c16="http://schemas.microsoft.com/office/drawing/2014/chart" uri="{C3380CC4-5D6E-409C-BE32-E72D297353CC}">
                <c16:uniqueId val="{00000007-26FB-4B52-8D72-D56D618E8EAF}"/>
              </c:ext>
            </c:extLst>
          </c:dPt>
          <c:dPt>
            <c:idx val="4"/>
            <c:invertIfNegative val="0"/>
            <c:bubble3D val="0"/>
            <c:extLst>
              <c:ext xmlns:c16="http://schemas.microsoft.com/office/drawing/2014/chart" uri="{C3380CC4-5D6E-409C-BE32-E72D297353CC}">
                <c16:uniqueId val="{00000009-26FB-4B52-8D72-D56D618E8EAF}"/>
              </c:ext>
            </c:extLst>
          </c:dPt>
          <c:dPt>
            <c:idx val="5"/>
            <c:invertIfNegative val="0"/>
            <c:bubble3D val="0"/>
            <c:extLst>
              <c:ext xmlns:c16="http://schemas.microsoft.com/office/drawing/2014/chart" uri="{C3380CC4-5D6E-409C-BE32-E72D297353CC}">
                <c16:uniqueId val="{0000000B-26FB-4B52-8D72-D56D618E8EAF}"/>
              </c:ext>
            </c:extLst>
          </c:dPt>
          <c:dPt>
            <c:idx val="6"/>
            <c:invertIfNegative val="0"/>
            <c:bubble3D val="0"/>
            <c:spPr>
              <a:solidFill>
                <a:schemeClr val="bg2"/>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DE640D48-06AE-4417-8DBE-6B14DA0F91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4777C97B-9F6D-4EDE-BA5E-BDD429610A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D3A0B814-8B6C-449B-9364-82D6D76929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862DEA00-3353-41D1-804D-43E6353F77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91087BA1-EF0C-43B0-84BF-5C5064CD9C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9615A0C4-7A93-49FA-B910-4283486FF8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901456B0-3151-4367-BA99-152741E145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DD8C5669-5E49-4DA3-A99A-D8E1913379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60CF62D3-61CD-4CF5-A7BD-D2B9167F61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05BAD28A-5C7F-4778-8929-34F94F713A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73ABFE35-815B-4C07-B08D-8D1FEA8682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294BC555-A415-4C6C-A3F0-ABED3988F9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26FB-4B52-8D72-D56D618E8EAF}"/>
                </c:ext>
              </c:extLst>
            </c:dLbl>
            <c:dLbl>
              <c:idx val="12"/>
              <c:tx>
                <c:rich>
                  <a:bodyPr/>
                  <a:lstStyle/>
                  <a:p>
                    <a:fld id="{E71DA058-4E9D-4F11-B942-6D6B175D48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B2D-4A32-96D2-9C641BCDE5CC}"/>
                </c:ext>
              </c:extLst>
            </c:dLbl>
            <c:dLbl>
              <c:idx val="13"/>
              <c:tx>
                <c:rich>
                  <a:bodyPr/>
                  <a:lstStyle/>
                  <a:p>
                    <a:fld id="{D4555865-8AB3-4C0B-BE45-B6761AFF86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26FB-4B52-8D72-D56D618E8EAF}"/>
                </c:ext>
              </c:extLst>
            </c:dLbl>
            <c:dLbl>
              <c:idx val="14"/>
              <c:tx>
                <c:rich>
                  <a:bodyPr/>
                  <a:lstStyle/>
                  <a:p>
                    <a:fld id="{8AFDEA36-89D9-46F2-8E5F-F1B9151E26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26FB-4B52-8D72-D56D618E8EAF}"/>
                </c:ext>
              </c:extLst>
            </c:dLbl>
            <c:dLbl>
              <c:idx val="15"/>
              <c:tx>
                <c:rich>
                  <a:bodyPr/>
                  <a:lstStyle/>
                  <a:p>
                    <a:fld id="{69F3902A-B95F-4FCF-B02A-A507E1123C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26FB-4B52-8D72-D56D618E8EAF}"/>
                </c:ext>
              </c:extLst>
            </c:dLbl>
            <c:dLbl>
              <c:idx val="16"/>
              <c:tx>
                <c:rich>
                  <a:bodyPr/>
                  <a:lstStyle/>
                  <a:p>
                    <a:fld id="{41DCE3DA-61BF-4183-AE13-5EE5A61D8F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A6E-4C83-9A06-9C3309B2855E}"/>
                </c:ext>
              </c:extLst>
            </c:dLbl>
            <c:dLbl>
              <c:idx val="17"/>
              <c:tx>
                <c:rich>
                  <a:bodyPr/>
                  <a:lstStyle/>
                  <a:p>
                    <a:fld id="{03F8D811-7B07-4F44-9A9F-8167A0317A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0A6E-4C83-9A06-9C3309B2855E}"/>
                </c:ext>
              </c:extLst>
            </c:dLbl>
            <c:dLbl>
              <c:idx val="18"/>
              <c:tx>
                <c:rich>
                  <a:bodyPr/>
                  <a:lstStyle/>
                  <a:p>
                    <a:fld id="{F83949D9-D4DB-4BDF-83CC-A8DDF25F5B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A6E-4C83-9A06-9C3309B2855E}"/>
                </c:ext>
              </c:extLst>
            </c:dLbl>
            <c:dLbl>
              <c:idx val="19"/>
              <c:tx>
                <c:rich>
                  <a:bodyPr/>
                  <a:lstStyle/>
                  <a:p>
                    <a:fld id="{DDC806FD-2D1A-4F95-AD84-779A67065C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A6E-4C83-9A06-9C3309B2855E}"/>
                </c:ext>
              </c:extLst>
            </c:dLbl>
            <c:dLbl>
              <c:idx val="20"/>
              <c:tx>
                <c:rich>
                  <a:bodyPr/>
                  <a:lstStyle/>
                  <a:p>
                    <a:fld id="{14A0B6AA-B3A1-4F68-A7E4-6556369A4C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C5AD-4BCF-9CB2-60EDA2D7DB42}"/>
                </c:ext>
              </c:extLst>
            </c:dLbl>
            <c:dLbl>
              <c:idx val="21"/>
              <c:tx>
                <c:rich>
                  <a:bodyPr/>
                  <a:lstStyle/>
                  <a:p>
                    <a:fld id="{FB5C3883-1424-480F-80D3-84F3E069B6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5AD-4BCF-9CB2-60EDA2D7DB42}"/>
                </c:ext>
              </c:extLst>
            </c:dLbl>
            <c:dLbl>
              <c:idx val="22"/>
              <c:tx>
                <c:rich>
                  <a:bodyPr/>
                  <a:lstStyle/>
                  <a:p>
                    <a:fld id="{6356AC04-2644-4675-99C1-FDA5B6ADDD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5AD-4BCF-9CB2-60EDA2D7DB42}"/>
                </c:ext>
              </c:extLst>
            </c:dLbl>
            <c:dLbl>
              <c:idx val="23"/>
              <c:tx>
                <c:rich>
                  <a:bodyPr/>
                  <a:lstStyle/>
                  <a:p>
                    <a:fld id="{C1A8EAC5-99E4-4A63-B966-6B5B460C13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5AD-4BCF-9CB2-60EDA2D7DB42}"/>
                </c:ext>
              </c:extLst>
            </c:dLbl>
            <c:dLbl>
              <c:idx val="24"/>
              <c:tx>
                <c:rich>
                  <a:bodyPr/>
                  <a:lstStyle/>
                  <a:p>
                    <a:fld id="{99564C0B-ED5C-42B3-8AA8-DEC8B0D4DB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A6E-4C83-9A06-9C3309B2855E}"/>
                </c:ext>
              </c:extLst>
            </c:dLbl>
            <c:dLbl>
              <c:idx val="25"/>
              <c:tx>
                <c:rich>
                  <a:bodyPr/>
                  <a:lstStyle/>
                  <a:p>
                    <a:fld id="{D1E0B016-9A2A-4F60-AC50-CD2BB2E2EB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D12-44DE-B956-CABCB15EBC04}"/>
                </c:ext>
              </c:extLst>
            </c:dLbl>
            <c:dLbl>
              <c:idx val="26"/>
              <c:tx>
                <c:rich>
                  <a:bodyPr/>
                  <a:lstStyle/>
                  <a:p>
                    <a:fld id="{11408CED-DEC2-4765-87D8-0C865BBDA4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D12-44DE-B956-CABCB15EBC04}"/>
                </c:ext>
              </c:extLst>
            </c:dLbl>
            <c:dLbl>
              <c:idx val="27"/>
              <c:tx>
                <c:rich>
                  <a:bodyPr/>
                  <a:lstStyle/>
                  <a:p>
                    <a:fld id="{A8D34FC4-2423-4597-9EDE-2298440710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D12-44DE-B956-CABCB15EBC04}"/>
                </c:ext>
              </c:extLst>
            </c:dLbl>
            <c:dLbl>
              <c:idx val="28"/>
              <c:tx>
                <c:rich>
                  <a:bodyPr/>
                  <a:lstStyle/>
                  <a:p>
                    <a:fld id="{06B6B6DB-73A0-49F9-B0A6-45E45821B6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D12-44DE-B956-CABCB15EBC04}"/>
                </c:ext>
              </c:extLst>
            </c:dLbl>
            <c:dLbl>
              <c:idx val="29"/>
              <c:tx>
                <c:rich>
                  <a:bodyPr/>
                  <a:lstStyle/>
                  <a:p>
                    <a:fld id="{D2BB9CC6-D8C6-4DE2-BA73-CDF7DDB180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47-486F-B734-6012CEA493B3}"/>
                </c:ext>
              </c:extLst>
            </c:dLbl>
            <c:dLbl>
              <c:idx val="30"/>
              <c:tx>
                <c:rich>
                  <a:bodyPr/>
                  <a:lstStyle/>
                  <a:p>
                    <a:fld id="{6C978031-E51E-4417-A961-124BF4DFA3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D12-44DE-B956-CABCB15EBC04}"/>
                </c:ext>
              </c:extLst>
            </c:dLbl>
            <c:dLbl>
              <c:idx val="31"/>
              <c:tx>
                <c:rich>
                  <a:bodyPr/>
                  <a:lstStyle/>
                  <a:p>
                    <a:fld id="{E499A0D0-5B97-4F67-A24B-B0F201D8B8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D12-44DE-B956-CABCB15EBC04}"/>
                </c:ext>
              </c:extLst>
            </c:dLbl>
            <c:dLbl>
              <c:idx val="32"/>
              <c:tx>
                <c:rich>
                  <a:bodyPr/>
                  <a:lstStyle/>
                  <a:p>
                    <a:fld id="{A97A7897-2B0B-433B-84C9-887C108851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D12-44DE-B956-CABCB15EBC04}"/>
                </c:ext>
              </c:extLst>
            </c:dLbl>
            <c:dLbl>
              <c:idx val="33"/>
              <c:tx>
                <c:rich>
                  <a:bodyPr/>
                  <a:lstStyle/>
                  <a:p>
                    <a:fld id="{8EEE3E65-85CF-47F1-B0C9-4FEAEFE33A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D12-44DE-B956-CABCB15EBC04}"/>
                </c:ext>
              </c:extLst>
            </c:dLbl>
            <c:dLbl>
              <c:idx val="34"/>
              <c:tx>
                <c:rich>
                  <a:bodyPr/>
                  <a:lstStyle/>
                  <a:p>
                    <a:fld id="{9BD9124E-1023-4D43-848C-8F20B5BF26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D12-44DE-B956-CABCB15EBC04}"/>
                </c:ext>
              </c:extLst>
            </c:dLbl>
            <c:dLbl>
              <c:idx val="35"/>
              <c:tx>
                <c:rich>
                  <a:bodyPr/>
                  <a:lstStyle/>
                  <a:p>
                    <a:fld id="{5103E884-05CF-4474-9EAF-45B2314FF3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D12-44DE-B956-CABCB15EBC04}"/>
                </c:ext>
              </c:extLst>
            </c:dLbl>
            <c:dLbl>
              <c:idx val="36"/>
              <c:tx>
                <c:rich>
                  <a:bodyPr/>
                  <a:lstStyle/>
                  <a:p>
                    <a:fld id="{7218A43A-234C-4345-9F6C-97340F6D0C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D12-44DE-B956-CABCB15EBC04}"/>
                </c:ext>
              </c:extLst>
            </c:dLbl>
            <c:dLbl>
              <c:idx val="37"/>
              <c:tx>
                <c:rich>
                  <a:bodyPr/>
                  <a:lstStyle/>
                  <a:p>
                    <a:fld id="{45228A9F-501F-4ADF-84CC-94033E841D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D12-44DE-B956-CABCB15EBC04}"/>
                </c:ext>
              </c:extLst>
            </c:dLbl>
            <c:dLbl>
              <c:idx val="38"/>
              <c:tx>
                <c:rich>
                  <a:bodyPr/>
                  <a:lstStyle/>
                  <a:p>
                    <a:fld id="{218B7C42-6195-415E-A62D-2C44F7BC6A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D12-44DE-B956-CABCB15EBC04}"/>
                </c:ext>
              </c:extLst>
            </c:dLbl>
            <c:dLbl>
              <c:idx val="39"/>
              <c:tx>
                <c:rich>
                  <a:bodyPr/>
                  <a:lstStyle/>
                  <a:p>
                    <a:fld id="{08D9C650-8AFF-43B9-B0E7-70175F0404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D12-44DE-B956-CABCB15EBC04}"/>
                </c:ext>
              </c:extLst>
            </c:dLbl>
            <c:dLbl>
              <c:idx val="40"/>
              <c:tx>
                <c:rich>
                  <a:bodyPr/>
                  <a:lstStyle/>
                  <a:p>
                    <a:fld id="{E9F819DC-F8C0-441F-B348-CE84792B4C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D12-44DE-B956-CABCB15EBC04}"/>
                </c:ext>
              </c:extLst>
            </c:dLbl>
            <c:dLbl>
              <c:idx val="41"/>
              <c:tx>
                <c:rich>
                  <a:bodyPr/>
                  <a:lstStyle/>
                  <a:p>
                    <a:fld id="{CB4995A6-7F46-429E-99EC-92F2573024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D12-44DE-B956-CABCB15EBC04}"/>
                </c:ext>
              </c:extLst>
            </c:dLbl>
            <c:dLbl>
              <c:idx val="42"/>
              <c:tx>
                <c:rich>
                  <a:bodyPr/>
                  <a:lstStyle/>
                  <a:p>
                    <a:fld id="{0434E4B7-B3D6-4C5F-9393-EF15BB34FD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D12-44DE-B956-CABCB15EBC04}"/>
                </c:ext>
              </c:extLst>
            </c:dLbl>
            <c:dLbl>
              <c:idx val="43"/>
              <c:tx>
                <c:rich>
                  <a:bodyPr/>
                  <a:lstStyle/>
                  <a:p>
                    <a:fld id="{8886A791-BE2D-4398-8334-265D6B22D2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D12-44DE-B956-CABCB15EBC04}"/>
                </c:ext>
              </c:extLst>
            </c:dLbl>
            <c:dLbl>
              <c:idx val="44"/>
              <c:tx>
                <c:rich>
                  <a:bodyPr/>
                  <a:lstStyle/>
                  <a:p>
                    <a:fld id="{2589A857-77D0-40B0-BF4B-80C2C1BA3A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D12-44DE-B956-CABCB15EBC04}"/>
                </c:ext>
              </c:extLst>
            </c:dLbl>
            <c:dLbl>
              <c:idx val="45"/>
              <c:tx>
                <c:rich>
                  <a:bodyPr/>
                  <a:lstStyle/>
                  <a:p>
                    <a:fld id="{70D4A76A-C8B1-4485-A806-87535D6953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D12-44DE-B956-CABCB15EBC04}"/>
                </c:ext>
              </c:extLst>
            </c:dLbl>
            <c:dLbl>
              <c:idx val="46"/>
              <c:tx>
                <c:rich>
                  <a:bodyPr/>
                  <a:lstStyle/>
                  <a:p>
                    <a:fld id="{1A07DAF8-A3F2-4E9D-A052-5504DC4B6B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D12-44DE-B956-CABCB15EBC04}"/>
                </c:ext>
              </c:extLst>
            </c:dLbl>
            <c:dLbl>
              <c:idx val="47"/>
              <c:tx>
                <c:rich>
                  <a:bodyPr/>
                  <a:lstStyle/>
                  <a:p>
                    <a:fld id="{39F773BB-0BD7-4063-AC71-30AC131702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D12-44DE-B956-CABCB15EBC04}"/>
                </c:ext>
              </c:extLst>
            </c:dLbl>
            <c:dLbl>
              <c:idx val="48"/>
              <c:tx>
                <c:rich>
                  <a:bodyPr/>
                  <a:lstStyle/>
                  <a:p>
                    <a:fld id="{61283B77-BEE0-44D7-BF5C-A1483E6577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D12-44DE-B956-CABCB15EBC04}"/>
                </c:ext>
              </c:extLst>
            </c:dLbl>
            <c:dLbl>
              <c:idx val="49"/>
              <c:tx>
                <c:rich>
                  <a:bodyPr/>
                  <a:lstStyle/>
                  <a:p>
                    <a:fld id="{3C4B5F7F-B2CF-4C38-926C-19DBE5D5CA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D12-44DE-B956-CABCB15EBC04}"/>
                </c:ext>
              </c:extLst>
            </c:dLbl>
            <c:dLbl>
              <c:idx val="50"/>
              <c:tx>
                <c:rich>
                  <a:bodyPr/>
                  <a:lstStyle/>
                  <a:p>
                    <a:fld id="{428ADD6F-27F4-4E49-A627-CD47610492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D12-44DE-B956-CABCB15EBC04}"/>
                </c:ext>
              </c:extLst>
            </c:dLbl>
            <c:dLbl>
              <c:idx val="51"/>
              <c:tx>
                <c:rich>
                  <a:bodyPr/>
                  <a:lstStyle/>
                  <a:p>
                    <a:fld id="{543DD476-1846-48FF-B37B-DDB1B46BB3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D12-44DE-B956-CABCB15EBC04}"/>
                </c:ext>
              </c:extLst>
            </c:dLbl>
            <c:dLbl>
              <c:idx val="52"/>
              <c:tx>
                <c:rich>
                  <a:bodyPr/>
                  <a:lstStyle/>
                  <a:p>
                    <a:fld id="{A85B9CF4-E909-4E80-ABD7-4266D01C6C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D12-44DE-B956-CABCB15EBC04}"/>
                </c:ext>
              </c:extLst>
            </c:dLbl>
            <c:dLbl>
              <c:idx val="53"/>
              <c:tx>
                <c:rich>
                  <a:bodyPr/>
                  <a:lstStyle/>
                  <a:p>
                    <a:fld id="{FD11568D-FA31-452B-9222-64E4EF776B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D12-44DE-B956-CABCB15EBC04}"/>
                </c:ext>
              </c:extLst>
            </c:dLbl>
            <c:dLbl>
              <c:idx val="54"/>
              <c:tx>
                <c:rich>
                  <a:bodyPr/>
                  <a:lstStyle/>
                  <a:p>
                    <a:fld id="{E7AF9C64-63C4-4015-995D-4FA6130E49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D12-44DE-B956-CABCB15EBC04}"/>
                </c:ext>
              </c:extLst>
            </c:dLbl>
            <c:dLbl>
              <c:idx val="55"/>
              <c:tx>
                <c:rich>
                  <a:bodyPr/>
                  <a:lstStyle/>
                  <a:p>
                    <a:fld id="{59FA338C-33B1-4FF4-8C7A-93C489D116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D12-44DE-B956-CABCB15EBC04}"/>
                </c:ext>
              </c:extLst>
            </c:dLbl>
            <c:dLbl>
              <c:idx val="56"/>
              <c:tx>
                <c:rich>
                  <a:bodyPr/>
                  <a:lstStyle/>
                  <a:p>
                    <a:fld id="{3975D7AD-F84B-4F34-A60D-1D269CF44A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8E3F-4D1B-A313-C02BEC0FDBD1}"/>
                </c:ext>
              </c:extLst>
            </c:dLbl>
            <c:dLbl>
              <c:idx val="57"/>
              <c:tx>
                <c:rich>
                  <a:bodyPr/>
                  <a:lstStyle/>
                  <a:p>
                    <a:fld id="{A8C0B3A5-60D4-45F8-BA6A-268AD5BAD6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8E3F-4D1B-A313-C02BEC0FDBD1}"/>
                </c:ext>
              </c:extLst>
            </c:dLbl>
            <c:dLbl>
              <c:idx val="58"/>
              <c:tx>
                <c:rich>
                  <a:bodyPr/>
                  <a:lstStyle/>
                  <a:p>
                    <a:fld id="{54BAC85F-5E64-48B9-90B1-A12EE8E867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8E3F-4D1B-A313-C02BEC0FDBD1}"/>
                </c:ext>
              </c:extLst>
            </c:dLbl>
            <c:dLbl>
              <c:idx val="59"/>
              <c:tx>
                <c:rich>
                  <a:bodyPr/>
                  <a:lstStyle/>
                  <a:p>
                    <a:fld id="{004234CF-5E50-47F2-8C00-4B033F676C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8E3F-4D1B-A313-C02BEC0FDBD1}"/>
                </c:ext>
              </c:extLst>
            </c:dLbl>
            <c:dLbl>
              <c:idx val="60"/>
              <c:tx>
                <c:rich>
                  <a:bodyPr/>
                  <a:lstStyle/>
                  <a:p>
                    <a:fld id="{2092275A-31BF-4800-A854-70D7CFFD6A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8E3F-4D1B-A313-C02BEC0FDBD1}"/>
                </c:ext>
              </c:extLst>
            </c:dLbl>
            <c:dLbl>
              <c:idx val="61"/>
              <c:tx>
                <c:rich>
                  <a:bodyPr/>
                  <a:lstStyle/>
                  <a:p>
                    <a:fld id="{34BD2346-AFE4-4BDB-A6BE-6F294688FB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8E3F-4D1B-A313-C02BEC0FDBD1}"/>
                </c:ext>
              </c:extLst>
            </c:dLbl>
            <c:dLbl>
              <c:idx val="62"/>
              <c:tx>
                <c:rich>
                  <a:bodyPr/>
                  <a:lstStyle/>
                  <a:p>
                    <a:fld id="{047BF50A-D061-4C62-B528-13678F5EB9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8E3F-4D1B-A313-C02BEC0FDBD1}"/>
                </c:ext>
              </c:extLst>
            </c:dLbl>
            <c:dLbl>
              <c:idx val="63"/>
              <c:tx>
                <c:rich>
                  <a:bodyPr/>
                  <a:lstStyle/>
                  <a:p>
                    <a:fld id="{ED5787E7-16B3-48FF-B2D4-8414B29E87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8E3F-4D1B-A313-C02BEC0FDBD1}"/>
                </c:ext>
              </c:extLst>
            </c:dLbl>
            <c:dLbl>
              <c:idx val="64"/>
              <c:tx>
                <c:rich>
                  <a:bodyPr/>
                  <a:lstStyle/>
                  <a:p>
                    <a:fld id="{6925113A-3FFA-47A7-8D2C-A23AF76BD9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8E3F-4D1B-A313-C02BEC0FDBD1}"/>
                </c:ext>
              </c:extLst>
            </c:dLbl>
            <c:dLbl>
              <c:idx val="65"/>
              <c:tx>
                <c:rich>
                  <a:bodyPr/>
                  <a:lstStyle/>
                  <a:p>
                    <a:fld id="{D5222BF9-1D1D-4007-B994-C11D0A395D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8E3F-4D1B-A313-C02BEC0FDBD1}"/>
                </c:ext>
              </c:extLst>
            </c:dLbl>
            <c:dLbl>
              <c:idx val="66"/>
              <c:tx>
                <c:rich>
                  <a:bodyPr/>
                  <a:lstStyle/>
                  <a:p>
                    <a:fld id="{0D5A3E2C-46F3-43A5-A40A-45F3BF05A8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8E3F-4D1B-A313-C02BEC0FDBD1}"/>
                </c:ext>
              </c:extLst>
            </c:dLbl>
            <c:dLbl>
              <c:idx val="67"/>
              <c:tx>
                <c:rich>
                  <a:bodyPr/>
                  <a:lstStyle/>
                  <a:p>
                    <a:fld id="{04F47FB1-8ED0-4C65-9122-4A037F97A8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8E3F-4D1B-A313-C02BEC0FDBD1}"/>
                </c:ext>
              </c:extLst>
            </c:dLbl>
            <c:dLbl>
              <c:idx val="68"/>
              <c:tx>
                <c:rich>
                  <a:bodyPr/>
                  <a:lstStyle/>
                  <a:p>
                    <a:fld id="{DB01F017-7852-4211-BCAA-ADA94292F7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8E3F-4D1B-A313-C02BEC0FDBD1}"/>
                </c:ext>
              </c:extLst>
            </c:dLbl>
            <c:dLbl>
              <c:idx val="69"/>
              <c:tx>
                <c:rich>
                  <a:bodyPr/>
                  <a:lstStyle/>
                  <a:p>
                    <a:fld id="{A4AAE07F-AF00-421F-950B-A8365FDBED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8E3F-4D1B-A313-C02BEC0FDBD1}"/>
                </c:ext>
              </c:extLst>
            </c:dLbl>
            <c:dLbl>
              <c:idx val="70"/>
              <c:tx>
                <c:rich>
                  <a:bodyPr/>
                  <a:lstStyle/>
                  <a:p>
                    <a:fld id="{F809249C-1BF7-4EA5-A887-A4ED26B1DC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8E3F-4D1B-A313-C02BEC0FDBD1}"/>
                </c:ext>
              </c:extLst>
            </c:dLbl>
            <c:dLbl>
              <c:idx val="71"/>
              <c:tx>
                <c:rich>
                  <a:bodyPr/>
                  <a:lstStyle/>
                  <a:p>
                    <a:fld id="{D20F7C6E-1113-4840-9D4D-1B2709C4EA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8E3F-4D1B-A313-C02BEC0FDBD1}"/>
                </c:ext>
              </c:extLst>
            </c:dLbl>
            <c:dLbl>
              <c:idx val="72"/>
              <c:tx>
                <c:rich>
                  <a:bodyPr/>
                  <a:lstStyle/>
                  <a:p>
                    <a:fld id="{5770F9D8-22E1-4276-814C-387D185450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8E3F-4D1B-A313-C02BEC0FDBD1}"/>
                </c:ext>
              </c:extLst>
            </c:dLbl>
            <c:dLbl>
              <c:idx val="73"/>
              <c:tx>
                <c:rich>
                  <a:bodyPr/>
                  <a:lstStyle/>
                  <a:p>
                    <a:fld id="{C9015FC5-3635-4DD9-BE61-FFDDA68589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8E3F-4D1B-A313-C02BEC0FDBD1}"/>
                </c:ext>
              </c:extLst>
            </c:dLbl>
            <c:dLbl>
              <c:idx val="74"/>
              <c:tx>
                <c:rich>
                  <a:bodyPr/>
                  <a:lstStyle/>
                  <a:p>
                    <a:fld id="{8FA29F6F-8B62-4510-9CED-233EB58F9F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8E3F-4D1B-A313-C02BEC0FDBD1}"/>
                </c:ext>
              </c:extLst>
            </c:dLbl>
            <c:dLbl>
              <c:idx val="75"/>
              <c:tx>
                <c:rich>
                  <a:bodyPr/>
                  <a:lstStyle/>
                  <a:p>
                    <a:fld id="{87D45061-7A95-4F34-80C3-0A67392251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8E3F-4D1B-A313-C02BEC0FDBD1}"/>
                </c:ext>
              </c:extLst>
            </c:dLbl>
            <c:dLbl>
              <c:idx val="76"/>
              <c:tx>
                <c:rich>
                  <a:bodyPr/>
                  <a:lstStyle/>
                  <a:p>
                    <a:fld id="{8BF4834E-9DD7-4678-BFEB-FFA6157A35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8E3F-4D1B-A313-C02BEC0FDBD1}"/>
                </c:ext>
              </c:extLst>
            </c:dLbl>
            <c:dLbl>
              <c:idx val="77"/>
              <c:tx>
                <c:rich>
                  <a:bodyPr/>
                  <a:lstStyle/>
                  <a:p>
                    <a:fld id="{92BA1B66-26C6-455F-B384-C2C8FAC96B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8E3F-4D1B-A313-C02BEC0FDBD1}"/>
                </c:ext>
              </c:extLst>
            </c:dLbl>
            <c:dLbl>
              <c:idx val="78"/>
              <c:tx>
                <c:rich>
                  <a:bodyPr/>
                  <a:lstStyle/>
                  <a:p>
                    <a:fld id="{1C7A71CF-C743-4FA8-965B-6CDAB8A361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8E3F-4D1B-A313-C02BEC0FDBD1}"/>
                </c:ext>
              </c:extLst>
            </c:dLbl>
            <c:dLbl>
              <c:idx val="79"/>
              <c:tx>
                <c:rich>
                  <a:bodyPr/>
                  <a:lstStyle/>
                  <a:p>
                    <a:fld id="{804E9B19-4C62-4205-B674-DBC24E9CF6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8E3F-4D1B-A313-C02BEC0FDBD1}"/>
                </c:ext>
              </c:extLst>
            </c:dLbl>
            <c:dLbl>
              <c:idx val="80"/>
              <c:tx>
                <c:rich>
                  <a:bodyPr/>
                  <a:lstStyle/>
                  <a:p>
                    <a:fld id="{620A5375-93F3-44F0-8317-115F022002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8E3F-4D1B-A313-C02BEC0FDBD1}"/>
                </c:ext>
              </c:extLst>
            </c:dLbl>
            <c:dLbl>
              <c:idx val="81"/>
              <c:tx>
                <c:rich>
                  <a:bodyPr/>
                  <a:lstStyle/>
                  <a:p>
                    <a:fld id="{C17C64ED-B29F-4206-A733-8CFE315E76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9-8E3F-4D1B-A313-C02BEC0FDBD1}"/>
                </c:ext>
              </c:extLst>
            </c:dLbl>
            <c:dLbl>
              <c:idx val="82"/>
              <c:tx>
                <c:rich>
                  <a:bodyPr/>
                  <a:lstStyle/>
                  <a:p>
                    <a:fld id="{3FBBC347-9513-441E-BDCC-61EC578B3C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A-8E3F-4D1B-A313-C02BEC0FDBD1}"/>
                </c:ext>
              </c:extLst>
            </c:dLbl>
            <c:dLbl>
              <c:idx val="83"/>
              <c:tx>
                <c:rich>
                  <a:bodyPr/>
                  <a:lstStyle/>
                  <a:p>
                    <a:fld id="{F6EC15B5-2421-474F-A9A1-DB007D22FF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B-8E3F-4D1B-A313-C02BEC0FDBD1}"/>
                </c:ext>
              </c:extLst>
            </c:dLbl>
            <c:dLbl>
              <c:idx val="84"/>
              <c:tx>
                <c:rich>
                  <a:bodyPr/>
                  <a:lstStyle/>
                  <a:p>
                    <a:fld id="{AEB113F9-F083-43A4-A15E-FA1B6D50D1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C-8E3F-4D1B-A313-C02BEC0FDBD1}"/>
                </c:ext>
              </c:extLst>
            </c:dLbl>
            <c:dLbl>
              <c:idx val="85"/>
              <c:tx>
                <c:rich>
                  <a:bodyPr/>
                  <a:lstStyle/>
                  <a:p>
                    <a:fld id="{3B6C4F2E-0B2F-4FE4-BB2E-DBABE3D5B4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D-8E3F-4D1B-A313-C02BEC0FDBD1}"/>
                </c:ext>
              </c:extLst>
            </c:dLbl>
            <c:dLbl>
              <c:idx val="86"/>
              <c:tx>
                <c:rich>
                  <a:bodyPr/>
                  <a:lstStyle/>
                  <a:p>
                    <a:fld id="{85468E4E-88E3-436E-9C41-A6C0B1B933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E-8E3F-4D1B-A313-C02BEC0FDBD1}"/>
                </c:ext>
              </c:extLst>
            </c:dLbl>
            <c:dLbl>
              <c:idx val="87"/>
              <c:tx>
                <c:rich>
                  <a:bodyPr/>
                  <a:lstStyle/>
                  <a:p>
                    <a:fld id="{98E0982C-1240-4964-8C98-D1BD491733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F-8E3F-4D1B-A313-C02BEC0FDBD1}"/>
                </c:ext>
              </c:extLst>
            </c:dLbl>
            <c:dLbl>
              <c:idx val="88"/>
              <c:tx>
                <c:rich>
                  <a:bodyPr/>
                  <a:lstStyle/>
                  <a:p>
                    <a:fld id="{521C4362-07FA-4F1A-A5BD-F8BA4074AB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0-8E3F-4D1B-A313-C02BEC0FDBD1}"/>
                </c:ext>
              </c:extLst>
            </c:dLbl>
            <c:dLbl>
              <c:idx val="89"/>
              <c:tx>
                <c:rich>
                  <a:bodyPr/>
                  <a:lstStyle/>
                  <a:p>
                    <a:fld id="{5C0637B7-A137-4A8B-A4F5-7480999074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1-8E3F-4D1B-A313-C02BEC0FDBD1}"/>
                </c:ext>
              </c:extLst>
            </c:dLbl>
            <c:dLbl>
              <c:idx val="90"/>
              <c:tx>
                <c:rich>
                  <a:bodyPr/>
                  <a:lstStyle/>
                  <a:p>
                    <a:fld id="{1DDA7453-7394-4A2F-B0F4-5382208005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2-8E3F-4D1B-A313-C02BEC0FDBD1}"/>
                </c:ext>
              </c:extLst>
            </c:dLbl>
            <c:dLbl>
              <c:idx val="91"/>
              <c:tx>
                <c:rich>
                  <a:bodyPr/>
                  <a:lstStyle/>
                  <a:p>
                    <a:fld id="{EBAF2260-E1C4-4CBC-A8C0-B15C165CD3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3-8E3F-4D1B-A313-C02BEC0FDBD1}"/>
                </c:ext>
              </c:extLst>
            </c:dLbl>
            <c:dLbl>
              <c:idx val="92"/>
              <c:tx>
                <c:rich>
                  <a:bodyPr/>
                  <a:lstStyle/>
                  <a:p>
                    <a:fld id="{546D00D8-E1D7-4308-B400-C7DA628826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4-8E3F-4D1B-A313-C02BEC0FDBD1}"/>
                </c:ext>
              </c:extLst>
            </c:dLbl>
            <c:dLbl>
              <c:idx val="93"/>
              <c:tx>
                <c:rich>
                  <a:bodyPr/>
                  <a:lstStyle/>
                  <a:p>
                    <a:fld id="{F190FF94-723A-4E51-BA4D-12AA821550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5-8E3F-4D1B-A313-C02BEC0FDBD1}"/>
                </c:ext>
              </c:extLst>
            </c:dLbl>
            <c:dLbl>
              <c:idx val="94"/>
              <c:tx>
                <c:rich>
                  <a:bodyPr/>
                  <a:lstStyle/>
                  <a:p>
                    <a:fld id="{B87467F2-040B-4829-9133-84DF181D33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6-8E3F-4D1B-A313-C02BEC0FDBD1}"/>
                </c:ext>
              </c:extLst>
            </c:dLbl>
            <c:dLbl>
              <c:idx val="95"/>
              <c:tx>
                <c:rich>
                  <a:bodyPr/>
                  <a:lstStyle/>
                  <a:p>
                    <a:fld id="{13A52E81-103F-49F9-9193-68776A6320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7-8E3F-4D1B-A313-C02BEC0FDBD1}"/>
                </c:ext>
              </c:extLst>
            </c:dLbl>
            <c:dLbl>
              <c:idx val="96"/>
              <c:tx>
                <c:rich>
                  <a:bodyPr/>
                  <a:lstStyle/>
                  <a:p>
                    <a:fld id="{C3D6ECF4-1BDE-477D-930F-90AB122BED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8-8E3F-4D1B-A313-C02BEC0FDBD1}"/>
                </c:ext>
              </c:extLst>
            </c:dLbl>
            <c:dLbl>
              <c:idx val="97"/>
              <c:tx>
                <c:rich>
                  <a:bodyPr/>
                  <a:lstStyle/>
                  <a:p>
                    <a:fld id="{2B60680B-485E-47D7-B00F-C97AB413FC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9-8E3F-4D1B-A313-C02BEC0FDBD1}"/>
                </c:ext>
              </c:extLst>
            </c:dLbl>
            <c:dLbl>
              <c:idx val="98"/>
              <c:tx>
                <c:rich>
                  <a:bodyPr/>
                  <a:lstStyle/>
                  <a:p>
                    <a:fld id="{E77DB23D-DFC5-4C16-AA56-C590206F53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A-8E3F-4D1B-A313-C02BEC0FDBD1}"/>
                </c:ext>
              </c:extLst>
            </c:dLbl>
            <c:dLbl>
              <c:idx val="99"/>
              <c:tx>
                <c:rich>
                  <a:bodyPr/>
                  <a:lstStyle/>
                  <a:p>
                    <a:fld id="{A8262980-F71B-479C-B0AF-EBBD4086BE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B-8E3F-4D1B-A313-C02BEC0FDBD1}"/>
                </c:ext>
              </c:extLst>
            </c:dLbl>
            <c:dLbl>
              <c:idx val="100"/>
              <c:tx>
                <c:rich>
                  <a:bodyPr/>
                  <a:lstStyle/>
                  <a:p>
                    <a:fld id="{8D54E8A8-6882-47F6-BD96-69F5B16A47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C-8E3F-4D1B-A313-C02BEC0FDBD1}"/>
                </c:ext>
              </c:extLst>
            </c:dLbl>
            <c:dLbl>
              <c:idx val="101"/>
              <c:tx>
                <c:rich>
                  <a:bodyPr/>
                  <a:lstStyle/>
                  <a:p>
                    <a:fld id="{55699BB6-CEB0-4742-BE8A-5F059732F5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D-8E3F-4D1B-A313-C02BEC0FDBD1}"/>
                </c:ext>
              </c:extLst>
            </c:dLbl>
            <c:dLbl>
              <c:idx val="102"/>
              <c:tx>
                <c:rich>
                  <a:bodyPr/>
                  <a:lstStyle/>
                  <a:p>
                    <a:fld id="{E26575E6-D27B-4F8C-9111-76CFB52C99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E-8E3F-4D1B-A313-C02BEC0FDBD1}"/>
                </c:ext>
              </c:extLst>
            </c:dLbl>
            <c:dLbl>
              <c:idx val="103"/>
              <c:tx>
                <c:rich>
                  <a:bodyPr/>
                  <a:lstStyle/>
                  <a:p>
                    <a:fld id="{4102E84F-DE96-4345-941B-D77510484D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F-8E3F-4D1B-A313-C02BEC0FDBD1}"/>
                </c:ext>
              </c:extLst>
            </c:dLbl>
            <c:dLbl>
              <c:idx val="104"/>
              <c:tx>
                <c:rich>
                  <a:bodyPr/>
                  <a:lstStyle/>
                  <a:p>
                    <a:fld id="{612824E9-B752-4669-BD22-6F22569C48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0-8E3F-4D1B-A313-C02BEC0FDBD1}"/>
                </c:ext>
              </c:extLst>
            </c:dLbl>
            <c:dLbl>
              <c:idx val="105"/>
              <c:tx>
                <c:rich>
                  <a:bodyPr/>
                  <a:lstStyle/>
                  <a:p>
                    <a:fld id="{A20E67B3-099A-4007-9342-311D90C643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1-8E3F-4D1B-A313-C02BEC0FDBD1}"/>
                </c:ext>
              </c:extLst>
            </c:dLbl>
            <c:dLbl>
              <c:idx val="106"/>
              <c:tx>
                <c:rich>
                  <a:bodyPr/>
                  <a:lstStyle/>
                  <a:p>
                    <a:fld id="{351E17F4-FBEC-4089-AB95-10B61209CC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2-8E3F-4D1B-A313-C02BEC0FDBD1}"/>
                </c:ext>
              </c:extLst>
            </c:dLbl>
            <c:dLbl>
              <c:idx val="107"/>
              <c:tx>
                <c:rich>
                  <a:bodyPr/>
                  <a:lstStyle/>
                  <a:p>
                    <a:fld id="{FFEC8938-D073-4250-8D3C-249E0FF198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3-8E3F-4D1B-A313-C02BEC0FDBD1}"/>
                </c:ext>
              </c:extLst>
            </c:dLbl>
            <c:dLbl>
              <c:idx val="108"/>
              <c:tx>
                <c:rich>
                  <a:bodyPr/>
                  <a:lstStyle/>
                  <a:p>
                    <a:fld id="{1DF3B3F3-B26B-426D-9602-E402E3DF64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4-8E3F-4D1B-A313-C02BEC0FDBD1}"/>
                </c:ext>
              </c:extLst>
            </c:dLbl>
            <c:dLbl>
              <c:idx val="109"/>
              <c:tx>
                <c:rich>
                  <a:bodyPr/>
                  <a:lstStyle/>
                  <a:p>
                    <a:fld id="{E802EFF8-6678-4A58-85CE-DEE6389F51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5-8E3F-4D1B-A313-C02BEC0FDBD1}"/>
                </c:ext>
              </c:extLst>
            </c:dLbl>
            <c:dLbl>
              <c:idx val="110"/>
              <c:tx>
                <c:rich>
                  <a:bodyPr/>
                  <a:lstStyle/>
                  <a:p>
                    <a:fld id="{90240DD4-5F5C-49E8-A7EB-DEC103C06D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6-8E3F-4D1B-A313-C02BEC0FDBD1}"/>
                </c:ext>
              </c:extLst>
            </c:dLbl>
            <c:dLbl>
              <c:idx val="111"/>
              <c:tx>
                <c:rich>
                  <a:bodyPr/>
                  <a:lstStyle/>
                  <a:p>
                    <a:fld id="{2FA17831-4DCA-4A6A-B264-FFF021E176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7-8E3F-4D1B-A313-C02BEC0FDBD1}"/>
                </c:ext>
              </c:extLst>
            </c:dLbl>
            <c:dLbl>
              <c:idx val="112"/>
              <c:tx>
                <c:rich>
                  <a:bodyPr/>
                  <a:lstStyle/>
                  <a:p>
                    <a:fld id="{FA5F34E0-5630-486F-8485-C97B540747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8-8E3F-4D1B-A313-C02BEC0FDBD1}"/>
                </c:ext>
              </c:extLst>
            </c:dLbl>
            <c:dLbl>
              <c:idx val="113"/>
              <c:tx>
                <c:rich>
                  <a:bodyPr/>
                  <a:lstStyle/>
                  <a:p>
                    <a:fld id="{7F7EEB82-51A9-447F-AD9B-E79DC3ADFE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9-8E3F-4D1B-A313-C02BEC0FDBD1}"/>
                </c:ext>
              </c:extLst>
            </c:dLbl>
            <c:dLbl>
              <c:idx val="114"/>
              <c:tx>
                <c:rich>
                  <a:bodyPr/>
                  <a:lstStyle/>
                  <a:p>
                    <a:fld id="{5671A131-3423-4C0C-A566-64CBDA792E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A-8E3F-4D1B-A313-C02BEC0FDBD1}"/>
                </c:ext>
              </c:extLst>
            </c:dLbl>
            <c:dLbl>
              <c:idx val="115"/>
              <c:tx>
                <c:rich>
                  <a:bodyPr/>
                  <a:lstStyle/>
                  <a:p>
                    <a:fld id="{1D067A6C-95C9-4868-AD0E-8BEF695196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D$2:$D$117</c:f>
              <c:numCache>
                <c:formatCode>General</c:formatCode>
                <c:ptCount val="116"/>
                <c:pt idx="0">
                  <c:v>1</c:v>
                </c:pt>
                <c:pt idx="1">
                  <c:v>1</c:v>
                </c:pt>
                <c:pt idx="2">
                  <c:v>1</c:v>
                </c:pt>
                <c:pt idx="3">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15" formatCode="0">
                  <c:v>1</c:v>
                </c:pt>
                <c:pt idx="16" formatCode="0">
                  <c:v>1</c:v>
                </c:pt>
                <c:pt idx="17" formatCode="0">
                  <c:v>2</c:v>
                </c:pt>
                <c:pt idx="18" formatCode="0">
                  <c:v>1</c:v>
                </c:pt>
                <c:pt idx="19" formatCode="0">
                  <c:v>2</c:v>
                </c:pt>
                <c:pt idx="20" formatCode="0">
                  <c:v>2</c:v>
                </c:pt>
                <c:pt idx="21" formatCode="0">
                  <c:v>2</c:v>
                </c:pt>
                <c:pt idx="22" formatCode="0">
                  <c:v>2</c:v>
                </c:pt>
                <c:pt idx="23" formatCode="0">
                  <c:v>2</c:v>
                </c:pt>
                <c:pt idx="24" formatCode="0">
                  <c:v>2</c:v>
                </c:pt>
                <c:pt idx="25" formatCode="0">
                  <c:v>2</c:v>
                </c:pt>
                <c:pt idx="26" formatCode="0">
                  <c:v>2</c:v>
                </c:pt>
                <c:pt idx="27">
                  <c:v>2</c:v>
                </c:pt>
                <c:pt idx="28">
                  <c:v>2</c:v>
                </c:pt>
                <c:pt idx="29">
                  <c:v>2</c:v>
                </c:pt>
                <c:pt idx="30">
                  <c:v>2</c:v>
                </c:pt>
                <c:pt idx="31">
                  <c:v>3</c:v>
                </c:pt>
                <c:pt idx="32">
                  <c:v>3</c:v>
                </c:pt>
                <c:pt idx="33">
                  <c:v>3</c:v>
                </c:pt>
                <c:pt idx="34">
                  <c:v>3</c:v>
                </c:pt>
                <c:pt idx="35">
                  <c:v>3</c:v>
                </c:pt>
                <c:pt idx="36">
                  <c:v>3</c:v>
                </c:pt>
                <c:pt idx="37">
                  <c:v>3</c:v>
                </c:pt>
                <c:pt idx="38">
                  <c:v>3</c:v>
                </c:pt>
                <c:pt idx="39">
                  <c:v>3</c:v>
                </c:pt>
                <c:pt idx="40">
                  <c:v>3</c:v>
                </c:pt>
                <c:pt idx="41">
                  <c:v>3</c:v>
                </c:pt>
                <c:pt idx="42">
                  <c:v>3</c:v>
                </c:pt>
                <c:pt idx="43">
                  <c:v>3</c:v>
                </c:pt>
                <c:pt idx="44">
                  <c:v>4</c:v>
                </c:pt>
                <c:pt idx="45">
                  <c:v>4</c:v>
                </c:pt>
                <c:pt idx="46">
                  <c:v>4</c:v>
                </c:pt>
                <c:pt idx="47">
                  <c:v>4</c:v>
                </c:pt>
                <c:pt idx="48">
                  <c:v>4</c:v>
                </c:pt>
                <c:pt idx="49">
                  <c:v>4</c:v>
                </c:pt>
                <c:pt idx="50">
                  <c:v>4</c:v>
                </c:pt>
                <c:pt idx="51">
                  <c:v>4</c:v>
                </c:pt>
                <c:pt idx="52">
                  <c:v>4</c:v>
                </c:pt>
                <c:pt idx="53">
                  <c:v>4</c:v>
                </c:pt>
                <c:pt idx="54">
                  <c:v>4</c:v>
                </c:pt>
                <c:pt idx="55">
                  <c:v>4</c:v>
                </c:pt>
                <c:pt idx="56">
                  <c:v>4</c:v>
                </c:pt>
                <c:pt idx="57">
                  <c:v>4</c:v>
                </c:pt>
                <c:pt idx="58">
                  <c:v>4</c:v>
                </c:pt>
                <c:pt idx="59">
                  <c:v>4</c:v>
                </c:pt>
                <c:pt idx="60">
                  <c:v>4</c:v>
                </c:pt>
                <c:pt idx="61">
                  <c:v>4</c:v>
                </c:pt>
                <c:pt idx="62">
                  <c:v>4</c:v>
                </c:pt>
                <c:pt idx="63">
                  <c:v>4</c:v>
                </c:pt>
                <c:pt idx="64">
                  <c:v>4</c:v>
                </c:pt>
                <c:pt idx="65">
                  <c:v>4</c:v>
                </c:pt>
                <c:pt idx="66">
                  <c:v>4</c:v>
                </c:pt>
                <c:pt idx="67">
                  <c:v>4</c:v>
                </c:pt>
                <c:pt idx="68">
                  <c:v>5</c:v>
                </c:pt>
                <c:pt idx="69">
                  <c:v>5</c:v>
                </c:pt>
                <c:pt idx="70">
                  <c:v>5</c:v>
                </c:pt>
                <c:pt idx="71">
                  <c:v>5</c:v>
                </c:pt>
                <c:pt idx="72">
                  <c:v>5</c:v>
                </c:pt>
                <c:pt idx="73">
                  <c:v>5</c:v>
                </c:pt>
                <c:pt idx="74">
                  <c:v>5</c:v>
                </c:pt>
                <c:pt idx="75">
                  <c:v>5</c:v>
                </c:pt>
                <c:pt idx="76">
                  <c:v>5</c:v>
                </c:pt>
                <c:pt idx="77">
                  <c:v>5</c:v>
                </c:pt>
                <c:pt idx="78">
                  <c:v>5</c:v>
                </c:pt>
                <c:pt idx="79">
                  <c:v>5</c:v>
                </c:pt>
                <c:pt idx="80">
                  <c:v>6</c:v>
                </c:pt>
                <c:pt idx="81">
                  <c:v>6</c:v>
                </c:pt>
                <c:pt idx="82">
                  <c:v>6</c:v>
                </c:pt>
                <c:pt idx="83">
                  <c:v>6</c:v>
                </c:pt>
                <c:pt idx="84">
                  <c:v>6</c:v>
                </c:pt>
                <c:pt idx="85">
                  <c:v>6</c:v>
                </c:pt>
                <c:pt idx="86">
                  <c:v>6</c:v>
                </c:pt>
                <c:pt idx="87">
                  <c:v>6</c:v>
                </c:pt>
                <c:pt idx="88">
                  <c:v>6</c:v>
                </c:pt>
                <c:pt idx="89">
                  <c:v>6</c:v>
                </c:pt>
                <c:pt idx="90">
                  <c:v>6</c:v>
                </c:pt>
                <c:pt idx="91">
                  <c:v>6</c:v>
                </c:pt>
                <c:pt idx="92">
                  <c:v>6</c:v>
                </c:pt>
                <c:pt idx="93">
                  <c:v>7</c:v>
                </c:pt>
                <c:pt idx="94">
                  <c:v>7</c:v>
                </c:pt>
                <c:pt idx="95">
                  <c:v>7</c:v>
                </c:pt>
                <c:pt idx="96">
                  <c:v>7</c:v>
                </c:pt>
                <c:pt idx="97">
                  <c:v>7</c:v>
                </c:pt>
                <c:pt idx="98">
                  <c:v>7</c:v>
                </c:pt>
                <c:pt idx="99">
                  <c:v>7</c:v>
                </c:pt>
                <c:pt idx="100">
                  <c:v>7</c:v>
                </c:pt>
                <c:pt idx="101">
                  <c:v>7</c:v>
                </c:pt>
                <c:pt idx="102">
                  <c:v>7</c:v>
                </c:pt>
                <c:pt idx="103">
                  <c:v>7</c:v>
                </c:pt>
                <c:pt idx="104">
                  <c:v>7</c:v>
                </c:pt>
                <c:pt idx="105">
                  <c:v>8</c:v>
                </c:pt>
                <c:pt idx="106">
                  <c:v>8</c:v>
                </c:pt>
                <c:pt idx="107">
                  <c:v>8</c:v>
                </c:pt>
                <c:pt idx="108">
                  <c:v>8</c:v>
                </c:pt>
                <c:pt idx="109">
                  <c:v>8</c:v>
                </c:pt>
                <c:pt idx="110">
                  <c:v>8</c:v>
                </c:pt>
                <c:pt idx="111">
                  <c:v>8</c:v>
                </c:pt>
                <c:pt idx="112">
                  <c:v>8</c:v>
                </c:pt>
                <c:pt idx="113">
                  <c:v>8</c:v>
                </c:pt>
                <c:pt idx="114">
                  <c:v>8</c:v>
                </c:pt>
                <c:pt idx="115">
                  <c:v>8</c:v>
                </c:pt>
              </c:numCache>
            </c:numRef>
          </c:xVal>
          <c:yVal>
            <c:numRef>
              <c:f>Sheet1!$B$2:$B$117</c:f>
              <c:numCache>
                <c:formatCode>0%;\-0%;0%</c:formatCode>
                <c:ptCount val="116"/>
                <c:pt idx="0">
                  <c:v>0.33537119853666614</c:v>
                </c:pt>
                <c:pt idx="1">
                  <c:v>1.3110575620733895</c:v>
                </c:pt>
                <c:pt idx="2">
                  <c:v>0.12281129115912857</c:v>
                </c:pt>
                <c:pt idx="3">
                  <c:v>0.52740423038450002</c:v>
                </c:pt>
                <c:pt idx="4">
                  <c:v>0.23394614817291179</c:v>
                </c:pt>
                <c:pt idx="5">
                  <c:v>0.40424723346828612</c:v>
                </c:pt>
                <c:pt idx="6">
                  <c:v>1.0381094546405629</c:v>
                </c:pt>
                <c:pt idx="7">
                  <c:v>0.39464140468177511</c:v>
                </c:pt>
                <c:pt idx="8">
                  <c:v>1.0804710500490677</c:v>
                </c:pt>
                <c:pt idx="9">
                  <c:v>0.29756844074137051</c:v>
                </c:pt>
                <c:pt idx="10">
                  <c:v>0.34245897269923464</c:v>
                </c:pt>
                <c:pt idx="11">
                  <c:v>0.64309733708988459</c:v>
                </c:pt>
                <c:pt idx="12">
                  <c:v>7.6182838813151563E-3</c:v>
                </c:pt>
                <c:pt idx="13">
                  <c:v>7.2727272727272724E-2</c:v>
                </c:pt>
                <c:pt idx="14">
                  <c:v>9.4564818215203822E-2</c:v>
                </c:pt>
                <c:pt idx="15">
                  <c:v>0.97732228521587439</c:v>
                </c:pt>
                <c:pt idx="16">
                  <c:v>0.12916246215943492</c:v>
                </c:pt>
                <c:pt idx="17">
                  <c:v>0</c:v>
                </c:pt>
                <c:pt idx="18">
                  <c:v>0</c:v>
                </c:pt>
                <c:pt idx="19">
                  <c:v>0.67651164854893464</c:v>
                </c:pt>
                <c:pt idx="20">
                  <c:v>1.189595592135231</c:v>
                </c:pt>
                <c:pt idx="21">
                  <c:v>0.17901899226560691</c:v>
                </c:pt>
                <c:pt idx="22">
                  <c:v>1.1122736936699982</c:v>
                </c:pt>
                <c:pt idx="23">
                  <c:v>0.85910295216250121</c:v>
                </c:pt>
                <c:pt idx="24">
                  <c:v>0.98060814099444116</c:v>
                </c:pt>
                <c:pt idx="25">
                  <c:v>0.54450632951838152</c:v>
                </c:pt>
                <c:pt idx="26">
                  <c:v>0.56422668334309645</c:v>
                </c:pt>
                <c:pt idx="27">
                  <c:v>0.30859076520030565</c:v>
                </c:pt>
                <c:pt idx="28">
                  <c:v>-5.088408644400786E-2</c:v>
                </c:pt>
                <c:pt idx="29">
                  <c:v>0.48655046266408436</c:v>
                </c:pt>
                <c:pt idx="30">
                  <c:v>5.8252427184466021E-2</c:v>
                </c:pt>
                <c:pt idx="31">
                  <c:v>0.57528207397007924</c:v>
                </c:pt>
                <c:pt idx="32">
                  <c:v>0</c:v>
                </c:pt>
                <c:pt idx="33">
                  <c:v>0.34969330141134647</c:v>
                </c:pt>
                <c:pt idx="34">
                  <c:v>9.3618913842698215E-2</c:v>
                </c:pt>
                <c:pt idx="35">
                  <c:v>0.39086369781125707</c:v>
                </c:pt>
                <c:pt idx="36">
                  <c:v>0.53102946813067886</c:v>
                </c:pt>
                <c:pt idx="37">
                  <c:v>0.30671829359418518</c:v>
                </c:pt>
                <c:pt idx="38">
                  <c:v>4.7373658397896083E-2</c:v>
                </c:pt>
                <c:pt idx="39">
                  <c:v>9.8011706773204491E-2</c:v>
                </c:pt>
                <c:pt idx="40">
                  <c:v>5.9622372365136428E-2</c:v>
                </c:pt>
                <c:pt idx="41">
                  <c:v>0.3325076129317282</c:v>
                </c:pt>
                <c:pt idx="42">
                  <c:v>1.6811941832822908E-2</c:v>
                </c:pt>
                <c:pt idx="43">
                  <c:v>0.13383247543284979</c:v>
                </c:pt>
                <c:pt idx="44">
                  <c:v>0.18520227334689512</c:v>
                </c:pt>
                <c:pt idx="45">
                  <c:v>0.15534287581423784</c:v>
                </c:pt>
                <c:pt idx="46">
                  <c:v>0.27216813979063992</c:v>
                </c:pt>
                <c:pt idx="47">
                  <c:v>0.14428544647878522</c:v>
                </c:pt>
                <c:pt idx="48">
                  <c:v>8.9574245868403263E-2</c:v>
                </c:pt>
                <c:pt idx="49">
                  <c:v>0.29961779961779961</c:v>
                </c:pt>
                <c:pt idx="50">
                  <c:v>0.32942695401728078</c:v>
                </c:pt>
                <c:pt idx="51">
                  <c:v>0.79519295870006768</c:v>
                </c:pt>
                <c:pt idx="52">
                  <c:v>5.1974626560261916E-2</c:v>
                </c:pt>
                <c:pt idx="53">
                  <c:v>-2.5057825751734774E-2</c:v>
                </c:pt>
                <c:pt idx="54">
                  <c:v>-0.28899835796387519</c:v>
                </c:pt>
                <c:pt idx="55">
                  <c:v>0</c:v>
                </c:pt>
                <c:pt idx="56" formatCode="0.00%">
                  <c:v>0.18520227334689512</c:v>
                </c:pt>
                <c:pt idx="57" formatCode="0.00%">
                  <c:v>0.15534287581423784</c:v>
                </c:pt>
                <c:pt idx="58" formatCode="0.00%">
                  <c:v>0.27216813979063992</c:v>
                </c:pt>
                <c:pt idx="59" formatCode="0.00%">
                  <c:v>0.14428544647878522</c:v>
                </c:pt>
                <c:pt idx="60" formatCode="0.00%">
                  <c:v>8.9574245868403263E-2</c:v>
                </c:pt>
                <c:pt idx="61" formatCode="0.00%">
                  <c:v>0.29961779961779961</c:v>
                </c:pt>
                <c:pt idx="62" formatCode="0.00%">
                  <c:v>0.32942695401728078</c:v>
                </c:pt>
                <c:pt idx="63" formatCode="0.00%">
                  <c:v>0.79519295870006768</c:v>
                </c:pt>
                <c:pt idx="64" formatCode="0.00%">
                  <c:v>5.1974626560261916E-2</c:v>
                </c:pt>
                <c:pt idx="65" formatCode="0.00%">
                  <c:v>-2.5057825751734774E-2</c:v>
                </c:pt>
                <c:pt idx="66" formatCode="0.00%">
                  <c:v>-0.28899835796387519</c:v>
                </c:pt>
                <c:pt idx="67" formatCode="0.00%">
                  <c:v>0</c:v>
                </c:pt>
                <c:pt idx="68" formatCode="General">
                  <c:v>0.18520227334689512</c:v>
                </c:pt>
                <c:pt idx="69" formatCode="General">
                  <c:v>0.15534287581423784</c:v>
                </c:pt>
                <c:pt idx="70" formatCode="General">
                  <c:v>0.27216813979063992</c:v>
                </c:pt>
                <c:pt idx="71" formatCode="General">
                  <c:v>0.14428544647878522</c:v>
                </c:pt>
                <c:pt idx="72" formatCode="General">
                  <c:v>8.9574245868403263E-2</c:v>
                </c:pt>
                <c:pt idx="73" formatCode="General">
                  <c:v>0.29961779961779961</c:v>
                </c:pt>
                <c:pt idx="74" formatCode="General">
                  <c:v>0.32942695401728078</c:v>
                </c:pt>
                <c:pt idx="75" formatCode="General">
                  <c:v>0.79519295870006768</c:v>
                </c:pt>
                <c:pt idx="76" formatCode="General">
                  <c:v>5.1974626560261916E-2</c:v>
                </c:pt>
                <c:pt idx="77" formatCode="General">
                  <c:v>-2.5057825751734774E-2</c:v>
                </c:pt>
                <c:pt idx="78" formatCode="General">
                  <c:v>-0.28899835796387519</c:v>
                </c:pt>
                <c:pt idx="79" formatCode="General">
                  <c:v>0</c:v>
                </c:pt>
                <c:pt idx="80" formatCode="General">
                  <c:v>0</c:v>
                </c:pt>
                <c:pt idx="81" formatCode="General">
                  <c:v>0.18520227334689512</c:v>
                </c:pt>
                <c:pt idx="82" formatCode="General">
                  <c:v>0.15534287581423784</c:v>
                </c:pt>
                <c:pt idx="83" formatCode="General">
                  <c:v>0.27216813979063992</c:v>
                </c:pt>
                <c:pt idx="84" formatCode="General">
                  <c:v>0.14428544647878522</c:v>
                </c:pt>
                <c:pt idx="85" formatCode="General">
                  <c:v>8.9574245868403263E-2</c:v>
                </c:pt>
                <c:pt idx="86" formatCode="General">
                  <c:v>0.29961779961779961</c:v>
                </c:pt>
                <c:pt idx="87" formatCode="General">
                  <c:v>0.32942695401728078</c:v>
                </c:pt>
                <c:pt idx="88" formatCode="General">
                  <c:v>0.79519295870006768</c:v>
                </c:pt>
                <c:pt idx="89" formatCode="General">
                  <c:v>5.1974626560261916E-2</c:v>
                </c:pt>
                <c:pt idx="90" formatCode="General">
                  <c:v>-2.5057825751734774E-2</c:v>
                </c:pt>
                <c:pt idx="91" formatCode="General">
                  <c:v>-0.28899835796387519</c:v>
                </c:pt>
                <c:pt idx="92" formatCode="General">
                  <c:v>0</c:v>
                </c:pt>
                <c:pt idx="93" formatCode="General">
                  <c:v>0.18520227334689512</c:v>
                </c:pt>
                <c:pt idx="94" formatCode="General">
                  <c:v>0.15534287581423784</c:v>
                </c:pt>
                <c:pt idx="95" formatCode="General">
                  <c:v>0.27216813979063992</c:v>
                </c:pt>
                <c:pt idx="96" formatCode="General">
                  <c:v>0.14428544647878522</c:v>
                </c:pt>
                <c:pt idx="97" formatCode="General">
                  <c:v>8.9574245868403263E-2</c:v>
                </c:pt>
                <c:pt idx="98" formatCode="General">
                  <c:v>0.29961779961779961</c:v>
                </c:pt>
                <c:pt idx="99" formatCode="General">
                  <c:v>0.32942695401728078</c:v>
                </c:pt>
                <c:pt idx="100" formatCode="General">
                  <c:v>0.79519295870006768</c:v>
                </c:pt>
                <c:pt idx="101" formatCode="General">
                  <c:v>5.1974626560261916E-2</c:v>
                </c:pt>
                <c:pt idx="102" formatCode="General">
                  <c:v>-2.5057825751734774E-2</c:v>
                </c:pt>
                <c:pt idx="103" formatCode="General">
                  <c:v>-0.28899835796387519</c:v>
                </c:pt>
                <c:pt idx="104" formatCode="General">
                  <c:v>0</c:v>
                </c:pt>
                <c:pt idx="105" formatCode="General">
                  <c:v>0.15534287581423784</c:v>
                </c:pt>
                <c:pt idx="106" formatCode="General">
                  <c:v>0.27216813979063992</c:v>
                </c:pt>
                <c:pt idx="107" formatCode="General">
                  <c:v>0.14428544647878522</c:v>
                </c:pt>
                <c:pt idx="108" formatCode="General">
                  <c:v>8.9574245868403263E-2</c:v>
                </c:pt>
                <c:pt idx="109" formatCode="General">
                  <c:v>0.29961779961779961</c:v>
                </c:pt>
                <c:pt idx="110" formatCode="General">
                  <c:v>0.32942695401728078</c:v>
                </c:pt>
                <c:pt idx="111" formatCode="General">
                  <c:v>0.79519295870006768</c:v>
                </c:pt>
                <c:pt idx="112" formatCode="General">
                  <c:v>5.1974626560261916E-2</c:v>
                </c:pt>
                <c:pt idx="113" formatCode="General">
                  <c:v>-2.5057825751734774E-2</c:v>
                </c:pt>
                <c:pt idx="114" formatCode="General">
                  <c:v>-0.28899835796387519</c:v>
                </c:pt>
                <c:pt idx="115" formatCode="General">
                  <c:v>0</c:v>
                </c:pt>
              </c:numCache>
            </c:numRef>
          </c:yVal>
          <c:bubbleSize>
            <c:numRef>
              <c:f>Sheet1!$C$2:$C$117</c:f>
              <c:numCache>
                <c:formatCode>0%;\-0%;0%</c:formatCode>
                <c:ptCount val="116"/>
                <c:pt idx="0">
                  <c:v>4111084</c:v>
                </c:pt>
                <c:pt idx="1">
                  <c:v>1160533</c:v>
                </c:pt>
                <c:pt idx="2">
                  <c:v>1117212</c:v>
                </c:pt>
                <c:pt idx="3">
                  <c:v>504428</c:v>
                </c:pt>
                <c:pt idx="4">
                  <c:v>459435</c:v>
                </c:pt>
                <c:pt idx="5">
                  <c:v>386077</c:v>
                </c:pt>
                <c:pt idx="6">
                  <c:v>277647</c:v>
                </c:pt>
                <c:pt idx="7">
                  <c:v>222216</c:v>
                </c:pt>
                <c:pt idx="8">
                  <c:v>108739</c:v>
                </c:pt>
                <c:pt idx="9">
                  <c:v>100141</c:v>
                </c:pt>
                <c:pt idx="10">
                  <c:v>18851</c:v>
                </c:pt>
                <c:pt idx="11">
                  <c:v>13981</c:v>
                </c:pt>
                <c:pt idx="12">
                  <c:v>10864</c:v>
                </c:pt>
                <c:pt idx="13">
                  <c:v>7717</c:v>
                </c:pt>
                <c:pt idx="14">
                  <c:v>7439</c:v>
                </c:pt>
                <c:pt idx="15">
                  <c:v>4428</c:v>
                </c:pt>
                <c:pt idx="16">
                  <c:v>1120</c:v>
                </c:pt>
                <c:pt idx="17">
                  <c:v>21</c:v>
                </c:pt>
                <c:pt idx="18">
                  <c:v>0</c:v>
                </c:pt>
                <c:pt idx="19">
                  <c:v>12037304</c:v>
                </c:pt>
                <c:pt idx="20">
                  <c:v>5124041</c:v>
                </c:pt>
                <c:pt idx="21">
                  <c:v>4271666</c:v>
                </c:pt>
                <c:pt idx="22">
                  <c:v>1061364</c:v>
                </c:pt>
                <c:pt idx="23">
                  <c:v>786468</c:v>
                </c:pt>
                <c:pt idx="24">
                  <c:v>606283</c:v>
                </c:pt>
                <c:pt idx="25">
                  <c:v>479058</c:v>
                </c:pt>
                <c:pt idx="26">
                  <c:v>306437</c:v>
                </c:pt>
                <c:pt idx="27">
                  <c:v>83930</c:v>
                </c:pt>
                <c:pt idx="28">
                  <c:v>32553</c:v>
                </c:pt>
                <c:pt idx="29">
                  <c:v>24613</c:v>
                </c:pt>
                <c:pt idx="30">
                  <c:v>42</c:v>
                </c:pt>
                <c:pt idx="31">
                  <c:v>16067456</c:v>
                </c:pt>
                <c:pt idx="32">
                  <c:v>0</c:v>
                </c:pt>
                <c:pt idx="33">
                  <c:v>2257543</c:v>
                </c:pt>
                <c:pt idx="34">
                  <c:v>350113</c:v>
                </c:pt>
                <c:pt idx="35">
                  <c:v>238922</c:v>
                </c:pt>
                <c:pt idx="36">
                  <c:v>178620</c:v>
                </c:pt>
                <c:pt idx="37">
                  <c:v>98148</c:v>
                </c:pt>
                <c:pt idx="38">
                  <c:v>76752</c:v>
                </c:pt>
                <c:pt idx="39">
                  <c:v>59927</c:v>
                </c:pt>
                <c:pt idx="40">
                  <c:v>59154</c:v>
                </c:pt>
                <c:pt idx="41">
                  <c:v>58860</c:v>
                </c:pt>
                <c:pt idx="42">
                  <c:v>53214</c:v>
                </c:pt>
                <c:pt idx="43">
                  <c:v>45806</c:v>
                </c:pt>
                <c:pt idx="44">
                  <c:v>33868</c:v>
                </c:pt>
                <c:pt idx="45">
                  <c:v>28590</c:v>
                </c:pt>
                <c:pt idx="46">
                  <c:v>26827</c:v>
                </c:pt>
                <c:pt idx="47">
                  <c:v>15746</c:v>
                </c:pt>
                <c:pt idx="48">
                  <c:v>10871</c:v>
                </c:pt>
                <c:pt idx="49">
                  <c:v>10018</c:v>
                </c:pt>
                <c:pt idx="50">
                  <c:v>4962</c:v>
                </c:pt>
                <c:pt idx="51">
                  <c:v>4865</c:v>
                </c:pt>
                <c:pt idx="52">
                  <c:v>3900</c:v>
                </c:pt>
                <c:pt idx="53">
                  <c:v>1677</c:v>
                </c:pt>
                <c:pt idx="54">
                  <c:v>297</c:v>
                </c:pt>
                <c:pt idx="55">
                  <c:v>0</c:v>
                </c:pt>
                <c:pt idx="56" formatCode="General">
                  <c:v>33868</c:v>
                </c:pt>
                <c:pt idx="57" formatCode="General">
                  <c:v>28590</c:v>
                </c:pt>
                <c:pt idx="58" formatCode="General">
                  <c:v>26827</c:v>
                </c:pt>
                <c:pt idx="59" formatCode="General">
                  <c:v>15746</c:v>
                </c:pt>
                <c:pt idx="60" formatCode="General">
                  <c:v>10871</c:v>
                </c:pt>
                <c:pt idx="61" formatCode="General">
                  <c:v>10018</c:v>
                </c:pt>
                <c:pt idx="62" formatCode="General">
                  <c:v>4962</c:v>
                </c:pt>
                <c:pt idx="63" formatCode="General">
                  <c:v>4865</c:v>
                </c:pt>
                <c:pt idx="64" formatCode="General">
                  <c:v>3900</c:v>
                </c:pt>
                <c:pt idx="65" formatCode="General">
                  <c:v>1677</c:v>
                </c:pt>
                <c:pt idx="66" formatCode="General">
                  <c:v>297</c:v>
                </c:pt>
                <c:pt idx="67" formatCode="General">
                  <c:v>0</c:v>
                </c:pt>
                <c:pt idx="68" formatCode="General">
                  <c:v>33868</c:v>
                </c:pt>
                <c:pt idx="69" formatCode="General">
                  <c:v>28590</c:v>
                </c:pt>
                <c:pt idx="70" formatCode="General">
                  <c:v>26827</c:v>
                </c:pt>
                <c:pt idx="71" formatCode="General">
                  <c:v>15746</c:v>
                </c:pt>
                <c:pt idx="72" formatCode="General">
                  <c:v>10871</c:v>
                </c:pt>
                <c:pt idx="73" formatCode="General">
                  <c:v>10018</c:v>
                </c:pt>
                <c:pt idx="74" formatCode="General">
                  <c:v>4962</c:v>
                </c:pt>
                <c:pt idx="75" formatCode="General">
                  <c:v>4865</c:v>
                </c:pt>
                <c:pt idx="76" formatCode="General">
                  <c:v>3900</c:v>
                </c:pt>
                <c:pt idx="77" formatCode="General">
                  <c:v>1677</c:v>
                </c:pt>
                <c:pt idx="78" formatCode="General">
                  <c:v>297</c:v>
                </c:pt>
                <c:pt idx="79" formatCode="General">
                  <c:v>0</c:v>
                </c:pt>
                <c:pt idx="80" formatCode="General">
                  <c:v>0</c:v>
                </c:pt>
                <c:pt idx="81" formatCode="General">
                  <c:v>33868</c:v>
                </c:pt>
                <c:pt idx="82" formatCode="General">
                  <c:v>28590</c:v>
                </c:pt>
                <c:pt idx="83" formatCode="General">
                  <c:v>26827</c:v>
                </c:pt>
                <c:pt idx="84" formatCode="General">
                  <c:v>15746</c:v>
                </c:pt>
                <c:pt idx="85" formatCode="General">
                  <c:v>10871</c:v>
                </c:pt>
                <c:pt idx="86" formatCode="General">
                  <c:v>10018</c:v>
                </c:pt>
                <c:pt idx="87" formatCode="General">
                  <c:v>4962</c:v>
                </c:pt>
                <c:pt idx="88" formatCode="General">
                  <c:v>4865</c:v>
                </c:pt>
                <c:pt idx="89" formatCode="General">
                  <c:v>3900</c:v>
                </c:pt>
                <c:pt idx="90" formatCode="General">
                  <c:v>1677</c:v>
                </c:pt>
                <c:pt idx="91" formatCode="General">
                  <c:v>297</c:v>
                </c:pt>
                <c:pt idx="92" formatCode="General">
                  <c:v>0</c:v>
                </c:pt>
                <c:pt idx="93" formatCode="General">
                  <c:v>33868</c:v>
                </c:pt>
                <c:pt idx="94" formatCode="General">
                  <c:v>28590</c:v>
                </c:pt>
                <c:pt idx="95" formatCode="General">
                  <c:v>26827</c:v>
                </c:pt>
                <c:pt idx="96" formatCode="General">
                  <c:v>15746</c:v>
                </c:pt>
                <c:pt idx="97" formatCode="General">
                  <c:v>10871</c:v>
                </c:pt>
                <c:pt idx="98" formatCode="General">
                  <c:v>10018</c:v>
                </c:pt>
                <c:pt idx="99" formatCode="General">
                  <c:v>4962</c:v>
                </c:pt>
                <c:pt idx="100" formatCode="General">
                  <c:v>4865</c:v>
                </c:pt>
                <c:pt idx="101" formatCode="General">
                  <c:v>3900</c:v>
                </c:pt>
                <c:pt idx="102" formatCode="General">
                  <c:v>1677</c:v>
                </c:pt>
                <c:pt idx="103" formatCode="General">
                  <c:v>297</c:v>
                </c:pt>
                <c:pt idx="104" formatCode="General">
                  <c:v>0</c:v>
                </c:pt>
                <c:pt idx="105" formatCode="General">
                  <c:v>28590</c:v>
                </c:pt>
                <c:pt idx="106" formatCode="General">
                  <c:v>26827</c:v>
                </c:pt>
                <c:pt idx="107" formatCode="General">
                  <c:v>15746</c:v>
                </c:pt>
                <c:pt idx="108" formatCode="General">
                  <c:v>10871</c:v>
                </c:pt>
                <c:pt idx="109" formatCode="General">
                  <c:v>10018</c:v>
                </c:pt>
                <c:pt idx="110" formatCode="General">
                  <c:v>4962</c:v>
                </c:pt>
                <c:pt idx="111" formatCode="General">
                  <c:v>4865</c:v>
                </c:pt>
                <c:pt idx="112" formatCode="General">
                  <c:v>3900</c:v>
                </c:pt>
                <c:pt idx="113" formatCode="General">
                  <c:v>1677</c:v>
                </c:pt>
                <c:pt idx="114" formatCode="General">
                  <c:v>297</c:v>
                </c:pt>
                <c:pt idx="115" formatCode="General">
                  <c:v>0</c:v>
                </c:pt>
              </c:numCache>
            </c:numRef>
          </c:bubbleSize>
          <c:bubble3D val="0"/>
          <c:extLst>
            <c:ext xmlns:c15="http://schemas.microsoft.com/office/drawing/2012/chart" uri="{02D57815-91ED-43cb-92C2-25804820EDAC}">
              <c15:datalabelsRange>
                <c15:f>Sheet1!$E$2:$E$150</c15:f>
                <c15:dlblRangeCache>
                  <c:ptCount val="149"/>
                  <c:pt idx="0">
                    <c:v>Findus</c:v>
                  </c:pt>
                  <c:pt idx="1">
                    <c:v>Pescanova S.A.</c:v>
                  </c:pt>
                  <c:pt idx="2">
                    <c:v>Private Label</c:v>
                  </c:pt>
                  <c:pt idx="3">
                    <c:v>Frosta</c:v>
                  </c:pt>
                  <c:pt idx="4">
                    <c:v>Panapesca</c:v>
                  </c:pt>
                  <c:pt idx="5">
                    <c:v>Other</c:v>
                  </c:pt>
                  <c:pt idx="6">
                    <c:v>Esca Srl</c:v>
                  </c:pt>
                  <c:pt idx="7">
                    <c:v>Arbi Dario Spa</c:v>
                  </c:pt>
                  <c:pt idx="8">
                    <c:v>Krusta Group</c:v>
                  </c:pt>
                  <c:pt idx="9">
                    <c:v>Fandicosta</c:v>
                  </c:pt>
                  <c:pt idx="10">
                    <c:v>Green Ice</c:v>
                  </c:pt>
                  <c:pt idx="11">
                    <c:v>Alpe Srl - Roma</c:v>
                  </c:pt>
                  <c:pt idx="12">
                    <c:v>Conserviera Adriatica Spa</c:v>
                  </c:pt>
                  <c:pt idx="13">
                    <c:v>New Food</c:v>
                  </c:pt>
                  <c:pt idx="14">
                    <c:v>Agras 1947</c:v>
                  </c:pt>
                  <c:pt idx="15">
                    <c:v>Garbo Snc Di Comanducci Andrea</c:v>
                  </c:pt>
                  <c:pt idx="16">
                    <c:v>Vis Industrie Alimentari</c:v>
                  </c:pt>
                  <c:pt idx="17">
                    <c:v>Buitoni</c:v>
                  </c:pt>
                  <c:pt idx="18">
                    <c:v>Mittico</c:v>
                  </c:pt>
                  <c:pt idx="19">
                    <c:v>Findus</c:v>
                  </c:pt>
                  <c:pt idx="20">
                    <c:v>Frosta</c:v>
                  </c:pt>
                  <c:pt idx="21">
                    <c:v>Private Label</c:v>
                  </c:pt>
                  <c:pt idx="22">
                    <c:v>Krusta Group</c:v>
                  </c:pt>
                  <c:pt idx="23">
                    <c:v>Pescanova S.A.</c:v>
                  </c:pt>
                  <c:pt idx="24">
                    <c:v>Esca Srl</c:v>
                  </c:pt>
                  <c:pt idx="25">
                    <c:v>Arbi Dario Spa</c:v>
                  </c:pt>
                  <c:pt idx="26">
                    <c:v>Emme Gel</c:v>
                  </c:pt>
                  <c:pt idx="27">
                    <c:v>Green Ice</c:v>
                  </c:pt>
                  <c:pt idx="28">
                    <c:v>Other</c:v>
                  </c:pt>
                  <c:pt idx="29">
                    <c:v>Soavegel</c:v>
                  </c:pt>
                  <c:pt idx="30">
                    <c:v>Buitoni</c:v>
                  </c:pt>
                  <c:pt idx="31">
                    <c:v>Findus</c:v>
                  </c:pt>
                  <c:pt idx="32">
                    <c:v>Other</c:v>
                  </c:pt>
                  <c:pt idx="33">
                    <c:v>Findus</c:v>
                  </c:pt>
                  <c:pt idx="34">
                    <c:v>Private Label</c:v>
                  </c:pt>
                  <c:pt idx="35">
                    <c:v>Esca Srl</c:v>
                  </c:pt>
                  <c:pt idx="36">
                    <c:v>Agras 1947</c:v>
                  </c:pt>
                  <c:pt idx="37">
                    <c:v>Frosta</c:v>
                  </c:pt>
                  <c:pt idx="38">
                    <c:v>Other</c:v>
                  </c:pt>
                  <c:pt idx="39">
                    <c:v>New Food</c:v>
                  </c:pt>
                  <c:pt idx="40">
                    <c:v>Noriberica</c:v>
                  </c:pt>
                  <c:pt idx="41">
                    <c:v>Krusta Group</c:v>
                  </c:pt>
                  <c:pt idx="42">
                    <c:v>Nai Prodotti Ittici</c:v>
                  </c:pt>
                  <c:pt idx="43">
                    <c:v>Green Ice</c:v>
                  </c:pt>
                  <c:pt idx="44">
                    <c:v>Pescanova S.A.</c:v>
                  </c:pt>
                  <c:pt idx="45">
                    <c:v>Alpe Srl - Roma</c:v>
                  </c:pt>
                  <c:pt idx="46">
                    <c:v>Appetais Italia Spa</c:v>
                  </c:pt>
                  <c:pt idx="47">
                    <c:v>Royal Greenland</c:v>
                  </c:pt>
                  <c:pt idx="48">
                    <c:v>Panapesca</c:v>
                  </c:pt>
                  <c:pt idx="49">
                    <c:v>Conserviera Adriatica Spa</c:v>
                  </c:pt>
                  <c:pt idx="50">
                    <c:v>Gerfrio</c:v>
                  </c:pt>
                  <c:pt idx="51">
                    <c:v>Garbo Snc Di Comanducci Andrea</c:v>
                  </c:pt>
                  <c:pt idx="52">
                    <c:v>Vis Industrie Alimentari</c:v>
                  </c:pt>
                  <c:pt idx="53">
                    <c:v>Soavegel</c:v>
                  </c:pt>
                  <c:pt idx="54">
                    <c:v>Nettuno Alimentari Srl</c:v>
                  </c:pt>
                  <c:pt idx="55">
                    <c:v>Buitoni</c:v>
                  </c:pt>
                  <c:pt idx="56">
                    <c:v>Pescanova S.A.</c:v>
                  </c:pt>
                  <c:pt idx="57">
                    <c:v>Alpe Srl - Roma</c:v>
                  </c:pt>
                  <c:pt idx="58">
                    <c:v>Appetais Italia Spa</c:v>
                  </c:pt>
                  <c:pt idx="59">
                    <c:v>Royal Greenland</c:v>
                  </c:pt>
                  <c:pt idx="60">
                    <c:v>Panapesca</c:v>
                  </c:pt>
                  <c:pt idx="61">
                    <c:v>Conserviera Adriatica Spa</c:v>
                  </c:pt>
                  <c:pt idx="62">
                    <c:v>Gerfrio</c:v>
                  </c:pt>
                  <c:pt idx="63">
                    <c:v>Garbo Snc Di Comanducci Andrea</c:v>
                  </c:pt>
                  <c:pt idx="64">
                    <c:v>Vis Industrie Alimentari</c:v>
                  </c:pt>
                  <c:pt idx="65">
                    <c:v>Soavegel</c:v>
                  </c:pt>
                  <c:pt idx="66">
                    <c:v>Nettuno Alimentari Srl</c:v>
                  </c:pt>
                  <c:pt idx="67">
                    <c:v>Buitoni</c:v>
                  </c:pt>
                  <c:pt idx="68">
                    <c:v>Pescanova S.A.</c:v>
                  </c:pt>
                  <c:pt idx="69">
                    <c:v>Alpe Srl - Roma</c:v>
                  </c:pt>
                  <c:pt idx="70">
                    <c:v>Appetais Italia Spa</c:v>
                  </c:pt>
                  <c:pt idx="71">
                    <c:v>Royal Greenland</c:v>
                  </c:pt>
                  <c:pt idx="72">
                    <c:v>Panapesca</c:v>
                  </c:pt>
                  <c:pt idx="73">
                    <c:v>Conserviera Adriatica Spa</c:v>
                  </c:pt>
                  <c:pt idx="74">
                    <c:v>Gerfrio</c:v>
                  </c:pt>
                  <c:pt idx="75">
                    <c:v>Garbo Snc Di Comanducci Andrea</c:v>
                  </c:pt>
                  <c:pt idx="76">
                    <c:v>Vis Industrie Alimentari</c:v>
                  </c:pt>
                  <c:pt idx="77">
                    <c:v>Soavegel</c:v>
                  </c:pt>
                  <c:pt idx="78">
                    <c:v>Nettuno Alimentari Srl</c:v>
                  </c:pt>
                  <c:pt idx="79">
                    <c:v>Buitoni</c:v>
                  </c:pt>
                  <c:pt idx="80">
                    <c:v>Buitoni</c:v>
                  </c:pt>
                  <c:pt idx="81">
                    <c:v>Pescanova S.A.</c:v>
                  </c:pt>
                  <c:pt idx="82">
                    <c:v>Alpe Srl - Roma</c:v>
                  </c:pt>
                  <c:pt idx="83">
                    <c:v>Appetais Italia Spa</c:v>
                  </c:pt>
                  <c:pt idx="84">
                    <c:v>Royal Greenland</c:v>
                  </c:pt>
                  <c:pt idx="85">
                    <c:v>Panapesca</c:v>
                  </c:pt>
                  <c:pt idx="86">
                    <c:v>Conserviera Adriatica Spa</c:v>
                  </c:pt>
                  <c:pt idx="87">
                    <c:v>Gerfrio</c:v>
                  </c:pt>
                  <c:pt idx="88">
                    <c:v>Garbo Snc Di Comanducci Andrea</c:v>
                  </c:pt>
                  <c:pt idx="89">
                    <c:v>Vis Industrie Alimentari</c:v>
                  </c:pt>
                  <c:pt idx="90">
                    <c:v>Soavegel</c:v>
                  </c:pt>
                  <c:pt idx="91">
                    <c:v>Nettuno Alimentari Srl</c:v>
                  </c:pt>
                  <c:pt idx="92">
                    <c:v>Buitoni</c:v>
                  </c:pt>
                  <c:pt idx="93">
                    <c:v>Pescanova S.A.</c:v>
                  </c:pt>
                  <c:pt idx="94">
                    <c:v>Alpe Srl - Roma</c:v>
                  </c:pt>
                  <c:pt idx="95">
                    <c:v>Appetais Italia Spa</c:v>
                  </c:pt>
                  <c:pt idx="96">
                    <c:v>Royal Greenland</c:v>
                  </c:pt>
                  <c:pt idx="97">
                    <c:v>Panapesca</c:v>
                  </c:pt>
                  <c:pt idx="98">
                    <c:v>Conserviera Adriatica Spa</c:v>
                  </c:pt>
                  <c:pt idx="99">
                    <c:v>Gerfrio</c:v>
                  </c:pt>
                  <c:pt idx="100">
                    <c:v>Garbo Snc Di Comanducci Andrea</c:v>
                  </c:pt>
                  <c:pt idx="101">
                    <c:v>Vis Industrie Alimentari</c:v>
                  </c:pt>
                  <c:pt idx="102">
                    <c:v>Soavegel</c:v>
                  </c:pt>
                  <c:pt idx="103">
                    <c:v>Nettuno Alimentari Srl</c:v>
                  </c:pt>
                  <c:pt idx="104">
                    <c:v>Buitoni</c:v>
                  </c:pt>
                  <c:pt idx="105">
                    <c:v>Alpe Srl - Roma</c:v>
                  </c:pt>
                  <c:pt idx="106">
                    <c:v>Appetais Italia Spa</c:v>
                  </c:pt>
                  <c:pt idx="107">
                    <c:v>Royal Greenland</c:v>
                  </c:pt>
                  <c:pt idx="108">
                    <c:v>Panapesca</c:v>
                  </c:pt>
                  <c:pt idx="109">
                    <c:v>Conserviera Adriatica Spa</c:v>
                  </c:pt>
                  <c:pt idx="110">
                    <c:v>Gerfrio</c:v>
                  </c:pt>
                  <c:pt idx="111">
                    <c:v>Garbo Snc Di Comanducci Andrea</c:v>
                  </c:pt>
                  <c:pt idx="112">
                    <c:v>Vis Industrie Alimentari</c:v>
                  </c:pt>
                  <c:pt idx="113">
                    <c:v>Soavegel</c:v>
                  </c:pt>
                  <c:pt idx="114">
                    <c:v>Nettuno Alimentari Srl</c:v>
                  </c:pt>
                  <c:pt idx="115">
                    <c:v>Buitoni</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5"/>
          <c:min val="0.5"/>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chemeClr val="bg2"/>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chemeClr val="bg2"/>
              </a:solidFill>
              <a:ln>
                <a:noFill/>
              </a:ln>
              <a:effectLst/>
            </c:spPr>
            <c:extLst>
              <c:ext xmlns:c16="http://schemas.microsoft.com/office/drawing/2014/chart" uri="{C3380CC4-5D6E-409C-BE32-E72D297353CC}">
                <c16:uniqueId val="{00000005-26FB-4B52-8D72-D56D618E8EAF}"/>
              </c:ext>
            </c:extLst>
          </c:dPt>
          <c:dPt>
            <c:idx val="3"/>
            <c:invertIfNegative val="0"/>
            <c:bubble3D val="0"/>
            <c:extLst>
              <c:ext xmlns:c16="http://schemas.microsoft.com/office/drawing/2014/chart" uri="{C3380CC4-5D6E-409C-BE32-E72D297353CC}">
                <c16:uniqueId val="{00000007-26FB-4B52-8D72-D56D618E8EAF}"/>
              </c:ext>
            </c:extLst>
          </c:dPt>
          <c:dPt>
            <c:idx val="4"/>
            <c:invertIfNegative val="0"/>
            <c:bubble3D val="0"/>
            <c:extLst>
              <c:ext xmlns:c16="http://schemas.microsoft.com/office/drawing/2014/chart" uri="{C3380CC4-5D6E-409C-BE32-E72D297353CC}">
                <c16:uniqueId val="{00000009-26FB-4B52-8D72-D56D618E8EAF}"/>
              </c:ext>
            </c:extLst>
          </c:dPt>
          <c:dPt>
            <c:idx val="5"/>
            <c:invertIfNegative val="0"/>
            <c:bubble3D val="0"/>
            <c:extLst>
              <c:ext xmlns:c16="http://schemas.microsoft.com/office/drawing/2014/chart" uri="{C3380CC4-5D6E-409C-BE32-E72D297353CC}">
                <c16:uniqueId val="{0000000B-26FB-4B52-8D72-D56D618E8EAF}"/>
              </c:ext>
            </c:extLst>
          </c:dPt>
          <c:dPt>
            <c:idx val="6"/>
            <c:invertIfNegative val="0"/>
            <c:bubble3D val="0"/>
            <c:spPr>
              <a:solidFill>
                <a:schemeClr val="bg2"/>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3DCA95C5-F109-4F94-A6D2-A3FF6326FA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15E1879F-51ED-41B2-B921-F8B353B1EC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929862B5-3635-45C5-9BEB-687B9CEBD1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0B2363DC-8473-45F2-A616-AE19E01B5B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9929EBA8-B7FE-49CB-B95C-98C7483C00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24892C4F-A6DA-4398-BE83-27374FC29B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7EC0B288-EC17-497A-8671-D000C22F8C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7F18D448-3910-48F0-B187-0CFB32558C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73ACE70B-3AAE-4F40-A439-0E43150542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758D12A9-AEB3-431B-84AD-4EB48A8E06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4394AB07-2803-4603-BC3C-30939B0F2B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C4195F62-BA99-4FA2-B731-89716D99EC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26FB-4B52-8D72-D56D618E8EAF}"/>
                </c:ext>
              </c:extLst>
            </c:dLbl>
            <c:dLbl>
              <c:idx val="12"/>
              <c:tx>
                <c:rich>
                  <a:bodyPr/>
                  <a:lstStyle/>
                  <a:p>
                    <a:fld id="{DF184A3E-AB86-48F0-B750-3B8C9A2313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B2D-4A32-96D2-9C641BCDE5CC}"/>
                </c:ext>
              </c:extLst>
            </c:dLbl>
            <c:dLbl>
              <c:idx val="13"/>
              <c:tx>
                <c:rich>
                  <a:bodyPr/>
                  <a:lstStyle/>
                  <a:p>
                    <a:fld id="{FA5325C6-5FF8-4FDA-BA16-486DF34B97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26FB-4B52-8D72-D56D618E8EAF}"/>
                </c:ext>
              </c:extLst>
            </c:dLbl>
            <c:dLbl>
              <c:idx val="14"/>
              <c:tx>
                <c:rich>
                  <a:bodyPr/>
                  <a:lstStyle/>
                  <a:p>
                    <a:fld id="{F453A707-A77D-43D2-B32C-67F3E3F615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26FB-4B52-8D72-D56D618E8EAF}"/>
                </c:ext>
              </c:extLst>
            </c:dLbl>
            <c:dLbl>
              <c:idx val="15"/>
              <c:tx>
                <c:rich>
                  <a:bodyPr/>
                  <a:lstStyle/>
                  <a:p>
                    <a:fld id="{B5B1DD83-6E94-4DB0-A990-39D1019D6A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26FB-4B52-8D72-D56D618E8EAF}"/>
                </c:ext>
              </c:extLst>
            </c:dLbl>
            <c:dLbl>
              <c:idx val="16"/>
              <c:tx>
                <c:rich>
                  <a:bodyPr/>
                  <a:lstStyle/>
                  <a:p>
                    <a:fld id="{6DCEF04D-BAD3-4164-AE5F-400B8C9931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A6E-4C83-9A06-9C3309B2855E}"/>
                </c:ext>
              </c:extLst>
            </c:dLbl>
            <c:dLbl>
              <c:idx val="17"/>
              <c:tx>
                <c:rich>
                  <a:bodyPr/>
                  <a:lstStyle/>
                  <a:p>
                    <a:fld id="{48B3B0FC-352B-4FE7-9BB4-D840B7E255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0A6E-4C83-9A06-9C3309B2855E}"/>
                </c:ext>
              </c:extLst>
            </c:dLbl>
            <c:dLbl>
              <c:idx val="18"/>
              <c:tx>
                <c:rich>
                  <a:bodyPr/>
                  <a:lstStyle/>
                  <a:p>
                    <a:fld id="{D313FEDB-0B34-4ECA-860E-7C3646CC7C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A6E-4C83-9A06-9C3309B2855E}"/>
                </c:ext>
              </c:extLst>
            </c:dLbl>
            <c:dLbl>
              <c:idx val="19"/>
              <c:tx>
                <c:rich>
                  <a:bodyPr/>
                  <a:lstStyle/>
                  <a:p>
                    <a:fld id="{EFA457E6-3C57-4263-B7AC-E85DA1FBB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A6E-4C83-9A06-9C3309B2855E}"/>
                </c:ext>
              </c:extLst>
            </c:dLbl>
            <c:dLbl>
              <c:idx val="20"/>
              <c:tx>
                <c:rich>
                  <a:bodyPr/>
                  <a:lstStyle/>
                  <a:p>
                    <a:fld id="{CDD781CE-1FCA-4BBA-92A0-0348619C08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C5AD-4BCF-9CB2-60EDA2D7DB42}"/>
                </c:ext>
              </c:extLst>
            </c:dLbl>
            <c:dLbl>
              <c:idx val="21"/>
              <c:tx>
                <c:rich>
                  <a:bodyPr/>
                  <a:lstStyle/>
                  <a:p>
                    <a:fld id="{81B02E59-50C3-4BBE-A144-494D30989F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5AD-4BCF-9CB2-60EDA2D7DB42}"/>
                </c:ext>
              </c:extLst>
            </c:dLbl>
            <c:dLbl>
              <c:idx val="22"/>
              <c:tx>
                <c:rich>
                  <a:bodyPr/>
                  <a:lstStyle/>
                  <a:p>
                    <a:fld id="{D39901EF-E0A7-4C5F-B735-453E142287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5AD-4BCF-9CB2-60EDA2D7DB42}"/>
                </c:ext>
              </c:extLst>
            </c:dLbl>
            <c:dLbl>
              <c:idx val="23"/>
              <c:tx>
                <c:rich>
                  <a:bodyPr/>
                  <a:lstStyle/>
                  <a:p>
                    <a:fld id="{7A382939-9F06-4651-9148-A8097BEEBF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5AD-4BCF-9CB2-60EDA2D7DB42}"/>
                </c:ext>
              </c:extLst>
            </c:dLbl>
            <c:dLbl>
              <c:idx val="24"/>
              <c:tx>
                <c:rich>
                  <a:bodyPr/>
                  <a:lstStyle/>
                  <a:p>
                    <a:fld id="{7EFF4C87-F972-4103-AF8F-E8BD42FE82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A6E-4C83-9A06-9C3309B2855E}"/>
                </c:ext>
              </c:extLst>
            </c:dLbl>
            <c:dLbl>
              <c:idx val="25"/>
              <c:tx>
                <c:rich>
                  <a:bodyPr/>
                  <a:lstStyle/>
                  <a:p>
                    <a:fld id="{1C6FB58C-F70B-4F90-B843-1B50A98D56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D12-44DE-B956-CABCB15EBC04}"/>
                </c:ext>
              </c:extLst>
            </c:dLbl>
            <c:dLbl>
              <c:idx val="26"/>
              <c:tx>
                <c:rich>
                  <a:bodyPr/>
                  <a:lstStyle/>
                  <a:p>
                    <a:fld id="{A79CCF45-2939-44AE-ADC4-967A691FB4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D12-44DE-B956-CABCB15EBC04}"/>
                </c:ext>
              </c:extLst>
            </c:dLbl>
            <c:dLbl>
              <c:idx val="27"/>
              <c:tx>
                <c:rich>
                  <a:bodyPr/>
                  <a:lstStyle/>
                  <a:p>
                    <a:fld id="{DFD0B81E-EFFA-486E-9690-F8565E97D0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D12-44DE-B956-CABCB15EBC04}"/>
                </c:ext>
              </c:extLst>
            </c:dLbl>
            <c:dLbl>
              <c:idx val="28"/>
              <c:tx>
                <c:rich>
                  <a:bodyPr/>
                  <a:lstStyle/>
                  <a:p>
                    <a:fld id="{6BBB797B-E276-427F-9812-19B993131C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D12-44DE-B956-CABCB15EBC04}"/>
                </c:ext>
              </c:extLst>
            </c:dLbl>
            <c:dLbl>
              <c:idx val="29"/>
              <c:tx>
                <c:rich>
                  <a:bodyPr/>
                  <a:lstStyle/>
                  <a:p>
                    <a:fld id="{EC9793B8-2AF8-46CA-8469-B3ABBCA69D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47-486F-B734-6012CEA493B3}"/>
                </c:ext>
              </c:extLst>
            </c:dLbl>
            <c:dLbl>
              <c:idx val="30"/>
              <c:tx>
                <c:rich>
                  <a:bodyPr/>
                  <a:lstStyle/>
                  <a:p>
                    <a:fld id="{022DB5B3-7E29-4A38-AFC7-C6ACEA720C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D12-44DE-B956-CABCB15EBC04}"/>
                </c:ext>
              </c:extLst>
            </c:dLbl>
            <c:dLbl>
              <c:idx val="31"/>
              <c:tx>
                <c:rich>
                  <a:bodyPr/>
                  <a:lstStyle/>
                  <a:p>
                    <a:fld id="{C60B8EF2-9844-4832-BCBA-FB4E97769E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D12-44DE-B956-CABCB15EBC04}"/>
                </c:ext>
              </c:extLst>
            </c:dLbl>
            <c:dLbl>
              <c:idx val="32"/>
              <c:tx>
                <c:rich>
                  <a:bodyPr/>
                  <a:lstStyle/>
                  <a:p>
                    <a:fld id="{32666E23-EB34-4E05-BFA2-BA30973FBC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D12-44DE-B956-CABCB15EBC04}"/>
                </c:ext>
              </c:extLst>
            </c:dLbl>
            <c:dLbl>
              <c:idx val="33"/>
              <c:tx>
                <c:rich>
                  <a:bodyPr/>
                  <a:lstStyle/>
                  <a:p>
                    <a:fld id="{0DBF45C0-ED30-4A29-850B-241E3A0468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D12-44DE-B956-CABCB15EBC04}"/>
                </c:ext>
              </c:extLst>
            </c:dLbl>
            <c:dLbl>
              <c:idx val="34"/>
              <c:tx>
                <c:rich>
                  <a:bodyPr/>
                  <a:lstStyle/>
                  <a:p>
                    <a:fld id="{26D6D802-05FC-473E-99D0-CFF557E2CE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D12-44DE-B956-CABCB15EBC04}"/>
                </c:ext>
              </c:extLst>
            </c:dLbl>
            <c:dLbl>
              <c:idx val="35"/>
              <c:tx>
                <c:rich>
                  <a:bodyPr/>
                  <a:lstStyle/>
                  <a:p>
                    <a:fld id="{1BF9B56D-FDD8-4BC1-B0D3-3755610789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D12-44DE-B956-CABCB15EBC04}"/>
                </c:ext>
              </c:extLst>
            </c:dLbl>
            <c:dLbl>
              <c:idx val="36"/>
              <c:tx>
                <c:rich>
                  <a:bodyPr/>
                  <a:lstStyle/>
                  <a:p>
                    <a:fld id="{07F3E44C-AA5E-4791-9CC1-C194EF4BB6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D12-44DE-B956-CABCB15EBC04}"/>
                </c:ext>
              </c:extLst>
            </c:dLbl>
            <c:dLbl>
              <c:idx val="37"/>
              <c:tx>
                <c:rich>
                  <a:bodyPr/>
                  <a:lstStyle/>
                  <a:p>
                    <a:fld id="{C6CE294F-910A-4C1F-BE25-C93C233328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D12-44DE-B956-CABCB15EBC04}"/>
                </c:ext>
              </c:extLst>
            </c:dLbl>
            <c:dLbl>
              <c:idx val="38"/>
              <c:tx>
                <c:rich>
                  <a:bodyPr/>
                  <a:lstStyle/>
                  <a:p>
                    <a:fld id="{D59BC5F6-CDA8-442C-8181-4488DC9E6E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D12-44DE-B956-CABCB15EBC04}"/>
                </c:ext>
              </c:extLst>
            </c:dLbl>
            <c:dLbl>
              <c:idx val="39"/>
              <c:tx>
                <c:rich>
                  <a:bodyPr/>
                  <a:lstStyle/>
                  <a:p>
                    <a:fld id="{415D50FF-768B-4370-AE70-B948E542D2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D12-44DE-B956-CABCB15EBC04}"/>
                </c:ext>
              </c:extLst>
            </c:dLbl>
            <c:dLbl>
              <c:idx val="40"/>
              <c:tx>
                <c:rich>
                  <a:bodyPr/>
                  <a:lstStyle/>
                  <a:p>
                    <a:fld id="{02B3B641-C801-469F-AE3D-683ADD01B8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D12-44DE-B956-CABCB15EBC04}"/>
                </c:ext>
              </c:extLst>
            </c:dLbl>
            <c:dLbl>
              <c:idx val="41"/>
              <c:tx>
                <c:rich>
                  <a:bodyPr/>
                  <a:lstStyle/>
                  <a:p>
                    <a:fld id="{F0C67469-4816-41DA-84A0-D0EBE639C6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D12-44DE-B956-CABCB15EBC04}"/>
                </c:ext>
              </c:extLst>
            </c:dLbl>
            <c:dLbl>
              <c:idx val="42"/>
              <c:tx>
                <c:rich>
                  <a:bodyPr/>
                  <a:lstStyle/>
                  <a:p>
                    <a:fld id="{9689BAE8-861A-4F59-BE8E-982D14451E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D12-44DE-B956-CABCB15EBC04}"/>
                </c:ext>
              </c:extLst>
            </c:dLbl>
            <c:dLbl>
              <c:idx val="43"/>
              <c:tx>
                <c:rich>
                  <a:bodyPr/>
                  <a:lstStyle/>
                  <a:p>
                    <a:fld id="{9714BD6F-C347-4363-A2A6-A4892A9F28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D12-44DE-B956-CABCB15EBC04}"/>
                </c:ext>
              </c:extLst>
            </c:dLbl>
            <c:dLbl>
              <c:idx val="44"/>
              <c:tx>
                <c:rich>
                  <a:bodyPr/>
                  <a:lstStyle/>
                  <a:p>
                    <a:fld id="{3F86AAB5-834D-456F-A802-7852FB2B2A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D12-44DE-B956-CABCB15EBC04}"/>
                </c:ext>
              </c:extLst>
            </c:dLbl>
            <c:dLbl>
              <c:idx val="45"/>
              <c:tx>
                <c:rich>
                  <a:bodyPr/>
                  <a:lstStyle/>
                  <a:p>
                    <a:fld id="{0EB35585-0CF8-4487-9335-6FC5A910BE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D12-44DE-B956-CABCB15EBC04}"/>
                </c:ext>
              </c:extLst>
            </c:dLbl>
            <c:dLbl>
              <c:idx val="46"/>
              <c:tx>
                <c:rich>
                  <a:bodyPr/>
                  <a:lstStyle/>
                  <a:p>
                    <a:fld id="{F156F831-A612-40D8-AE73-AF184E1C2D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D12-44DE-B956-CABCB15EBC04}"/>
                </c:ext>
              </c:extLst>
            </c:dLbl>
            <c:dLbl>
              <c:idx val="47"/>
              <c:tx>
                <c:rich>
                  <a:bodyPr/>
                  <a:lstStyle/>
                  <a:p>
                    <a:fld id="{37EC43A2-C2E4-49EA-ADDC-2066E8426C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D12-44DE-B956-CABCB15EBC04}"/>
                </c:ext>
              </c:extLst>
            </c:dLbl>
            <c:dLbl>
              <c:idx val="48"/>
              <c:tx>
                <c:rich>
                  <a:bodyPr/>
                  <a:lstStyle/>
                  <a:p>
                    <a:fld id="{16AD755D-0B04-421C-9CBD-8B75B578F3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D12-44DE-B956-CABCB15EBC04}"/>
                </c:ext>
              </c:extLst>
            </c:dLbl>
            <c:dLbl>
              <c:idx val="49"/>
              <c:tx>
                <c:rich>
                  <a:bodyPr/>
                  <a:lstStyle/>
                  <a:p>
                    <a:fld id="{4016C486-C364-4D0D-B2BF-DBD14387C0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D12-44DE-B956-CABCB15EBC04}"/>
                </c:ext>
              </c:extLst>
            </c:dLbl>
            <c:dLbl>
              <c:idx val="50"/>
              <c:tx>
                <c:rich>
                  <a:bodyPr/>
                  <a:lstStyle/>
                  <a:p>
                    <a:fld id="{2DB88B05-F17F-4EBC-97C1-0F2D12B063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D12-44DE-B956-CABCB15EBC04}"/>
                </c:ext>
              </c:extLst>
            </c:dLbl>
            <c:dLbl>
              <c:idx val="51"/>
              <c:tx>
                <c:rich>
                  <a:bodyPr/>
                  <a:lstStyle/>
                  <a:p>
                    <a:fld id="{A6831DBC-9005-48FC-A715-2BEAB89AF8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D12-44DE-B956-CABCB15EBC04}"/>
                </c:ext>
              </c:extLst>
            </c:dLbl>
            <c:dLbl>
              <c:idx val="52"/>
              <c:tx>
                <c:rich>
                  <a:bodyPr/>
                  <a:lstStyle/>
                  <a:p>
                    <a:fld id="{A42E1162-3320-4749-A2BD-C918AF8031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D12-44DE-B956-CABCB15EBC04}"/>
                </c:ext>
              </c:extLst>
            </c:dLbl>
            <c:dLbl>
              <c:idx val="53"/>
              <c:tx>
                <c:rich>
                  <a:bodyPr/>
                  <a:lstStyle/>
                  <a:p>
                    <a:fld id="{64FA0445-BB09-4A19-9C06-A0A3EECA96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D12-44DE-B956-CABCB15EBC04}"/>
                </c:ext>
              </c:extLst>
            </c:dLbl>
            <c:dLbl>
              <c:idx val="54"/>
              <c:tx>
                <c:rich>
                  <a:bodyPr/>
                  <a:lstStyle/>
                  <a:p>
                    <a:fld id="{C1E8F8E8-CE34-4458-81FB-5F9FBC8B2C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D12-44DE-B956-CABCB15EBC04}"/>
                </c:ext>
              </c:extLst>
            </c:dLbl>
            <c:dLbl>
              <c:idx val="55"/>
              <c:tx>
                <c:rich>
                  <a:bodyPr/>
                  <a:lstStyle/>
                  <a:p>
                    <a:fld id="{60955DBD-FE02-4203-B819-00E1A8863E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D12-44DE-B956-CABCB15EBC04}"/>
                </c:ext>
              </c:extLst>
            </c:dLbl>
            <c:dLbl>
              <c:idx val="56"/>
              <c:tx>
                <c:rich>
                  <a:bodyPr/>
                  <a:lstStyle/>
                  <a:p>
                    <a:fld id="{6D5C0937-F9AB-4353-8925-E1C80C9E69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8E3F-4D1B-A313-C02BEC0FDBD1}"/>
                </c:ext>
              </c:extLst>
            </c:dLbl>
            <c:dLbl>
              <c:idx val="57"/>
              <c:tx>
                <c:rich>
                  <a:bodyPr/>
                  <a:lstStyle/>
                  <a:p>
                    <a:fld id="{E21F0D88-8683-4421-A5A1-9B7AE13F01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8E3F-4D1B-A313-C02BEC0FDBD1}"/>
                </c:ext>
              </c:extLst>
            </c:dLbl>
            <c:dLbl>
              <c:idx val="58"/>
              <c:tx>
                <c:rich>
                  <a:bodyPr/>
                  <a:lstStyle/>
                  <a:p>
                    <a:fld id="{F5A51A02-65EE-4197-A3EF-21517E8884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8E3F-4D1B-A313-C02BEC0FDBD1}"/>
                </c:ext>
              </c:extLst>
            </c:dLbl>
            <c:dLbl>
              <c:idx val="59"/>
              <c:tx>
                <c:rich>
                  <a:bodyPr/>
                  <a:lstStyle/>
                  <a:p>
                    <a:fld id="{79164B70-2AC4-4126-997D-0B0EBFDC67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8E3F-4D1B-A313-C02BEC0FDBD1}"/>
                </c:ext>
              </c:extLst>
            </c:dLbl>
            <c:dLbl>
              <c:idx val="60"/>
              <c:tx>
                <c:rich>
                  <a:bodyPr/>
                  <a:lstStyle/>
                  <a:p>
                    <a:fld id="{F0D57C97-9BAE-48B8-A115-13413B62F7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8E3F-4D1B-A313-C02BEC0FDBD1}"/>
                </c:ext>
              </c:extLst>
            </c:dLbl>
            <c:dLbl>
              <c:idx val="61"/>
              <c:tx>
                <c:rich>
                  <a:bodyPr/>
                  <a:lstStyle/>
                  <a:p>
                    <a:fld id="{AED8F39F-59F7-418E-9371-0A654FA4A6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8E3F-4D1B-A313-C02BEC0FDBD1}"/>
                </c:ext>
              </c:extLst>
            </c:dLbl>
            <c:dLbl>
              <c:idx val="62"/>
              <c:tx>
                <c:rich>
                  <a:bodyPr/>
                  <a:lstStyle/>
                  <a:p>
                    <a:fld id="{F5D9380B-AC4F-4292-AE3B-2B784B7292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8E3F-4D1B-A313-C02BEC0FDBD1}"/>
                </c:ext>
              </c:extLst>
            </c:dLbl>
            <c:dLbl>
              <c:idx val="63"/>
              <c:tx>
                <c:rich>
                  <a:bodyPr/>
                  <a:lstStyle/>
                  <a:p>
                    <a:fld id="{F6ED1173-3867-4272-A934-2EB379BA95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8E3F-4D1B-A313-C02BEC0FDBD1}"/>
                </c:ext>
              </c:extLst>
            </c:dLbl>
            <c:dLbl>
              <c:idx val="64"/>
              <c:tx>
                <c:rich>
                  <a:bodyPr/>
                  <a:lstStyle/>
                  <a:p>
                    <a:fld id="{E7372C9B-4F0F-46E9-9188-925BDC64CE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8E3F-4D1B-A313-C02BEC0FDBD1}"/>
                </c:ext>
              </c:extLst>
            </c:dLbl>
            <c:dLbl>
              <c:idx val="65"/>
              <c:tx>
                <c:rich>
                  <a:bodyPr/>
                  <a:lstStyle/>
                  <a:p>
                    <a:fld id="{B39B245A-2D05-4B79-96A7-828FBEF834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8E3F-4D1B-A313-C02BEC0FDBD1}"/>
                </c:ext>
              </c:extLst>
            </c:dLbl>
            <c:dLbl>
              <c:idx val="66"/>
              <c:tx>
                <c:rich>
                  <a:bodyPr/>
                  <a:lstStyle/>
                  <a:p>
                    <a:fld id="{E677D757-51EE-4375-A6E9-6BF6E834D8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8E3F-4D1B-A313-C02BEC0FDBD1}"/>
                </c:ext>
              </c:extLst>
            </c:dLbl>
            <c:dLbl>
              <c:idx val="67"/>
              <c:tx>
                <c:rich>
                  <a:bodyPr/>
                  <a:lstStyle/>
                  <a:p>
                    <a:fld id="{32FBF7E2-DD8A-4E3E-941B-453131A07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8E3F-4D1B-A313-C02BEC0FDBD1}"/>
                </c:ext>
              </c:extLst>
            </c:dLbl>
            <c:dLbl>
              <c:idx val="68"/>
              <c:tx>
                <c:rich>
                  <a:bodyPr/>
                  <a:lstStyle/>
                  <a:p>
                    <a:fld id="{40D0528F-CD74-47DF-827C-C505EA7F41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8E3F-4D1B-A313-C02BEC0FDBD1}"/>
                </c:ext>
              </c:extLst>
            </c:dLbl>
            <c:dLbl>
              <c:idx val="69"/>
              <c:tx>
                <c:rich>
                  <a:bodyPr/>
                  <a:lstStyle/>
                  <a:p>
                    <a:fld id="{5D1865CB-5960-43E6-8903-C784159D0C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8E3F-4D1B-A313-C02BEC0FDBD1}"/>
                </c:ext>
              </c:extLst>
            </c:dLbl>
            <c:dLbl>
              <c:idx val="70"/>
              <c:tx>
                <c:rich>
                  <a:bodyPr/>
                  <a:lstStyle/>
                  <a:p>
                    <a:fld id="{ABFCA597-0980-4473-BBD5-2DC59E9EF1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8E3F-4D1B-A313-C02BEC0FDBD1}"/>
                </c:ext>
              </c:extLst>
            </c:dLbl>
            <c:dLbl>
              <c:idx val="71"/>
              <c:tx>
                <c:rich>
                  <a:bodyPr/>
                  <a:lstStyle/>
                  <a:p>
                    <a:fld id="{C1F2F1B1-5F78-43C4-9CE7-67144A6A8F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8E3F-4D1B-A313-C02BEC0FDBD1}"/>
                </c:ext>
              </c:extLst>
            </c:dLbl>
            <c:dLbl>
              <c:idx val="72"/>
              <c:tx>
                <c:rich>
                  <a:bodyPr/>
                  <a:lstStyle/>
                  <a:p>
                    <a:fld id="{72D3EB6E-9A1B-4444-AD78-C35146B2F1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8E3F-4D1B-A313-C02BEC0FDBD1}"/>
                </c:ext>
              </c:extLst>
            </c:dLbl>
            <c:dLbl>
              <c:idx val="73"/>
              <c:tx>
                <c:rich>
                  <a:bodyPr/>
                  <a:lstStyle/>
                  <a:p>
                    <a:fld id="{F79CC1EE-2FAF-4BCE-8CB6-B46ED12C97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8E3F-4D1B-A313-C02BEC0FDBD1}"/>
                </c:ext>
              </c:extLst>
            </c:dLbl>
            <c:dLbl>
              <c:idx val="74"/>
              <c:tx>
                <c:rich>
                  <a:bodyPr/>
                  <a:lstStyle/>
                  <a:p>
                    <a:fld id="{80A71068-95BB-437F-8DEC-10ED9DB7E7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8E3F-4D1B-A313-C02BEC0FDBD1}"/>
                </c:ext>
              </c:extLst>
            </c:dLbl>
            <c:dLbl>
              <c:idx val="75"/>
              <c:tx>
                <c:rich>
                  <a:bodyPr/>
                  <a:lstStyle/>
                  <a:p>
                    <a:fld id="{CDBD54CF-B892-479E-AE41-9484DFA90A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8E3F-4D1B-A313-C02BEC0FDBD1}"/>
                </c:ext>
              </c:extLst>
            </c:dLbl>
            <c:dLbl>
              <c:idx val="76"/>
              <c:tx>
                <c:rich>
                  <a:bodyPr/>
                  <a:lstStyle/>
                  <a:p>
                    <a:fld id="{170699B8-C242-44D1-ACDA-1C98FD6EA6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8E3F-4D1B-A313-C02BEC0FDBD1}"/>
                </c:ext>
              </c:extLst>
            </c:dLbl>
            <c:dLbl>
              <c:idx val="77"/>
              <c:tx>
                <c:rich>
                  <a:bodyPr/>
                  <a:lstStyle/>
                  <a:p>
                    <a:fld id="{ABB28DDC-C9BC-46F7-8FA0-FA83BCE4C6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8E3F-4D1B-A313-C02BEC0FDBD1}"/>
                </c:ext>
              </c:extLst>
            </c:dLbl>
            <c:dLbl>
              <c:idx val="78"/>
              <c:tx>
                <c:rich>
                  <a:bodyPr/>
                  <a:lstStyle/>
                  <a:p>
                    <a:fld id="{49254B8F-E6CC-448A-AC06-1EA8E436A4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8E3F-4D1B-A313-C02BEC0FDBD1}"/>
                </c:ext>
              </c:extLst>
            </c:dLbl>
            <c:dLbl>
              <c:idx val="79"/>
              <c:tx>
                <c:rich>
                  <a:bodyPr/>
                  <a:lstStyle/>
                  <a:p>
                    <a:fld id="{BDC93296-FCAC-4784-AB45-DA4D260D8C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8E3F-4D1B-A313-C02BEC0FDBD1}"/>
                </c:ext>
              </c:extLst>
            </c:dLbl>
            <c:dLbl>
              <c:idx val="80"/>
              <c:tx>
                <c:rich>
                  <a:bodyPr/>
                  <a:lstStyle/>
                  <a:p>
                    <a:fld id="{A58F17A9-956B-4AB4-9EAB-E7A01D8A99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8E3F-4D1B-A313-C02BEC0FDBD1}"/>
                </c:ext>
              </c:extLst>
            </c:dLbl>
            <c:dLbl>
              <c:idx val="81"/>
              <c:tx>
                <c:rich>
                  <a:bodyPr/>
                  <a:lstStyle/>
                  <a:p>
                    <a:fld id="{21479872-742B-4DD6-A0AF-841FAA7508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9-8E3F-4D1B-A313-C02BEC0FDBD1}"/>
                </c:ext>
              </c:extLst>
            </c:dLbl>
            <c:dLbl>
              <c:idx val="82"/>
              <c:tx>
                <c:rich>
                  <a:bodyPr/>
                  <a:lstStyle/>
                  <a:p>
                    <a:fld id="{22A81519-55AA-4DBD-8389-D49D48997C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A-8E3F-4D1B-A313-C02BEC0FDBD1}"/>
                </c:ext>
              </c:extLst>
            </c:dLbl>
            <c:dLbl>
              <c:idx val="83"/>
              <c:tx>
                <c:rich>
                  <a:bodyPr/>
                  <a:lstStyle/>
                  <a:p>
                    <a:fld id="{1496EA63-E4AF-4321-821F-1F4EF8F550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B-8E3F-4D1B-A313-C02BEC0FDBD1}"/>
                </c:ext>
              </c:extLst>
            </c:dLbl>
            <c:dLbl>
              <c:idx val="84"/>
              <c:tx>
                <c:rich>
                  <a:bodyPr/>
                  <a:lstStyle/>
                  <a:p>
                    <a:fld id="{D755C157-6B95-44BC-AFD7-720EA9B9BA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C-8E3F-4D1B-A313-C02BEC0FDBD1}"/>
                </c:ext>
              </c:extLst>
            </c:dLbl>
            <c:dLbl>
              <c:idx val="85"/>
              <c:tx>
                <c:rich>
                  <a:bodyPr/>
                  <a:lstStyle/>
                  <a:p>
                    <a:fld id="{F3C403DC-7892-4810-929B-6F27513DB1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D-8E3F-4D1B-A313-C02BEC0FDBD1}"/>
                </c:ext>
              </c:extLst>
            </c:dLbl>
            <c:dLbl>
              <c:idx val="86"/>
              <c:tx>
                <c:rich>
                  <a:bodyPr/>
                  <a:lstStyle/>
                  <a:p>
                    <a:fld id="{0C2C5009-222F-44AC-BBEB-BEBB0623EA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E-8E3F-4D1B-A313-C02BEC0FDBD1}"/>
                </c:ext>
              </c:extLst>
            </c:dLbl>
            <c:dLbl>
              <c:idx val="87"/>
              <c:tx>
                <c:rich>
                  <a:bodyPr/>
                  <a:lstStyle/>
                  <a:p>
                    <a:fld id="{B0C387F3-B1F3-4EBA-8672-39E21DD35C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F-8E3F-4D1B-A313-C02BEC0FDBD1}"/>
                </c:ext>
              </c:extLst>
            </c:dLbl>
            <c:dLbl>
              <c:idx val="88"/>
              <c:tx>
                <c:rich>
                  <a:bodyPr/>
                  <a:lstStyle/>
                  <a:p>
                    <a:fld id="{F4CBB653-EA82-42A5-8D4A-BC988DC6F3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0-8E3F-4D1B-A313-C02BEC0FDBD1}"/>
                </c:ext>
              </c:extLst>
            </c:dLbl>
            <c:dLbl>
              <c:idx val="89"/>
              <c:tx>
                <c:rich>
                  <a:bodyPr/>
                  <a:lstStyle/>
                  <a:p>
                    <a:fld id="{03A9BC48-C65D-4AEF-BD3F-2C83406037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1-8E3F-4D1B-A313-C02BEC0FDBD1}"/>
                </c:ext>
              </c:extLst>
            </c:dLbl>
            <c:dLbl>
              <c:idx val="90"/>
              <c:tx>
                <c:rich>
                  <a:bodyPr/>
                  <a:lstStyle/>
                  <a:p>
                    <a:fld id="{4D521DAA-81AE-430C-BF32-99205D6EC6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2-8E3F-4D1B-A313-C02BEC0FDBD1}"/>
                </c:ext>
              </c:extLst>
            </c:dLbl>
            <c:dLbl>
              <c:idx val="91"/>
              <c:tx>
                <c:rich>
                  <a:bodyPr/>
                  <a:lstStyle/>
                  <a:p>
                    <a:fld id="{8DEEDEC6-547E-4168-93AE-7810A307C2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3-8E3F-4D1B-A313-C02BEC0FDBD1}"/>
                </c:ext>
              </c:extLst>
            </c:dLbl>
            <c:dLbl>
              <c:idx val="92"/>
              <c:tx>
                <c:rich>
                  <a:bodyPr/>
                  <a:lstStyle/>
                  <a:p>
                    <a:fld id="{22D20FCF-1426-4B1B-B4A2-74E6184003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4-8E3F-4D1B-A313-C02BEC0FDBD1}"/>
                </c:ext>
              </c:extLst>
            </c:dLbl>
            <c:dLbl>
              <c:idx val="93"/>
              <c:tx>
                <c:rich>
                  <a:bodyPr/>
                  <a:lstStyle/>
                  <a:p>
                    <a:fld id="{9C41AB2D-F61E-4CC0-AE4C-D86819C76D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5-8E3F-4D1B-A313-C02BEC0FDBD1}"/>
                </c:ext>
              </c:extLst>
            </c:dLbl>
            <c:dLbl>
              <c:idx val="94"/>
              <c:tx>
                <c:rich>
                  <a:bodyPr/>
                  <a:lstStyle/>
                  <a:p>
                    <a:fld id="{5016D9D9-0E3C-4E93-8533-BE1D7D7E65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6-8E3F-4D1B-A313-C02BEC0FDBD1}"/>
                </c:ext>
              </c:extLst>
            </c:dLbl>
            <c:dLbl>
              <c:idx val="95"/>
              <c:tx>
                <c:rich>
                  <a:bodyPr/>
                  <a:lstStyle/>
                  <a:p>
                    <a:fld id="{73AD1623-B306-4291-8359-215FD81927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7-8E3F-4D1B-A313-C02BEC0FDBD1}"/>
                </c:ext>
              </c:extLst>
            </c:dLbl>
            <c:dLbl>
              <c:idx val="96"/>
              <c:tx>
                <c:rich>
                  <a:bodyPr/>
                  <a:lstStyle/>
                  <a:p>
                    <a:fld id="{F357D98C-832D-4471-9F15-6868B41AA6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8-8E3F-4D1B-A313-C02BEC0FDBD1}"/>
                </c:ext>
              </c:extLst>
            </c:dLbl>
            <c:dLbl>
              <c:idx val="97"/>
              <c:tx>
                <c:rich>
                  <a:bodyPr/>
                  <a:lstStyle/>
                  <a:p>
                    <a:fld id="{2C70DF55-253D-4BF0-A7F9-CEFE3FAD1C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9-8E3F-4D1B-A313-C02BEC0FDBD1}"/>
                </c:ext>
              </c:extLst>
            </c:dLbl>
            <c:dLbl>
              <c:idx val="98"/>
              <c:tx>
                <c:rich>
                  <a:bodyPr/>
                  <a:lstStyle/>
                  <a:p>
                    <a:fld id="{A92FB39D-5135-46B0-A4D9-43C6E73C42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A-8E3F-4D1B-A313-C02BEC0FDBD1}"/>
                </c:ext>
              </c:extLst>
            </c:dLbl>
            <c:dLbl>
              <c:idx val="99"/>
              <c:tx>
                <c:rich>
                  <a:bodyPr/>
                  <a:lstStyle/>
                  <a:p>
                    <a:fld id="{3E2C05A3-CFED-48A1-9698-7EF6190AF8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B-8E3F-4D1B-A313-C02BEC0FDBD1}"/>
                </c:ext>
              </c:extLst>
            </c:dLbl>
            <c:dLbl>
              <c:idx val="100"/>
              <c:tx>
                <c:rich>
                  <a:bodyPr/>
                  <a:lstStyle/>
                  <a:p>
                    <a:fld id="{65B9F744-3626-4C19-9769-54D9119833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C-8E3F-4D1B-A313-C02BEC0FDBD1}"/>
                </c:ext>
              </c:extLst>
            </c:dLbl>
            <c:dLbl>
              <c:idx val="101"/>
              <c:tx>
                <c:rich>
                  <a:bodyPr/>
                  <a:lstStyle/>
                  <a:p>
                    <a:fld id="{F9DAF2B9-B497-4225-B08B-5B30DF3CE0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D-8E3F-4D1B-A313-C02BEC0FDBD1}"/>
                </c:ext>
              </c:extLst>
            </c:dLbl>
            <c:dLbl>
              <c:idx val="102"/>
              <c:tx>
                <c:rich>
                  <a:bodyPr/>
                  <a:lstStyle/>
                  <a:p>
                    <a:fld id="{59CE18A5-8FBB-4F10-9DCC-D6239B252C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E-8E3F-4D1B-A313-C02BEC0FDBD1}"/>
                </c:ext>
              </c:extLst>
            </c:dLbl>
            <c:dLbl>
              <c:idx val="103"/>
              <c:tx>
                <c:rich>
                  <a:bodyPr/>
                  <a:lstStyle/>
                  <a:p>
                    <a:fld id="{F8D963A8-5E6C-4CC2-AB44-3A658B9E85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F-8E3F-4D1B-A313-C02BEC0FDBD1}"/>
                </c:ext>
              </c:extLst>
            </c:dLbl>
            <c:dLbl>
              <c:idx val="104"/>
              <c:tx>
                <c:rich>
                  <a:bodyPr/>
                  <a:lstStyle/>
                  <a:p>
                    <a:fld id="{F14939E4-775E-4234-9B88-202A166736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0-8E3F-4D1B-A313-C02BEC0FDBD1}"/>
                </c:ext>
              </c:extLst>
            </c:dLbl>
            <c:dLbl>
              <c:idx val="105"/>
              <c:tx>
                <c:rich>
                  <a:bodyPr/>
                  <a:lstStyle/>
                  <a:p>
                    <a:fld id="{2DC86EF2-9C8A-4933-AB85-CF1DB3CF71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1-8E3F-4D1B-A313-C02BEC0FDBD1}"/>
                </c:ext>
              </c:extLst>
            </c:dLbl>
            <c:dLbl>
              <c:idx val="106"/>
              <c:tx>
                <c:rich>
                  <a:bodyPr/>
                  <a:lstStyle/>
                  <a:p>
                    <a:fld id="{210D8DB7-B505-473C-82E4-C625A04C31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2-8E3F-4D1B-A313-C02BEC0FDBD1}"/>
                </c:ext>
              </c:extLst>
            </c:dLbl>
            <c:dLbl>
              <c:idx val="107"/>
              <c:tx>
                <c:rich>
                  <a:bodyPr/>
                  <a:lstStyle/>
                  <a:p>
                    <a:fld id="{410C520E-03EF-4ED5-83C1-460435F684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3-8E3F-4D1B-A313-C02BEC0FDBD1}"/>
                </c:ext>
              </c:extLst>
            </c:dLbl>
            <c:dLbl>
              <c:idx val="108"/>
              <c:tx>
                <c:rich>
                  <a:bodyPr/>
                  <a:lstStyle/>
                  <a:p>
                    <a:fld id="{7A304703-EFC7-4101-BA70-74158C7C22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4-8E3F-4D1B-A313-C02BEC0FDBD1}"/>
                </c:ext>
              </c:extLst>
            </c:dLbl>
            <c:dLbl>
              <c:idx val="109"/>
              <c:tx>
                <c:rich>
                  <a:bodyPr/>
                  <a:lstStyle/>
                  <a:p>
                    <a:fld id="{78277E76-DD03-4D20-93F7-8040521BCD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5-8E3F-4D1B-A313-C02BEC0FDBD1}"/>
                </c:ext>
              </c:extLst>
            </c:dLbl>
            <c:dLbl>
              <c:idx val="110"/>
              <c:tx>
                <c:rich>
                  <a:bodyPr/>
                  <a:lstStyle/>
                  <a:p>
                    <a:fld id="{9E9C86C5-8EE1-4AE9-8CA0-0D665EC310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6-8E3F-4D1B-A313-C02BEC0FDBD1}"/>
                </c:ext>
              </c:extLst>
            </c:dLbl>
            <c:dLbl>
              <c:idx val="111"/>
              <c:tx>
                <c:rich>
                  <a:bodyPr/>
                  <a:lstStyle/>
                  <a:p>
                    <a:fld id="{BF9FD180-7C5F-407F-885F-5BCD7C6FF5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7-8E3F-4D1B-A313-C02BEC0FDBD1}"/>
                </c:ext>
              </c:extLst>
            </c:dLbl>
            <c:dLbl>
              <c:idx val="112"/>
              <c:tx>
                <c:rich>
                  <a:bodyPr/>
                  <a:lstStyle/>
                  <a:p>
                    <a:fld id="{A98AD1AE-D5C7-42B7-A7C4-8F7D015E7C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8-8E3F-4D1B-A313-C02BEC0FDBD1}"/>
                </c:ext>
              </c:extLst>
            </c:dLbl>
            <c:dLbl>
              <c:idx val="113"/>
              <c:tx>
                <c:rich>
                  <a:bodyPr/>
                  <a:lstStyle/>
                  <a:p>
                    <a:fld id="{043D16F7-F54A-40C4-926B-31AE1E55E5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9-8E3F-4D1B-A313-C02BEC0FDBD1}"/>
                </c:ext>
              </c:extLst>
            </c:dLbl>
            <c:dLbl>
              <c:idx val="114"/>
              <c:tx>
                <c:rich>
                  <a:bodyPr/>
                  <a:lstStyle/>
                  <a:p>
                    <a:fld id="{61AA2120-A379-483F-AB26-C8CB86817C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A-8E3F-4D1B-A313-C02BEC0FDBD1}"/>
                </c:ext>
              </c:extLst>
            </c:dLbl>
            <c:dLbl>
              <c:idx val="115"/>
              <c:tx>
                <c:rich>
                  <a:bodyPr/>
                  <a:lstStyle/>
                  <a:p>
                    <a:fld id="{03038147-6824-46E5-8AC4-BA528E76B3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D$2:$D$117</c:f>
              <c:numCache>
                <c:formatCode>General</c:formatCode>
                <c:ptCount val="116"/>
                <c:pt idx="0">
                  <c:v>1</c:v>
                </c:pt>
                <c:pt idx="1">
                  <c:v>1</c:v>
                </c:pt>
                <c:pt idx="2">
                  <c:v>1</c:v>
                </c:pt>
                <c:pt idx="3">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15" formatCode="0">
                  <c:v>1</c:v>
                </c:pt>
                <c:pt idx="16" formatCode="0">
                  <c:v>1</c:v>
                </c:pt>
                <c:pt idx="17" formatCode="0">
                  <c:v>2</c:v>
                </c:pt>
                <c:pt idx="18" formatCode="0">
                  <c:v>1</c:v>
                </c:pt>
                <c:pt idx="19" formatCode="0">
                  <c:v>2</c:v>
                </c:pt>
                <c:pt idx="20" formatCode="0">
                  <c:v>2</c:v>
                </c:pt>
                <c:pt idx="21" formatCode="0">
                  <c:v>2</c:v>
                </c:pt>
                <c:pt idx="22" formatCode="0">
                  <c:v>2</c:v>
                </c:pt>
                <c:pt idx="23" formatCode="0">
                  <c:v>2</c:v>
                </c:pt>
                <c:pt idx="24" formatCode="0">
                  <c:v>2</c:v>
                </c:pt>
                <c:pt idx="25" formatCode="0">
                  <c:v>2</c:v>
                </c:pt>
                <c:pt idx="26" formatCode="0">
                  <c:v>2</c:v>
                </c:pt>
                <c:pt idx="27">
                  <c:v>2</c:v>
                </c:pt>
                <c:pt idx="28">
                  <c:v>2</c:v>
                </c:pt>
                <c:pt idx="29">
                  <c:v>2</c:v>
                </c:pt>
                <c:pt idx="30">
                  <c:v>2</c:v>
                </c:pt>
                <c:pt idx="31">
                  <c:v>3</c:v>
                </c:pt>
                <c:pt idx="32">
                  <c:v>3</c:v>
                </c:pt>
                <c:pt idx="33">
                  <c:v>3</c:v>
                </c:pt>
                <c:pt idx="34">
                  <c:v>3</c:v>
                </c:pt>
                <c:pt idx="35">
                  <c:v>3</c:v>
                </c:pt>
                <c:pt idx="36">
                  <c:v>3</c:v>
                </c:pt>
                <c:pt idx="37">
                  <c:v>3</c:v>
                </c:pt>
                <c:pt idx="38">
                  <c:v>3</c:v>
                </c:pt>
                <c:pt idx="39">
                  <c:v>3</c:v>
                </c:pt>
                <c:pt idx="40">
                  <c:v>3</c:v>
                </c:pt>
                <c:pt idx="41">
                  <c:v>3</c:v>
                </c:pt>
                <c:pt idx="42">
                  <c:v>3</c:v>
                </c:pt>
                <c:pt idx="43">
                  <c:v>3</c:v>
                </c:pt>
                <c:pt idx="44">
                  <c:v>4</c:v>
                </c:pt>
                <c:pt idx="45">
                  <c:v>4</c:v>
                </c:pt>
                <c:pt idx="46">
                  <c:v>4</c:v>
                </c:pt>
                <c:pt idx="47">
                  <c:v>4</c:v>
                </c:pt>
                <c:pt idx="48">
                  <c:v>4</c:v>
                </c:pt>
                <c:pt idx="49">
                  <c:v>4</c:v>
                </c:pt>
                <c:pt idx="50">
                  <c:v>4</c:v>
                </c:pt>
                <c:pt idx="51">
                  <c:v>4</c:v>
                </c:pt>
                <c:pt idx="52">
                  <c:v>4</c:v>
                </c:pt>
                <c:pt idx="53">
                  <c:v>4</c:v>
                </c:pt>
                <c:pt idx="54">
                  <c:v>4</c:v>
                </c:pt>
                <c:pt idx="55">
                  <c:v>4</c:v>
                </c:pt>
                <c:pt idx="56">
                  <c:v>4</c:v>
                </c:pt>
                <c:pt idx="57">
                  <c:v>4</c:v>
                </c:pt>
                <c:pt idx="58">
                  <c:v>4</c:v>
                </c:pt>
                <c:pt idx="59">
                  <c:v>4</c:v>
                </c:pt>
                <c:pt idx="60">
                  <c:v>4</c:v>
                </c:pt>
                <c:pt idx="61">
                  <c:v>4</c:v>
                </c:pt>
                <c:pt idx="62">
                  <c:v>4</c:v>
                </c:pt>
                <c:pt idx="63">
                  <c:v>4</c:v>
                </c:pt>
                <c:pt idx="64">
                  <c:v>4</c:v>
                </c:pt>
                <c:pt idx="65">
                  <c:v>4</c:v>
                </c:pt>
                <c:pt idx="66">
                  <c:v>4</c:v>
                </c:pt>
                <c:pt idx="67">
                  <c:v>4</c:v>
                </c:pt>
                <c:pt idx="68">
                  <c:v>5</c:v>
                </c:pt>
                <c:pt idx="69">
                  <c:v>5</c:v>
                </c:pt>
                <c:pt idx="70">
                  <c:v>5</c:v>
                </c:pt>
                <c:pt idx="71">
                  <c:v>5</c:v>
                </c:pt>
                <c:pt idx="72">
                  <c:v>5</c:v>
                </c:pt>
                <c:pt idx="73">
                  <c:v>5</c:v>
                </c:pt>
                <c:pt idx="74">
                  <c:v>5</c:v>
                </c:pt>
                <c:pt idx="75">
                  <c:v>5</c:v>
                </c:pt>
                <c:pt idx="76">
                  <c:v>5</c:v>
                </c:pt>
                <c:pt idx="77">
                  <c:v>5</c:v>
                </c:pt>
                <c:pt idx="78">
                  <c:v>5</c:v>
                </c:pt>
                <c:pt idx="79">
                  <c:v>5</c:v>
                </c:pt>
                <c:pt idx="80">
                  <c:v>6</c:v>
                </c:pt>
                <c:pt idx="81">
                  <c:v>6</c:v>
                </c:pt>
                <c:pt idx="82">
                  <c:v>6</c:v>
                </c:pt>
                <c:pt idx="83">
                  <c:v>6</c:v>
                </c:pt>
                <c:pt idx="84">
                  <c:v>6</c:v>
                </c:pt>
                <c:pt idx="85">
                  <c:v>6</c:v>
                </c:pt>
                <c:pt idx="86">
                  <c:v>6</c:v>
                </c:pt>
                <c:pt idx="87">
                  <c:v>6</c:v>
                </c:pt>
                <c:pt idx="88">
                  <c:v>6</c:v>
                </c:pt>
                <c:pt idx="89">
                  <c:v>6</c:v>
                </c:pt>
                <c:pt idx="90">
                  <c:v>6</c:v>
                </c:pt>
                <c:pt idx="91">
                  <c:v>6</c:v>
                </c:pt>
                <c:pt idx="92">
                  <c:v>6</c:v>
                </c:pt>
                <c:pt idx="93">
                  <c:v>7</c:v>
                </c:pt>
                <c:pt idx="94">
                  <c:v>7</c:v>
                </c:pt>
                <c:pt idx="95">
                  <c:v>7</c:v>
                </c:pt>
                <c:pt idx="96">
                  <c:v>7</c:v>
                </c:pt>
                <c:pt idx="97">
                  <c:v>7</c:v>
                </c:pt>
                <c:pt idx="98">
                  <c:v>7</c:v>
                </c:pt>
                <c:pt idx="99">
                  <c:v>7</c:v>
                </c:pt>
                <c:pt idx="100">
                  <c:v>7</c:v>
                </c:pt>
                <c:pt idx="101">
                  <c:v>7</c:v>
                </c:pt>
                <c:pt idx="102">
                  <c:v>7</c:v>
                </c:pt>
                <c:pt idx="103">
                  <c:v>7</c:v>
                </c:pt>
                <c:pt idx="104">
                  <c:v>7</c:v>
                </c:pt>
                <c:pt idx="105">
                  <c:v>8</c:v>
                </c:pt>
                <c:pt idx="106">
                  <c:v>8</c:v>
                </c:pt>
                <c:pt idx="107">
                  <c:v>8</c:v>
                </c:pt>
                <c:pt idx="108">
                  <c:v>8</c:v>
                </c:pt>
                <c:pt idx="109">
                  <c:v>8</c:v>
                </c:pt>
                <c:pt idx="110">
                  <c:v>8</c:v>
                </c:pt>
                <c:pt idx="111">
                  <c:v>8</c:v>
                </c:pt>
                <c:pt idx="112">
                  <c:v>8</c:v>
                </c:pt>
                <c:pt idx="113">
                  <c:v>8</c:v>
                </c:pt>
                <c:pt idx="114">
                  <c:v>8</c:v>
                </c:pt>
                <c:pt idx="115">
                  <c:v>8</c:v>
                </c:pt>
              </c:numCache>
            </c:numRef>
          </c:xVal>
          <c:yVal>
            <c:numRef>
              <c:f>Sheet1!$B$2:$B$117</c:f>
              <c:numCache>
                <c:formatCode>0%;\-0%;0%</c:formatCode>
                <c:ptCount val="116"/>
                <c:pt idx="0">
                  <c:v>0.33537119853666614</c:v>
                </c:pt>
                <c:pt idx="1">
                  <c:v>1.3110575620733895</c:v>
                </c:pt>
                <c:pt idx="2">
                  <c:v>0.12281129115912857</c:v>
                </c:pt>
                <c:pt idx="3">
                  <c:v>0.52740423038450002</c:v>
                </c:pt>
                <c:pt idx="4">
                  <c:v>0.23394614817291179</c:v>
                </c:pt>
                <c:pt idx="5">
                  <c:v>0.40424723346828612</c:v>
                </c:pt>
                <c:pt idx="6">
                  <c:v>1.0381094546405629</c:v>
                </c:pt>
                <c:pt idx="7">
                  <c:v>0.39464140468177511</c:v>
                </c:pt>
                <c:pt idx="8">
                  <c:v>1.0804710500490677</c:v>
                </c:pt>
                <c:pt idx="9">
                  <c:v>0.29756844074137051</c:v>
                </c:pt>
                <c:pt idx="10">
                  <c:v>0.34245897269923464</c:v>
                </c:pt>
                <c:pt idx="11">
                  <c:v>0.64309733708988459</c:v>
                </c:pt>
                <c:pt idx="12">
                  <c:v>7.6182838813151563E-3</c:v>
                </c:pt>
                <c:pt idx="13">
                  <c:v>7.2727272727272724E-2</c:v>
                </c:pt>
                <c:pt idx="14">
                  <c:v>9.4564818215203822E-2</c:v>
                </c:pt>
                <c:pt idx="15">
                  <c:v>0.97732228521587439</c:v>
                </c:pt>
                <c:pt idx="16">
                  <c:v>0.12916246215943492</c:v>
                </c:pt>
                <c:pt idx="17">
                  <c:v>0</c:v>
                </c:pt>
                <c:pt idx="18">
                  <c:v>0</c:v>
                </c:pt>
                <c:pt idx="19">
                  <c:v>0.67651164854893464</c:v>
                </c:pt>
                <c:pt idx="20">
                  <c:v>1.189595592135231</c:v>
                </c:pt>
                <c:pt idx="21">
                  <c:v>0.17901899226560691</c:v>
                </c:pt>
                <c:pt idx="22">
                  <c:v>1.1122736936699982</c:v>
                </c:pt>
                <c:pt idx="23">
                  <c:v>0.85910295216250121</c:v>
                </c:pt>
                <c:pt idx="24">
                  <c:v>0.98060814099444116</c:v>
                </c:pt>
                <c:pt idx="25">
                  <c:v>0.54450632951838152</c:v>
                </c:pt>
                <c:pt idx="26">
                  <c:v>0.56422668334309645</c:v>
                </c:pt>
                <c:pt idx="27">
                  <c:v>0.30859076520030565</c:v>
                </c:pt>
                <c:pt idx="28">
                  <c:v>-5.088408644400786E-2</c:v>
                </c:pt>
                <c:pt idx="29">
                  <c:v>0.48655046266408436</c:v>
                </c:pt>
                <c:pt idx="30">
                  <c:v>5.8252427184466021E-2</c:v>
                </c:pt>
                <c:pt idx="31">
                  <c:v>0.57528207397007924</c:v>
                </c:pt>
                <c:pt idx="32">
                  <c:v>0</c:v>
                </c:pt>
                <c:pt idx="33">
                  <c:v>0.34969330141134647</c:v>
                </c:pt>
                <c:pt idx="34">
                  <c:v>9.3618913842698215E-2</c:v>
                </c:pt>
                <c:pt idx="35">
                  <c:v>0.39086369781125707</c:v>
                </c:pt>
                <c:pt idx="36">
                  <c:v>0.53102946813067886</c:v>
                </c:pt>
                <c:pt idx="37">
                  <c:v>0.30671829359418518</c:v>
                </c:pt>
                <c:pt idx="38">
                  <c:v>4.7373658397896083E-2</c:v>
                </c:pt>
                <c:pt idx="39">
                  <c:v>9.8011706773204491E-2</c:v>
                </c:pt>
                <c:pt idx="40">
                  <c:v>5.9622372365136428E-2</c:v>
                </c:pt>
                <c:pt idx="41">
                  <c:v>0.3325076129317282</c:v>
                </c:pt>
                <c:pt idx="42">
                  <c:v>1.6811941832822908E-2</c:v>
                </c:pt>
                <c:pt idx="43">
                  <c:v>0.13383247543284979</c:v>
                </c:pt>
                <c:pt idx="44">
                  <c:v>0.18520227334689512</c:v>
                </c:pt>
                <c:pt idx="45">
                  <c:v>0.15534287581423784</c:v>
                </c:pt>
                <c:pt idx="46">
                  <c:v>0.27216813979063992</c:v>
                </c:pt>
                <c:pt idx="47">
                  <c:v>0.14428544647878522</c:v>
                </c:pt>
                <c:pt idx="48">
                  <c:v>8.9574245868403263E-2</c:v>
                </c:pt>
                <c:pt idx="49">
                  <c:v>0.29961779961779961</c:v>
                </c:pt>
                <c:pt idx="50">
                  <c:v>0.32942695401728078</c:v>
                </c:pt>
                <c:pt idx="51">
                  <c:v>0.79519295870006768</c:v>
                </c:pt>
                <c:pt idx="52">
                  <c:v>5.1974626560261916E-2</c:v>
                </c:pt>
                <c:pt idx="53">
                  <c:v>-2.5057825751734774E-2</c:v>
                </c:pt>
                <c:pt idx="54">
                  <c:v>-0.28899835796387519</c:v>
                </c:pt>
                <c:pt idx="55">
                  <c:v>0</c:v>
                </c:pt>
                <c:pt idx="56" formatCode="0.00%">
                  <c:v>0.18520227334689512</c:v>
                </c:pt>
                <c:pt idx="57" formatCode="0.00%">
                  <c:v>0.15534287581423784</c:v>
                </c:pt>
                <c:pt idx="58" formatCode="0.00%">
                  <c:v>0.27216813979063992</c:v>
                </c:pt>
                <c:pt idx="59" formatCode="0.00%">
                  <c:v>0.14428544647878522</c:v>
                </c:pt>
                <c:pt idx="60" formatCode="0.00%">
                  <c:v>8.9574245868403263E-2</c:v>
                </c:pt>
                <c:pt idx="61" formatCode="0.00%">
                  <c:v>0.29961779961779961</c:v>
                </c:pt>
                <c:pt idx="62" formatCode="0.00%">
                  <c:v>0.32942695401728078</c:v>
                </c:pt>
                <c:pt idx="63" formatCode="0.00%">
                  <c:v>0.79519295870006768</c:v>
                </c:pt>
                <c:pt idx="64" formatCode="0.00%">
                  <c:v>5.1974626560261916E-2</c:v>
                </c:pt>
                <c:pt idx="65" formatCode="0.00%">
                  <c:v>-2.5057825751734774E-2</c:v>
                </c:pt>
                <c:pt idx="66" formatCode="0.00%">
                  <c:v>-0.28899835796387519</c:v>
                </c:pt>
                <c:pt idx="67" formatCode="0.00%">
                  <c:v>0</c:v>
                </c:pt>
                <c:pt idx="68" formatCode="General">
                  <c:v>0.18520227334689512</c:v>
                </c:pt>
                <c:pt idx="69" formatCode="General">
                  <c:v>0.15534287581423784</c:v>
                </c:pt>
                <c:pt idx="70" formatCode="General">
                  <c:v>0.27216813979063992</c:v>
                </c:pt>
                <c:pt idx="71" formatCode="General">
                  <c:v>0.14428544647878522</c:v>
                </c:pt>
                <c:pt idx="72" formatCode="General">
                  <c:v>8.9574245868403263E-2</c:v>
                </c:pt>
                <c:pt idx="73" formatCode="General">
                  <c:v>0.29961779961779961</c:v>
                </c:pt>
                <c:pt idx="74" formatCode="General">
                  <c:v>0.32942695401728078</c:v>
                </c:pt>
                <c:pt idx="75" formatCode="General">
                  <c:v>0.79519295870006768</c:v>
                </c:pt>
                <c:pt idx="76" formatCode="General">
                  <c:v>5.1974626560261916E-2</c:v>
                </c:pt>
                <c:pt idx="77" formatCode="General">
                  <c:v>-2.5057825751734774E-2</c:v>
                </c:pt>
                <c:pt idx="78" formatCode="General">
                  <c:v>-0.28899835796387519</c:v>
                </c:pt>
                <c:pt idx="79" formatCode="General">
                  <c:v>0</c:v>
                </c:pt>
                <c:pt idx="80" formatCode="General">
                  <c:v>0</c:v>
                </c:pt>
                <c:pt idx="81" formatCode="General">
                  <c:v>0.18520227334689512</c:v>
                </c:pt>
                <c:pt idx="82" formatCode="General">
                  <c:v>0.15534287581423784</c:v>
                </c:pt>
                <c:pt idx="83" formatCode="General">
                  <c:v>0.27216813979063992</c:v>
                </c:pt>
                <c:pt idx="84" formatCode="General">
                  <c:v>0.14428544647878522</c:v>
                </c:pt>
                <c:pt idx="85" formatCode="General">
                  <c:v>8.9574245868403263E-2</c:v>
                </c:pt>
                <c:pt idx="86" formatCode="General">
                  <c:v>0.29961779961779961</c:v>
                </c:pt>
                <c:pt idx="87" formatCode="General">
                  <c:v>0.32942695401728078</c:v>
                </c:pt>
                <c:pt idx="88" formatCode="General">
                  <c:v>0.79519295870006768</c:v>
                </c:pt>
                <c:pt idx="89" formatCode="General">
                  <c:v>5.1974626560261916E-2</c:v>
                </c:pt>
                <c:pt idx="90" formatCode="General">
                  <c:v>-2.5057825751734774E-2</c:v>
                </c:pt>
                <c:pt idx="91" formatCode="General">
                  <c:v>-0.28899835796387519</c:v>
                </c:pt>
                <c:pt idx="92" formatCode="General">
                  <c:v>0</c:v>
                </c:pt>
                <c:pt idx="93" formatCode="General">
                  <c:v>0.18520227334689512</c:v>
                </c:pt>
                <c:pt idx="94" formatCode="General">
                  <c:v>0.15534287581423784</c:v>
                </c:pt>
                <c:pt idx="95" formatCode="General">
                  <c:v>0.27216813979063992</c:v>
                </c:pt>
                <c:pt idx="96" formatCode="General">
                  <c:v>0.14428544647878522</c:v>
                </c:pt>
                <c:pt idx="97" formatCode="General">
                  <c:v>8.9574245868403263E-2</c:v>
                </c:pt>
                <c:pt idx="98" formatCode="General">
                  <c:v>0.29961779961779961</c:v>
                </c:pt>
                <c:pt idx="99" formatCode="General">
                  <c:v>0.32942695401728078</c:v>
                </c:pt>
                <c:pt idx="100" formatCode="General">
                  <c:v>0.79519295870006768</c:v>
                </c:pt>
                <c:pt idx="101" formatCode="General">
                  <c:v>5.1974626560261916E-2</c:v>
                </c:pt>
                <c:pt idx="102" formatCode="General">
                  <c:v>-2.5057825751734774E-2</c:v>
                </c:pt>
                <c:pt idx="103" formatCode="General">
                  <c:v>-0.28899835796387519</c:v>
                </c:pt>
                <c:pt idx="104" formatCode="General">
                  <c:v>0</c:v>
                </c:pt>
                <c:pt idx="105" formatCode="General">
                  <c:v>0.15534287581423784</c:v>
                </c:pt>
                <c:pt idx="106" formatCode="General">
                  <c:v>0.27216813979063992</c:v>
                </c:pt>
                <c:pt idx="107" formatCode="General">
                  <c:v>0.14428544647878522</c:v>
                </c:pt>
                <c:pt idx="108" formatCode="General">
                  <c:v>8.9574245868403263E-2</c:v>
                </c:pt>
                <c:pt idx="109" formatCode="General">
                  <c:v>0.29961779961779961</c:v>
                </c:pt>
                <c:pt idx="110" formatCode="General">
                  <c:v>0.32942695401728078</c:v>
                </c:pt>
                <c:pt idx="111" formatCode="General">
                  <c:v>0.79519295870006768</c:v>
                </c:pt>
                <c:pt idx="112" formatCode="General">
                  <c:v>5.1974626560261916E-2</c:v>
                </c:pt>
                <c:pt idx="113" formatCode="General">
                  <c:v>-2.5057825751734774E-2</c:v>
                </c:pt>
                <c:pt idx="114" formatCode="General">
                  <c:v>-0.28899835796387519</c:v>
                </c:pt>
                <c:pt idx="115" formatCode="General">
                  <c:v>0</c:v>
                </c:pt>
              </c:numCache>
            </c:numRef>
          </c:yVal>
          <c:bubbleSize>
            <c:numRef>
              <c:f>Sheet1!$C$2:$C$117</c:f>
              <c:numCache>
                <c:formatCode>0%;\-0%;0%</c:formatCode>
                <c:ptCount val="116"/>
                <c:pt idx="0">
                  <c:v>4111084</c:v>
                </c:pt>
                <c:pt idx="1">
                  <c:v>1160533</c:v>
                </c:pt>
                <c:pt idx="2">
                  <c:v>1117212</c:v>
                </c:pt>
                <c:pt idx="3">
                  <c:v>504428</c:v>
                </c:pt>
                <c:pt idx="4">
                  <c:v>459435</c:v>
                </c:pt>
                <c:pt idx="5">
                  <c:v>386077</c:v>
                </c:pt>
                <c:pt idx="6">
                  <c:v>277647</c:v>
                </c:pt>
                <c:pt idx="7">
                  <c:v>222216</c:v>
                </c:pt>
                <c:pt idx="8">
                  <c:v>108739</c:v>
                </c:pt>
                <c:pt idx="9">
                  <c:v>100141</c:v>
                </c:pt>
                <c:pt idx="10">
                  <c:v>18851</c:v>
                </c:pt>
                <c:pt idx="11">
                  <c:v>13981</c:v>
                </c:pt>
                <c:pt idx="12">
                  <c:v>10864</c:v>
                </c:pt>
                <c:pt idx="13">
                  <c:v>7717</c:v>
                </c:pt>
                <c:pt idx="14">
                  <c:v>7439</c:v>
                </c:pt>
                <c:pt idx="15">
                  <c:v>4428</c:v>
                </c:pt>
                <c:pt idx="16">
                  <c:v>1120</c:v>
                </c:pt>
                <c:pt idx="17">
                  <c:v>21</c:v>
                </c:pt>
                <c:pt idx="18">
                  <c:v>0</c:v>
                </c:pt>
                <c:pt idx="19">
                  <c:v>12037304</c:v>
                </c:pt>
                <c:pt idx="20">
                  <c:v>5124041</c:v>
                </c:pt>
                <c:pt idx="21">
                  <c:v>4271666</c:v>
                </c:pt>
                <c:pt idx="22">
                  <c:v>1061364</c:v>
                </c:pt>
                <c:pt idx="23">
                  <c:v>786468</c:v>
                </c:pt>
                <c:pt idx="24">
                  <c:v>606283</c:v>
                </c:pt>
                <c:pt idx="25">
                  <c:v>479058</c:v>
                </c:pt>
                <c:pt idx="26">
                  <c:v>306437</c:v>
                </c:pt>
                <c:pt idx="27">
                  <c:v>83930</c:v>
                </c:pt>
                <c:pt idx="28">
                  <c:v>32553</c:v>
                </c:pt>
                <c:pt idx="29">
                  <c:v>24613</c:v>
                </c:pt>
                <c:pt idx="30">
                  <c:v>42</c:v>
                </c:pt>
                <c:pt idx="31">
                  <c:v>16067456</c:v>
                </c:pt>
                <c:pt idx="32">
                  <c:v>0</c:v>
                </c:pt>
                <c:pt idx="33">
                  <c:v>2257543</c:v>
                </c:pt>
                <c:pt idx="34">
                  <c:v>350113</c:v>
                </c:pt>
                <c:pt idx="35">
                  <c:v>238922</c:v>
                </c:pt>
                <c:pt idx="36">
                  <c:v>178620</c:v>
                </c:pt>
                <c:pt idx="37">
                  <c:v>98148</c:v>
                </c:pt>
                <c:pt idx="38">
                  <c:v>76752</c:v>
                </c:pt>
                <c:pt idx="39">
                  <c:v>59927</c:v>
                </c:pt>
                <c:pt idx="40">
                  <c:v>59154</c:v>
                </c:pt>
                <c:pt idx="41">
                  <c:v>58860</c:v>
                </c:pt>
                <c:pt idx="42">
                  <c:v>53214</c:v>
                </c:pt>
                <c:pt idx="43">
                  <c:v>45806</c:v>
                </c:pt>
                <c:pt idx="44">
                  <c:v>33868</c:v>
                </c:pt>
                <c:pt idx="45">
                  <c:v>28590</c:v>
                </c:pt>
                <c:pt idx="46">
                  <c:v>26827</c:v>
                </c:pt>
                <c:pt idx="47">
                  <c:v>15746</c:v>
                </c:pt>
                <c:pt idx="48">
                  <c:v>10871</c:v>
                </c:pt>
                <c:pt idx="49">
                  <c:v>10018</c:v>
                </c:pt>
                <c:pt idx="50">
                  <c:v>4962</c:v>
                </c:pt>
                <c:pt idx="51">
                  <c:v>4865</c:v>
                </c:pt>
                <c:pt idx="52">
                  <c:v>3900</c:v>
                </c:pt>
                <c:pt idx="53">
                  <c:v>1677</c:v>
                </c:pt>
                <c:pt idx="54">
                  <c:v>297</c:v>
                </c:pt>
                <c:pt idx="55">
                  <c:v>0</c:v>
                </c:pt>
                <c:pt idx="56" formatCode="General">
                  <c:v>33868</c:v>
                </c:pt>
                <c:pt idx="57" formatCode="General">
                  <c:v>28590</c:v>
                </c:pt>
                <c:pt idx="58" formatCode="General">
                  <c:v>26827</c:v>
                </c:pt>
                <c:pt idx="59" formatCode="General">
                  <c:v>15746</c:v>
                </c:pt>
                <c:pt idx="60" formatCode="General">
                  <c:v>10871</c:v>
                </c:pt>
                <c:pt idx="61" formatCode="General">
                  <c:v>10018</c:v>
                </c:pt>
                <c:pt idx="62" formatCode="General">
                  <c:v>4962</c:v>
                </c:pt>
                <c:pt idx="63" formatCode="General">
                  <c:v>4865</c:v>
                </c:pt>
                <c:pt idx="64" formatCode="General">
                  <c:v>3900</c:v>
                </c:pt>
                <c:pt idx="65" formatCode="General">
                  <c:v>1677</c:v>
                </c:pt>
                <c:pt idx="66" formatCode="General">
                  <c:v>297</c:v>
                </c:pt>
                <c:pt idx="67" formatCode="General">
                  <c:v>0</c:v>
                </c:pt>
                <c:pt idx="68" formatCode="General">
                  <c:v>33868</c:v>
                </c:pt>
                <c:pt idx="69" formatCode="General">
                  <c:v>28590</c:v>
                </c:pt>
                <c:pt idx="70" formatCode="General">
                  <c:v>26827</c:v>
                </c:pt>
                <c:pt idx="71" formatCode="General">
                  <c:v>15746</c:v>
                </c:pt>
                <c:pt idx="72" formatCode="General">
                  <c:v>10871</c:v>
                </c:pt>
                <c:pt idx="73" formatCode="General">
                  <c:v>10018</c:v>
                </c:pt>
                <c:pt idx="74" formatCode="General">
                  <c:v>4962</c:v>
                </c:pt>
                <c:pt idx="75" formatCode="General">
                  <c:v>4865</c:v>
                </c:pt>
                <c:pt idx="76" formatCode="General">
                  <c:v>3900</c:v>
                </c:pt>
                <c:pt idx="77" formatCode="General">
                  <c:v>1677</c:v>
                </c:pt>
                <c:pt idx="78" formatCode="General">
                  <c:v>297</c:v>
                </c:pt>
                <c:pt idx="79" formatCode="General">
                  <c:v>0</c:v>
                </c:pt>
                <c:pt idx="80" formatCode="General">
                  <c:v>0</c:v>
                </c:pt>
                <c:pt idx="81" formatCode="General">
                  <c:v>33868</c:v>
                </c:pt>
                <c:pt idx="82" formatCode="General">
                  <c:v>28590</c:v>
                </c:pt>
                <c:pt idx="83" formatCode="General">
                  <c:v>26827</c:v>
                </c:pt>
                <c:pt idx="84" formatCode="General">
                  <c:v>15746</c:v>
                </c:pt>
                <c:pt idx="85" formatCode="General">
                  <c:v>10871</c:v>
                </c:pt>
                <c:pt idx="86" formatCode="General">
                  <c:v>10018</c:v>
                </c:pt>
                <c:pt idx="87" formatCode="General">
                  <c:v>4962</c:v>
                </c:pt>
                <c:pt idx="88" formatCode="General">
                  <c:v>4865</c:v>
                </c:pt>
                <c:pt idx="89" formatCode="General">
                  <c:v>3900</c:v>
                </c:pt>
                <c:pt idx="90" formatCode="General">
                  <c:v>1677</c:v>
                </c:pt>
                <c:pt idx="91" formatCode="General">
                  <c:v>297</c:v>
                </c:pt>
                <c:pt idx="92" formatCode="General">
                  <c:v>0</c:v>
                </c:pt>
                <c:pt idx="93" formatCode="General">
                  <c:v>33868</c:v>
                </c:pt>
                <c:pt idx="94" formatCode="General">
                  <c:v>28590</c:v>
                </c:pt>
                <c:pt idx="95" formatCode="General">
                  <c:v>26827</c:v>
                </c:pt>
                <c:pt idx="96" formatCode="General">
                  <c:v>15746</c:v>
                </c:pt>
                <c:pt idx="97" formatCode="General">
                  <c:v>10871</c:v>
                </c:pt>
                <c:pt idx="98" formatCode="General">
                  <c:v>10018</c:v>
                </c:pt>
                <c:pt idx="99" formatCode="General">
                  <c:v>4962</c:v>
                </c:pt>
                <c:pt idx="100" formatCode="General">
                  <c:v>4865</c:v>
                </c:pt>
                <c:pt idx="101" formatCode="General">
                  <c:v>3900</c:v>
                </c:pt>
                <c:pt idx="102" formatCode="General">
                  <c:v>1677</c:v>
                </c:pt>
                <c:pt idx="103" formatCode="General">
                  <c:v>297</c:v>
                </c:pt>
                <c:pt idx="104" formatCode="General">
                  <c:v>0</c:v>
                </c:pt>
                <c:pt idx="105" formatCode="General">
                  <c:v>28590</c:v>
                </c:pt>
                <c:pt idx="106" formatCode="General">
                  <c:v>26827</c:v>
                </c:pt>
                <c:pt idx="107" formatCode="General">
                  <c:v>15746</c:v>
                </c:pt>
                <c:pt idx="108" formatCode="General">
                  <c:v>10871</c:v>
                </c:pt>
                <c:pt idx="109" formatCode="General">
                  <c:v>10018</c:v>
                </c:pt>
                <c:pt idx="110" formatCode="General">
                  <c:v>4962</c:v>
                </c:pt>
                <c:pt idx="111" formatCode="General">
                  <c:v>4865</c:v>
                </c:pt>
                <c:pt idx="112" formatCode="General">
                  <c:v>3900</c:v>
                </c:pt>
                <c:pt idx="113" formatCode="General">
                  <c:v>1677</c:v>
                </c:pt>
                <c:pt idx="114" formatCode="General">
                  <c:v>297</c:v>
                </c:pt>
                <c:pt idx="115" formatCode="General">
                  <c:v>0</c:v>
                </c:pt>
              </c:numCache>
            </c:numRef>
          </c:bubbleSize>
          <c:bubble3D val="0"/>
          <c:extLst>
            <c:ext xmlns:c15="http://schemas.microsoft.com/office/drawing/2012/chart" uri="{02D57815-91ED-43cb-92C2-25804820EDAC}">
              <c15:datalabelsRange>
                <c15:f>Sheet1!$E$2:$E$150</c15:f>
                <c15:dlblRangeCache>
                  <c:ptCount val="149"/>
                  <c:pt idx="0">
                    <c:v>Findus</c:v>
                  </c:pt>
                  <c:pt idx="1">
                    <c:v>Pescanova S.A.</c:v>
                  </c:pt>
                  <c:pt idx="2">
                    <c:v>Private Label</c:v>
                  </c:pt>
                  <c:pt idx="3">
                    <c:v>Frosta</c:v>
                  </c:pt>
                  <c:pt idx="4">
                    <c:v>Panapesca</c:v>
                  </c:pt>
                  <c:pt idx="5">
                    <c:v>Other</c:v>
                  </c:pt>
                  <c:pt idx="6">
                    <c:v>Esca Srl</c:v>
                  </c:pt>
                  <c:pt idx="7">
                    <c:v>Arbi Dario Spa</c:v>
                  </c:pt>
                  <c:pt idx="8">
                    <c:v>Krusta Group</c:v>
                  </c:pt>
                  <c:pt idx="9">
                    <c:v>Fandicosta</c:v>
                  </c:pt>
                  <c:pt idx="10">
                    <c:v>Green Ice</c:v>
                  </c:pt>
                  <c:pt idx="11">
                    <c:v>Alpe Srl - Roma</c:v>
                  </c:pt>
                  <c:pt idx="12">
                    <c:v>Conserviera Adriatica Spa</c:v>
                  </c:pt>
                  <c:pt idx="13">
                    <c:v>New Food</c:v>
                  </c:pt>
                  <c:pt idx="14">
                    <c:v>Agras 1947</c:v>
                  </c:pt>
                  <c:pt idx="15">
                    <c:v>Garbo Snc Di Comanducci Andrea</c:v>
                  </c:pt>
                  <c:pt idx="16">
                    <c:v>Vis Industrie Alimentari</c:v>
                  </c:pt>
                  <c:pt idx="17">
                    <c:v>Buitoni</c:v>
                  </c:pt>
                  <c:pt idx="18">
                    <c:v>Mittico</c:v>
                  </c:pt>
                  <c:pt idx="19">
                    <c:v>Findus</c:v>
                  </c:pt>
                  <c:pt idx="20">
                    <c:v>Frosta</c:v>
                  </c:pt>
                  <c:pt idx="21">
                    <c:v>Private Label</c:v>
                  </c:pt>
                  <c:pt idx="22">
                    <c:v>Krusta Group</c:v>
                  </c:pt>
                  <c:pt idx="23">
                    <c:v>Pescanova S.A.</c:v>
                  </c:pt>
                  <c:pt idx="24">
                    <c:v>Esca Srl</c:v>
                  </c:pt>
                  <c:pt idx="25">
                    <c:v>Arbi Dario Spa</c:v>
                  </c:pt>
                  <c:pt idx="26">
                    <c:v>Emme Gel</c:v>
                  </c:pt>
                  <c:pt idx="27">
                    <c:v>Green Ice</c:v>
                  </c:pt>
                  <c:pt idx="28">
                    <c:v>Other</c:v>
                  </c:pt>
                  <c:pt idx="29">
                    <c:v>Soavegel</c:v>
                  </c:pt>
                  <c:pt idx="30">
                    <c:v>Buitoni</c:v>
                  </c:pt>
                  <c:pt idx="31">
                    <c:v>Findus</c:v>
                  </c:pt>
                  <c:pt idx="32">
                    <c:v>Other</c:v>
                  </c:pt>
                  <c:pt idx="33">
                    <c:v>Findus</c:v>
                  </c:pt>
                  <c:pt idx="34">
                    <c:v>Private Label</c:v>
                  </c:pt>
                  <c:pt idx="35">
                    <c:v>Esca Srl</c:v>
                  </c:pt>
                  <c:pt idx="36">
                    <c:v>Agras 1947</c:v>
                  </c:pt>
                  <c:pt idx="37">
                    <c:v>Frosta</c:v>
                  </c:pt>
                  <c:pt idx="38">
                    <c:v>Other</c:v>
                  </c:pt>
                  <c:pt idx="39">
                    <c:v>New Food</c:v>
                  </c:pt>
                  <c:pt idx="40">
                    <c:v>Noriberica</c:v>
                  </c:pt>
                  <c:pt idx="41">
                    <c:v>Krusta Group</c:v>
                  </c:pt>
                  <c:pt idx="42">
                    <c:v>Nai Prodotti Ittici</c:v>
                  </c:pt>
                  <c:pt idx="43">
                    <c:v>Green Ice</c:v>
                  </c:pt>
                  <c:pt idx="44">
                    <c:v>Pescanova S.A.</c:v>
                  </c:pt>
                  <c:pt idx="45">
                    <c:v>Alpe Srl - Roma</c:v>
                  </c:pt>
                  <c:pt idx="46">
                    <c:v>Appetais Italia Spa</c:v>
                  </c:pt>
                  <c:pt idx="47">
                    <c:v>Royal Greenland</c:v>
                  </c:pt>
                  <c:pt idx="48">
                    <c:v>Panapesca</c:v>
                  </c:pt>
                  <c:pt idx="49">
                    <c:v>Conserviera Adriatica Spa</c:v>
                  </c:pt>
                  <c:pt idx="50">
                    <c:v>Gerfrio</c:v>
                  </c:pt>
                  <c:pt idx="51">
                    <c:v>Garbo Snc Di Comanducci Andrea</c:v>
                  </c:pt>
                  <c:pt idx="52">
                    <c:v>Vis Industrie Alimentari</c:v>
                  </c:pt>
                  <c:pt idx="53">
                    <c:v>Soavegel</c:v>
                  </c:pt>
                  <c:pt idx="54">
                    <c:v>Nettuno Alimentari Srl</c:v>
                  </c:pt>
                  <c:pt idx="55">
                    <c:v>Buitoni</c:v>
                  </c:pt>
                  <c:pt idx="56">
                    <c:v>Pescanova S.A.</c:v>
                  </c:pt>
                  <c:pt idx="57">
                    <c:v>Alpe Srl - Roma</c:v>
                  </c:pt>
                  <c:pt idx="58">
                    <c:v>Appetais Italia Spa</c:v>
                  </c:pt>
                  <c:pt idx="59">
                    <c:v>Royal Greenland</c:v>
                  </c:pt>
                  <c:pt idx="60">
                    <c:v>Panapesca</c:v>
                  </c:pt>
                  <c:pt idx="61">
                    <c:v>Conserviera Adriatica Spa</c:v>
                  </c:pt>
                  <c:pt idx="62">
                    <c:v>Gerfrio</c:v>
                  </c:pt>
                  <c:pt idx="63">
                    <c:v>Garbo Snc Di Comanducci Andrea</c:v>
                  </c:pt>
                  <c:pt idx="64">
                    <c:v>Vis Industrie Alimentari</c:v>
                  </c:pt>
                  <c:pt idx="65">
                    <c:v>Soavegel</c:v>
                  </c:pt>
                  <c:pt idx="66">
                    <c:v>Nettuno Alimentari Srl</c:v>
                  </c:pt>
                  <c:pt idx="67">
                    <c:v>Buitoni</c:v>
                  </c:pt>
                  <c:pt idx="68">
                    <c:v>Pescanova S.A.</c:v>
                  </c:pt>
                  <c:pt idx="69">
                    <c:v>Alpe Srl - Roma</c:v>
                  </c:pt>
                  <c:pt idx="70">
                    <c:v>Appetais Italia Spa</c:v>
                  </c:pt>
                  <c:pt idx="71">
                    <c:v>Royal Greenland</c:v>
                  </c:pt>
                  <c:pt idx="72">
                    <c:v>Panapesca</c:v>
                  </c:pt>
                  <c:pt idx="73">
                    <c:v>Conserviera Adriatica Spa</c:v>
                  </c:pt>
                  <c:pt idx="74">
                    <c:v>Gerfrio</c:v>
                  </c:pt>
                  <c:pt idx="75">
                    <c:v>Garbo Snc Di Comanducci Andrea</c:v>
                  </c:pt>
                  <c:pt idx="76">
                    <c:v>Vis Industrie Alimentari</c:v>
                  </c:pt>
                  <c:pt idx="77">
                    <c:v>Soavegel</c:v>
                  </c:pt>
                  <c:pt idx="78">
                    <c:v>Nettuno Alimentari Srl</c:v>
                  </c:pt>
                  <c:pt idx="79">
                    <c:v>Buitoni</c:v>
                  </c:pt>
                  <c:pt idx="80">
                    <c:v>Buitoni</c:v>
                  </c:pt>
                  <c:pt idx="81">
                    <c:v>Pescanova S.A.</c:v>
                  </c:pt>
                  <c:pt idx="82">
                    <c:v>Alpe Srl - Roma</c:v>
                  </c:pt>
                  <c:pt idx="83">
                    <c:v>Appetais Italia Spa</c:v>
                  </c:pt>
                  <c:pt idx="84">
                    <c:v>Royal Greenland</c:v>
                  </c:pt>
                  <c:pt idx="85">
                    <c:v>Panapesca</c:v>
                  </c:pt>
                  <c:pt idx="86">
                    <c:v>Conserviera Adriatica Spa</c:v>
                  </c:pt>
                  <c:pt idx="87">
                    <c:v>Gerfrio</c:v>
                  </c:pt>
                  <c:pt idx="88">
                    <c:v>Garbo Snc Di Comanducci Andrea</c:v>
                  </c:pt>
                  <c:pt idx="89">
                    <c:v>Vis Industrie Alimentari</c:v>
                  </c:pt>
                  <c:pt idx="90">
                    <c:v>Soavegel</c:v>
                  </c:pt>
                  <c:pt idx="91">
                    <c:v>Nettuno Alimentari Srl</c:v>
                  </c:pt>
                  <c:pt idx="92">
                    <c:v>Buitoni</c:v>
                  </c:pt>
                  <c:pt idx="93">
                    <c:v>Pescanova S.A.</c:v>
                  </c:pt>
                  <c:pt idx="94">
                    <c:v>Alpe Srl - Roma</c:v>
                  </c:pt>
                  <c:pt idx="95">
                    <c:v>Appetais Italia Spa</c:v>
                  </c:pt>
                  <c:pt idx="96">
                    <c:v>Royal Greenland</c:v>
                  </c:pt>
                  <c:pt idx="97">
                    <c:v>Panapesca</c:v>
                  </c:pt>
                  <c:pt idx="98">
                    <c:v>Conserviera Adriatica Spa</c:v>
                  </c:pt>
                  <c:pt idx="99">
                    <c:v>Gerfrio</c:v>
                  </c:pt>
                  <c:pt idx="100">
                    <c:v>Garbo Snc Di Comanducci Andrea</c:v>
                  </c:pt>
                  <c:pt idx="101">
                    <c:v>Vis Industrie Alimentari</c:v>
                  </c:pt>
                  <c:pt idx="102">
                    <c:v>Soavegel</c:v>
                  </c:pt>
                  <c:pt idx="103">
                    <c:v>Nettuno Alimentari Srl</c:v>
                  </c:pt>
                  <c:pt idx="104">
                    <c:v>Buitoni</c:v>
                  </c:pt>
                  <c:pt idx="105">
                    <c:v>Alpe Srl - Roma</c:v>
                  </c:pt>
                  <c:pt idx="106">
                    <c:v>Appetais Italia Spa</c:v>
                  </c:pt>
                  <c:pt idx="107">
                    <c:v>Royal Greenland</c:v>
                  </c:pt>
                  <c:pt idx="108">
                    <c:v>Panapesca</c:v>
                  </c:pt>
                  <c:pt idx="109">
                    <c:v>Conserviera Adriatica Spa</c:v>
                  </c:pt>
                  <c:pt idx="110">
                    <c:v>Gerfrio</c:v>
                  </c:pt>
                  <c:pt idx="111">
                    <c:v>Garbo Snc Di Comanducci Andrea</c:v>
                  </c:pt>
                  <c:pt idx="112">
                    <c:v>Vis Industrie Alimentari</c:v>
                  </c:pt>
                  <c:pt idx="113">
                    <c:v>Soavegel</c:v>
                  </c:pt>
                  <c:pt idx="114">
                    <c:v>Nettuno Alimentari Srl</c:v>
                  </c:pt>
                  <c:pt idx="115">
                    <c:v>Buitoni</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5"/>
          <c:min val="0.5"/>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4864197530864"/>
          <c:y val="0.12152940918360107"/>
          <c:w val="0.83974691358024689"/>
          <c:h val="0.72254306602702423"/>
        </c:manualLayout>
      </c:layout>
      <c:bubbleChart>
        <c:varyColors val="0"/>
        <c:ser>
          <c:idx val="0"/>
          <c:order val="0"/>
          <c:tx>
            <c:strRef>
              <c:f>Sheet1!$B$1</c:f>
              <c:strCache>
                <c:ptCount val="1"/>
                <c:pt idx="0">
                  <c:v>Average Value uplift</c:v>
                </c:pt>
              </c:strCache>
            </c:strRef>
          </c:tx>
          <c:spPr>
            <a:solidFill>
              <a:schemeClr val="bg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26FB-4B52-8D72-D56D618E8EAF}"/>
              </c:ext>
            </c:extLst>
          </c:dPt>
          <c:dPt>
            <c:idx val="1"/>
            <c:invertIfNegative val="0"/>
            <c:bubble3D val="0"/>
            <c:spPr>
              <a:solidFill>
                <a:schemeClr val="bg2"/>
              </a:solidFill>
              <a:ln>
                <a:noFill/>
              </a:ln>
              <a:effectLst/>
            </c:spPr>
            <c:extLst>
              <c:ext xmlns:c16="http://schemas.microsoft.com/office/drawing/2014/chart" uri="{C3380CC4-5D6E-409C-BE32-E72D297353CC}">
                <c16:uniqueId val="{00000003-26FB-4B52-8D72-D56D618E8EAF}"/>
              </c:ext>
            </c:extLst>
          </c:dPt>
          <c:dPt>
            <c:idx val="2"/>
            <c:invertIfNegative val="0"/>
            <c:bubble3D val="0"/>
            <c:spPr>
              <a:solidFill>
                <a:schemeClr val="bg2"/>
              </a:solidFill>
              <a:ln>
                <a:noFill/>
              </a:ln>
              <a:effectLst/>
            </c:spPr>
            <c:extLst>
              <c:ext xmlns:c16="http://schemas.microsoft.com/office/drawing/2014/chart" uri="{C3380CC4-5D6E-409C-BE32-E72D297353CC}">
                <c16:uniqueId val="{00000005-26FB-4B52-8D72-D56D618E8EAF}"/>
              </c:ext>
            </c:extLst>
          </c:dPt>
          <c:dPt>
            <c:idx val="3"/>
            <c:invertIfNegative val="0"/>
            <c:bubble3D val="0"/>
            <c:extLst>
              <c:ext xmlns:c16="http://schemas.microsoft.com/office/drawing/2014/chart" uri="{C3380CC4-5D6E-409C-BE32-E72D297353CC}">
                <c16:uniqueId val="{00000007-26FB-4B52-8D72-D56D618E8EAF}"/>
              </c:ext>
            </c:extLst>
          </c:dPt>
          <c:dPt>
            <c:idx val="4"/>
            <c:invertIfNegative val="0"/>
            <c:bubble3D val="0"/>
            <c:extLst>
              <c:ext xmlns:c16="http://schemas.microsoft.com/office/drawing/2014/chart" uri="{C3380CC4-5D6E-409C-BE32-E72D297353CC}">
                <c16:uniqueId val="{00000009-26FB-4B52-8D72-D56D618E8EAF}"/>
              </c:ext>
            </c:extLst>
          </c:dPt>
          <c:dPt>
            <c:idx val="5"/>
            <c:invertIfNegative val="0"/>
            <c:bubble3D val="0"/>
            <c:extLst>
              <c:ext xmlns:c16="http://schemas.microsoft.com/office/drawing/2014/chart" uri="{C3380CC4-5D6E-409C-BE32-E72D297353CC}">
                <c16:uniqueId val="{0000000B-26FB-4B52-8D72-D56D618E8EAF}"/>
              </c:ext>
            </c:extLst>
          </c:dPt>
          <c:dPt>
            <c:idx val="6"/>
            <c:invertIfNegative val="0"/>
            <c:bubble3D val="0"/>
            <c:spPr>
              <a:solidFill>
                <a:schemeClr val="bg2"/>
              </a:solidFill>
              <a:ln>
                <a:noFill/>
              </a:ln>
              <a:effectLst/>
            </c:spPr>
            <c:extLst>
              <c:ext xmlns:c16="http://schemas.microsoft.com/office/drawing/2014/chart" uri="{C3380CC4-5D6E-409C-BE32-E72D297353CC}">
                <c16:uniqueId val="{0000000D-26FB-4B52-8D72-D56D618E8EAF}"/>
              </c:ext>
            </c:extLst>
          </c:dPt>
          <c:dPt>
            <c:idx val="7"/>
            <c:invertIfNegative val="0"/>
            <c:bubble3D val="0"/>
            <c:spPr>
              <a:solidFill>
                <a:schemeClr val="bg2"/>
              </a:solidFill>
              <a:ln>
                <a:noFill/>
              </a:ln>
              <a:effectLst/>
            </c:spPr>
            <c:extLst>
              <c:ext xmlns:c16="http://schemas.microsoft.com/office/drawing/2014/chart" uri="{C3380CC4-5D6E-409C-BE32-E72D297353CC}">
                <c16:uniqueId val="{0000000F-26FB-4B52-8D72-D56D618E8EAF}"/>
              </c:ext>
            </c:extLst>
          </c:dPt>
          <c:dPt>
            <c:idx val="8"/>
            <c:invertIfNegative val="0"/>
            <c:bubble3D val="0"/>
            <c:spPr>
              <a:solidFill>
                <a:schemeClr val="bg2"/>
              </a:solidFill>
              <a:ln>
                <a:noFill/>
              </a:ln>
              <a:effectLst/>
            </c:spPr>
            <c:extLst>
              <c:ext xmlns:c16="http://schemas.microsoft.com/office/drawing/2014/chart" uri="{C3380CC4-5D6E-409C-BE32-E72D297353CC}">
                <c16:uniqueId val="{00000011-26FB-4B52-8D72-D56D618E8EAF}"/>
              </c:ext>
            </c:extLst>
          </c:dPt>
          <c:dPt>
            <c:idx val="11"/>
            <c:invertIfNegative val="0"/>
            <c:bubble3D val="0"/>
            <c:spPr>
              <a:solidFill>
                <a:schemeClr val="bg2"/>
              </a:solidFill>
              <a:ln>
                <a:noFill/>
              </a:ln>
              <a:effectLst/>
            </c:spPr>
            <c:extLst>
              <c:ext xmlns:c16="http://schemas.microsoft.com/office/drawing/2014/chart" uri="{C3380CC4-5D6E-409C-BE32-E72D297353CC}">
                <c16:uniqueId val="{00000013-26FB-4B52-8D72-D56D618E8EAF}"/>
              </c:ext>
            </c:extLst>
          </c:dPt>
          <c:dPt>
            <c:idx val="12"/>
            <c:invertIfNegative val="0"/>
            <c:bubble3D val="0"/>
            <c:spPr>
              <a:solidFill>
                <a:schemeClr val="bg2"/>
              </a:solidFill>
              <a:ln>
                <a:noFill/>
              </a:ln>
              <a:effectLst/>
            </c:spPr>
            <c:extLst>
              <c:ext xmlns:c16="http://schemas.microsoft.com/office/drawing/2014/chart" uri="{C3380CC4-5D6E-409C-BE32-E72D297353CC}">
                <c16:uniqueId val="{00000002-7B2D-4A32-96D2-9C641BCDE5CC}"/>
              </c:ext>
            </c:extLst>
          </c:dPt>
          <c:dPt>
            <c:idx val="13"/>
            <c:invertIfNegative val="0"/>
            <c:bubble3D val="0"/>
            <c:extLst>
              <c:ext xmlns:c16="http://schemas.microsoft.com/office/drawing/2014/chart" uri="{C3380CC4-5D6E-409C-BE32-E72D297353CC}">
                <c16:uniqueId val="{00000017-26FB-4B52-8D72-D56D618E8EAF}"/>
              </c:ext>
            </c:extLst>
          </c:dPt>
          <c:dPt>
            <c:idx val="14"/>
            <c:invertIfNegative val="0"/>
            <c:bubble3D val="0"/>
            <c:spPr>
              <a:solidFill>
                <a:schemeClr val="bg2"/>
              </a:solidFill>
              <a:ln>
                <a:noFill/>
              </a:ln>
              <a:effectLst/>
            </c:spPr>
            <c:extLst>
              <c:ext xmlns:c16="http://schemas.microsoft.com/office/drawing/2014/chart" uri="{C3380CC4-5D6E-409C-BE32-E72D297353CC}">
                <c16:uniqueId val="{00000019-26FB-4B52-8D72-D56D618E8EAF}"/>
              </c:ext>
            </c:extLst>
          </c:dPt>
          <c:dPt>
            <c:idx val="15"/>
            <c:invertIfNegative val="0"/>
            <c:bubble3D val="0"/>
            <c:extLst>
              <c:ext xmlns:c16="http://schemas.microsoft.com/office/drawing/2014/chart" uri="{C3380CC4-5D6E-409C-BE32-E72D297353CC}">
                <c16:uniqueId val="{0000001C-26FB-4B52-8D72-D56D618E8EAF}"/>
              </c:ext>
            </c:extLst>
          </c:dPt>
          <c:dPt>
            <c:idx val="19"/>
            <c:invertIfNegative val="0"/>
            <c:bubble3D val="0"/>
            <c:spPr>
              <a:solidFill>
                <a:srgbClr val="7ECAC4"/>
              </a:solidFill>
              <a:ln>
                <a:noFill/>
              </a:ln>
              <a:effectLst/>
            </c:spPr>
            <c:extLst>
              <c:ext xmlns:c16="http://schemas.microsoft.com/office/drawing/2014/chart" uri="{C3380CC4-5D6E-409C-BE32-E72D297353CC}">
                <c16:uniqueId val="{00000002-0A6E-4C83-9A06-9C3309B2855E}"/>
              </c:ext>
            </c:extLst>
          </c:dPt>
          <c:dPt>
            <c:idx val="24"/>
            <c:invertIfNegative val="0"/>
            <c:bubble3D val="0"/>
            <c:spPr>
              <a:solidFill>
                <a:schemeClr val="bg2"/>
              </a:solidFill>
              <a:ln>
                <a:noFill/>
              </a:ln>
              <a:effectLst/>
            </c:spPr>
            <c:extLst>
              <c:ext xmlns:c16="http://schemas.microsoft.com/office/drawing/2014/chart" uri="{C3380CC4-5D6E-409C-BE32-E72D297353CC}">
                <c16:uniqueId val="{00000005-0A6E-4C83-9A06-9C3309B2855E}"/>
              </c:ext>
            </c:extLst>
          </c:dPt>
          <c:dPt>
            <c:idx val="29"/>
            <c:invertIfNegative val="0"/>
            <c:bubble3D val="0"/>
            <c:extLst>
              <c:ext xmlns:c16="http://schemas.microsoft.com/office/drawing/2014/chart" uri="{C3380CC4-5D6E-409C-BE32-E72D297353CC}">
                <c16:uniqueId val="{00000003-8F47-486F-B734-6012CEA493B3}"/>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00-4D12-44DE-B956-CABCB15EBC04}"/>
              </c:ext>
            </c:extLst>
          </c:dPt>
          <c:dPt>
            <c:idx val="33"/>
            <c:invertIfNegative val="0"/>
            <c:bubble3D val="0"/>
            <c:spPr>
              <a:solidFill>
                <a:schemeClr val="accent2"/>
              </a:solidFill>
              <a:ln>
                <a:noFill/>
              </a:ln>
              <a:effectLst/>
            </c:spPr>
            <c:extLst>
              <c:ext xmlns:c16="http://schemas.microsoft.com/office/drawing/2014/chart" uri="{C3380CC4-5D6E-409C-BE32-E72D297353CC}">
                <c16:uniqueId val="{00000001-4D12-44DE-B956-CABCB15EBC04}"/>
              </c:ext>
            </c:extLst>
          </c:dPt>
          <c:dLbls>
            <c:dLbl>
              <c:idx val="0"/>
              <c:tx>
                <c:rich>
                  <a:bodyPr/>
                  <a:lstStyle/>
                  <a:p>
                    <a:fld id="{1C6E0CB7-00C2-4E96-9D58-78BC061887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FB-4B52-8D72-D56D618E8EAF}"/>
                </c:ext>
              </c:extLst>
            </c:dLbl>
            <c:dLbl>
              <c:idx val="1"/>
              <c:tx>
                <c:rich>
                  <a:bodyPr/>
                  <a:lstStyle/>
                  <a:p>
                    <a:fld id="{ADFC12B4-E3FF-4302-AE8A-E7192FBA9D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FB-4B52-8D72-D56D618E8EAF}"/>
                </c:ext>
              </c:extLst>
            </c:dLbl>
            <c:dLbl>
              <c:idx val="2"/>
              <c:tx>
                <c:rich>
                  <a:bodyPr/>
                  <a:lstStyle/>
                  <a:p>
                    <a:fld id="{DD1EE35D-5772-4F8D-B58D-EE69D2652B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6FB-4B52-8D72-D56D618E8EAF}"/>
                </c:ext>
              </c:extLst>
            </c:dLbl>
            <c:dLbl>
              <c:idx val="3"/>
              <c:tx>
                <c:rich>
                  <a:bodyPr/>
                  <a:lstStyle/>
                  <a:p>
                    <a:fld id="{1D4B0A3D-FFAD-499C-83BF-94B5F558A5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FB-4B52-8D72-D56D618E8EAF}"/>
                </c:ext>
              </c:extLst>
            </c:dLbl>
            <c:dLbl>
              <c:idx val="4"/>
              <c:tx>
                <c:rich>
                  <a:bodyPr/>
                  <a:lstStyle/>
                  <a:p>
                    <a:fld id="{A12423DA-D0DE-4650-B311-9D42A501DF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FB-4B52-8D72-D56D618E8EAF}"/>
                </c:ext>
              </c:extLst>
            </c:dLbl>
            <c:dLbl>
              <c:idx val="5"/>
              <c:tx>
                <c:rich>
                  <a:bodyPr/>
                  <a:lstStyle/>
                  <a:p>
                    <a:fld id="{43B74A5D-3285-443A-82B7-FC323363C1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6FB-4B52-8D72-D56D618E8EAF}"/>
                </c:ext>
              </c:extLst>
            </c:dLbl>
            <c:dLbl>
              <c:idx val="6"/>
              <c:tx>
                <c:rich>
                  <a:bodyPr/>
                  <a:lstStyle/>
                  <a:p>
                    <a:fld id="{4853C508-7167-4910-A17F-DAC148AE9B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6FB-4B52-8D72-D56D618E8EAF}"/>
                </c:ext>
              </c:extLst>
            </c:dLbl>
            <c:dLbl>
              <c:idx val="7"/>
              <c:tx>
                <c:rich>
                  <a:bodyPr/>
                  <a:lstStyle/>
                  <a:p>
                    <a:fld id="{8D6B571B-CD84-4701-A144-799494BA17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6FB-4B52-8D72-D56D618E8EAF}"/>
                </c:ext>
              </c:extLst>
            </c:dLbl>
            <c:dLbl>
              <c:idx val="8"/>
              <c:tx>
                <c:rich>
                  <a:bodyPr/>
                  <a:lstStyle/>
                  <a:p>
                    <a:fld id="{23F9A320-84DF-48C1-8257-6D4BB9F973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6FB-4B52-8D72-D56D618E8EAF}"/>
                </c:ext>
              </c:extLst>
            </c:dLbl>
            <c:dLbl>
              <c:idx val="9"/>
              <c:tx>
                <c:rich>
                  <a:bodyPr/>
                  <a:lstStyle/>
                  <a:p>
                    <a:fld id="{0E14AD80-9B2C-472C-B2BC-B482F04DC7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B2D-4A32-96D2-9C641BCDE5CC}"/>
                </c:ext>
              </c:extLst>
            </c:dLbl>
            <c:dLbl>
              <c:idx val="10"/>
              <c:tx>
                <c:rich>
                  <a:bodyPr/>
                  <a:lstStyle/>
                  <a:p>
                    <a:fld id="{605203CA-3BC6-45BC-A1E5-B2590C8C94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B2D-4A32-96D2-9C641BCDE5CC}"/>
                </c:ext>
              </c:extLst>
            </c:dLbl>
            <c:dLbl>
              <c:idx val="11"/>
              <c:tx>
                <c:rich>
                  <a:bodyPr/>
                  <a:lstStyle/>
                  <a:p>
                    <a:fld id="{A9496455-A8C3-4797-8769-176F33CB23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26FB-4B52-8D72-D56D618E8EAF}"/>
                </c:ext>
              </c:extLst>
            </c:dLbl>
            <c:dLbl>
              <c:idx val="12"/>
              <c:tx>
                <c:rich>
                  <a:bodyPr/>
                  <a:lstStyle/>
                  <a:p>
                    <a:fld id="{39F028A1-0FED-47FE-B147-B9E4CBEF00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B2D-4A32-96D2-9C641BCDE5CC}"/>
                </c:ext>
              </c:extLst>
            </c:dLbl>
            <c:dLbl>
              <c:idx val="13"/>
              <c:tx>
                <c:rich>
                  <a:bodyPr/>
                  <a:lstStyle/>
                  <a:p>
                    <a:fld id="{9945940E-A2AA-411B-AB4E-40B8EB1257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26FB-4B52-8D72-D56D618E8EAF}"/>
                </c:ext>
              </c:extLst>
            </c:dLbl>
            <c:dLbl>
              <c:idx val="14"/>
              <c:tx>
                <c:rich>
                  <a:bodyPr/>
                  <a:lstStyle/>
                  <a:p>
                    <a:fld id="{DA20CB5F-8579-42E6-AC40-0E048C5780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26FB-4B52-8D72-D56D618E8EAF}"/>
                </c:ext>
              </c:extLst>
            </c:dLbl>
            <c:dLbl>
              <c:idx val="15"/>
              <c:tx>
                <c:rich>
                  <a:bodyPr/>
                  <a:lstStyle/>
                  <a:p>
                    <a:fld id="{D8FD5086-83B0-400D-8A37-C2AE44CBBF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26FB-4B52-8D72-D56D618E8EAF}"/>
                </c:ext>
              </c:extLst>
            </c:dLbl>
            <c:dLbl>
              <c:idx val="16"/>
              <c:tx>
                <c:rich>
                  <a:bodyPr/>
                  <a:lstStyle/>
                  <a:p>
                    <a:fld id="{339DB593-C05B-47C9-9A58-0CEC740D9F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A6E-4C83-9A06-9C3309B2855E}"/>
                </c:ext>
              </c:extLst>
            </c:dLbl>
            <c:dLbl>
              <c:idx val="17"/>
              <c:tx>
                <c:rich>
                  <a:bodyPr/>
                  <a:lstStyle/>
                  <a:p>
                    <a:fld id="{7C8BEDF2-FADC-4B1D-83DB-5C39F10279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0A6E-4C83-9A06-9C3309B2855E}"/>
                </c:ext>
              </c:extLst>
            </c:dLbl>
            <c:dLbl>
              <c:idx val="18"/>
              <c:tx>
                <c:rich>
                  <a:bodyPr/>
                  <a:lstStyle/>
                  <a:p>
                    <a:fld id="{24CA0046-7D7C-4151-9E97-C3DAA65AE3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A6E-4C83-9A06-9C3309B2855E}"/>
                </c:ext>
              </c:extLst>
            </c:dLbl>
            <c:dLbl>
              <c:idx val="19"/>
              <c:tx>
                <c:rich>
                  <a:bodyPr/>
                  <a:lstStyle/>
                  <a:p>
                    <a:fld id="{EB7DC299-FA4F-4F28-AC7C-8BE4690C3A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A6E-4C83-9A06-9C3309B2855E}"/>
                </c:ext>
              </c:extLst>
            </c:dLbl>
            <c:dLbl>
              <c:idx val="20"/>
              <c:tx>
                <c:rich>
                  <a:bodyPr/>
                  <a:lstStyle/>
                  <a:p>
                    <a:fld id="{062CBFE7-587A-4978-9181-D961FFCD1C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C5AD-4BCF-9CB2-60EDA2D7DB42}"/>
                </c:ext>
              </c:extLst>
            </c:dLbl>
            <c:dLbl>
              <c:idx val="21"/>
              <c:tx>
                <c:rich>
                  <a:bodyPr/>
                  <a:lstStyle/>
                  <a:p>
                    <a:fld id="{CF95A080-5470-4246-9E90-CB920159A5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5AD-4BCF-9CB2-60EDA2D7DB42}"/>
                </c:ext>
              </c:extLst>
            </c:dLbl>
            <c:dLbl>
              <c:idx val="22"/>
              <c:tx>
                <c:rich>
                  <a:bodyPr/>
                  <a:lstStyle/>
                  <a:p>
                    <a:fld id="{159F8352-F001-4A98-8340-B3A9C88A88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5AD-4BCF-9CB2-60EDA2D7DB42}"/>
                </c:ext>
              </c:extLst>
            </c:dLbl>
            <c:dLbl>
              <c:idx val="23"/>
              <c:tx>
                <c:rich>
                  <a:bodyPr/>
                  <a:lstStyle/>
                  <a:p>
                    <a:fld id="{51921557-0368-4AF5-B764-CDBD9BE006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5AD-4BCF-9CB2-60EDA2D7DB42}"/>
                </c:ext>
              </c:extLst>
            </c:dLbl>
            <c:dLbl>
              <c:idx val="24"/>
              <c:tx>
                <c:rich>
                  <a:bodyPr/>
                  <a:lstStyle/>
                  <a:p>
                    <a:fld id="{237776B2-A7BC-41F0-B62E-B086FCA2DF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A6E-4C83-9A06-9C3309B2855E}"/>
                </c:ext>
              </c:extLst>
            </c:dLbl>
            <c:dLbl>
              <c:idx val="25"/>
              <c:tx>
                <c:rich>
                  <a:bodyPr/>
                  <a:lstStyle/>
                  <a:p>
                    <a:fld id="{68997FD7-B15C-421A-819B-D84DEE54E4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D12-44DE-B956-CABCB15EBC04}"/>
                </c:ext>
              </c:extLst>
            </c:dLbl>
            <c:dLbl>
              <c:idx val="26"/>
              <c:tx>
                <c:rich>
                  <a:bodyPr/>
                  <a:lstStyle/>
                  <a:p>
                    <a:fld id="{EE66C41E-68F5-4C9D-A65E-F5606BF5BD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D12-44DE-B956-CABCB15EBC04}"/>
                </c:ext>
              </c:extLst>
            </c:dLbl>
            <c:dLbl>
              <c:idx val="27"/>
              <c:tx>
                <c:rich>
                  <a:bodyPr/>
                  <a:lstStyle/>
                  <a:p>
                    <a:fld id="{C6AD4641-59F6-4ADB-8590-54C26BB10F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D12-44DE-B956-CABCB15EBC04}"/>
                </c:ext>
              </c:extLst>
            </c:dLbl>
            <c:dLbl>
              <c:idx val="28"/>
              <c:tx>
                <c:rich>
                  <a:bodyPr/>
                  <a:lstStyle/>
                  <a:p>
                    <a:fld id="{ABD39D02-D1B9-46A5-B780-A64AA23630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D12-44DE-B956-CABCB15EBC04}"/>
                </c:ext>
              </c:extLst>
            </c:dLbl>
            <c:dLbl>
              <c:idx val="29"/>
              <c:tx>
                <c:rich>
                  <a:bodyPr/>
                  <a:lstStyle/>
                  <a:p>
                    <a:fld id="{B8E94F45-8113-4421-B22F-C4F9FE49F9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47-486F-B734-6012CEA493B3}"/>
                </c:ext>
              </c:extLst>
            </c:dLbl>
            <c:dLbl>
              <c:idx val="30"/>
              <c:tx>
                <c:rich>
                  <a:bodyPr/>
                  <a:lstStyle/>
                  <a:p>
                    <a:fld id="{58942272-4326-41C7-B2B5-AA3A34C030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D12-44DE-B956-CABCB15EBC04}"/>
                </c:ext>
              </c:extLst>
            </c:dLbl>
            <c:dLbl>
              <c:idx val="31"/>
              <c:tx>
                <c:rich>
                  <a:bodyPr/>
                  <a:lstStyle/>
                  <a:p>
                    <a:fld id="{C2F437D0-4A94-40D5-B8E1-27BAAB3D1D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D12-44DE-B956-CABCB15EBC04}"/>
                </c:ext>
              </c:extLst>
            </c:dLbl>
            <c:dLbl>
              <c:idx val="32"/>
              <c:tx>
                <c:rich>
                  <a:bodyPr/>
                  <a:lstStyle/>
                  <a:p>
                    <a:fld id="{BF472E3D-4AFA-4B1D-86C7-2ACAB8EE57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D12-44DE-B956-CABCB15EBC04}"/>
                </c:ext>
              </c:extLst>
            </c:dLbl>
            <c:dLbl>
              <c:idx val="33"/>
              <c:tx>
                <c:rich>
                  <a:bodyPr/>
                  <a:lstStyle/>
                  <a:p>
                    <a:fld id="{C74F93C7-3589-490C-B002-6BE3976826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D12-44DE-B956-CABCB15EBC04}"/>
                </c:ext>
              </c:extLst>
            </c:dLbl>
            <c:dLbl>
              <c:idx val="34"/>
              <c:tx>
                <c:rich>
                  <a:bodyPr/>
                  <a:lstStyle/>
                  <a:p>
                    <a:fld id="{40C9830B-E0AF-44FE-B217-31158BDB68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D12-44DE-B956-CABCB15EBC04}"/>
                </c:ext>
              </c:extLst>
            </c:dLbl>
            <c:dLbl>
              <c:idx val="35"/>
              <c:tx>
                <c:rich>
                  <a:bodyPr/>
                  <a:lstStyle/>
                  <a:p>
                    <a:fld id="{22DFD152-C7D4-4C37-95A2-EA76ADB5C6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D12-44DE-B956-CABCB15EBC04}"/>
                </c:ext>
              </c:extLst>
            </c:dLbl>
            <c:dLbl>
              <c:idx val="36"/>
              <c:tx>
                <c:rich>
                  <a:bodyPr/>
                  <a:lstStyle/>
                  <a:p>
                    <a:fld id="{C8615417-DCAC-461C-B98C-0644AB622F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D12-44DE-B956-CABCB15EBC04}"/>
                </c:ext>
              </c:extLst>
            </c:dLbl>
            <c:dLbl>
              <c:idx val="37"/>
              <c:tx>
                <c:rich>
                  <a:bodyPr/>
                  <a:lstStyle/>
                  <a:p>
                    <a:fld id="{3506F844-75C2-41DC-ADEE-B5B2808564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D12-44DE-B956-CABCB15EBC04}"/>
                </c:ext>
              </c:extLst>
            </c:dLbl>
            <c:dLbl>
              <c:idx val="38"/>
              <c:tx>
                <c:rich>
                  <a:bodyPr/>
                  <a:lstStyle/>
                  <a:p>
                    <a:fld id="{EF27975E-B6F1-461E-A106-2C7055226E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D12-44DE-B956-CABCB15EBC04}"/>
                </c:ext>
              </c:extLst>
            </c:dLbl>
            <c:dLbl>
              <c:idx val="39"/>
              <c:tx>
                <c:rich>
                  <a:bodyPr/>
                  <a:lstStyle/>
                  <a:p>
                    <a:fld id="{92801F20-7DFA-49B6-B40C-252CE6CEF2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D12-44DE-B956-CABCB15EBC04}"/>
                </c:ext>
              </c:extLst>
            </c:dLbl>
            <c:dLbl>
              <c:idx val="40"/>
              <c:tx>
                <c:rich>
                  <a:bodyPr/>
                  <a:lstStyle/>
                  <a:p>
                    <a:fld id="{C12155FE-1E4A-4DC2-9D97-DD799EBEB5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D12-44DE-B956-CABCB15EBC04}"/>
                </c:ext>
              </c:extLst>
            </c:dLbl>
            <c:dLbl>
              <c:idx val="41"/>
              <c:tx>
                <c:rich>
                  <a:bodyPr/>
                  <a:lstStyle/>
                  <a:p>
                    <a:fld id="{55178BBC-0B4E-4B25-A8D9-6D46E80858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D12-44DE-B956-CABCB15EBC04}"/>
                </c:ext>
              </c:extLst>
            </c:dLbl>
            <c:dLbl>
              <c:idx val="42"/>
              <c:tx>
                <c:rich>
                  <a:bodyPr/>
                  <a:lstStyle/>
                  <a:p>
                    <a:fld id="{A941E966-9B46-44B9-AA80-21016EDE91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D12-44DE-B956-CABCB15EBC04}"/>
                </c:ext>
              </c:extLst>
            </c:dLbl>
            <c:dLbl>
              <c:idx val="43"/>
              <c:tx>
                <c:rich>
                  <a:bodyPr/>
                  <a:lstStyle/>
                  <a:p>
                    <a:fld id="{04896885-F686-47D8-8DF6-2FDE678EE5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D12-44DE-B956-CABCB15EBC04}"/>
                </c:ext>
              </c:extLst>
            </c:dLbl>
            <c:dLbl>
              <c:idx val="44"/>
              <c:tx>
                <c:rich>
                  <a:bodyPr/>
                  <a:lstStyle/>
                  <a:p>
                    <a:fld id="{84F96B8A-2BD8-4C68-ACB4-3CF77F651A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D12-44DE-B956-CABCB15EBC04}"/>
                </c:ext>
              </c:extLst>
            </c:dLbl>
            <c:dLbl>
              <c:idx val="45"/>
              <c:tx>
                <c:rich>
                  <a:bodyPr/>
                  <a:lstStyle/>
                  <a:p>
                    <a:fld id="{B57B61E8-EB43-4B2A-B9A3-6E15179142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D12-44DE-B956-CABCB15EBC04}"/>
                </c:ext>
              </c:extLst>
            </c:dLbl>
            <c:dLbl>
              <c:idx val="46"/>
              <c:tx>
                <c:rich>
                  <a:bodyPr/>
                  <a:lstStyle/>
                  <a:p>
                    <a:fld id="{4638CBC0-81E3-4E25-A99D-082DA36231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D12-44DE-B956-CABCB15EBC04}"/>
                </c:ext>
              </c:extLst>
            </c:dLbl>
            <c:dLbl>
              <c:idx val="47"/>
              <c:tx>
                <c:rich>
                  <a:bodyPr/>
                  <a:lstStyle/>
                  <a:p>
                    <a:fld id="{931548E1-1A43-4267-A8BC-EF0CD4408A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D12-44DE-B956-CABCB15EBC04}"/>
                </c:ext>
              </c:extLst>
            </c:dLbl>
            <c:dLbl>
              <c:idx val="48"/>
              <c:tx>
                <c:rich>
                  <a:bodyPr/>
                  <a:lstStyle/>
                  <a:p>
                    <a:fld id="{2A947B4C-86D6-4722-B98C-94DD038C1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D12-44DE-B956-CABCB15EBC04}"/>
                </c:ext>
              </c:extLst>
            </c:dLbl>
            <c:dLbl>
              <c:idx val="49"/>
              <c:tx>
                <c:rich>
                  <a:bodyPr/>
                  <a:lstStyle/>
                  <a:p>
                    <a:fld id="{9B5C182A-85E8-4391-8AB0-7B8C3772D1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D12-44DE-B956-CABCB15EBC04}"/>
                </c:ext>
              </c:extLst>
            </c:dLbl>
            <c:dLbl>
              <c:idx val="50"/>
              <c:tx>
                <c:rich>
                  <a:bodyPr/>
                  <a:lstStyle/>
                  <a:p>
                    <a:fld id="{BE40F55C-9CBB-4E08-A213-DCF580F094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D12-44DE-B956-CABCB15EBC04}"/>
                </c:ext>
              </c:extLst>
            </c:dLbl>
            <c:dLbl>
              <c:idx val="51"/>
              <c:tx>
                <c:rich>
                  <a:bodyPr/>
                  <a:lstStyle/>
                  <a:p>
                    <a:fld id="{66B0F9D1-79BA-4427-A844-035CC53DAA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D12-44DE-B956-CABCB15EBC04}"/>
                </c:ext>
              </c:extLst>
            </c:dLbl>
            <c:dLbl>
              <c:idx val="52"/>
              <c:tx>
                <c:rich>
                  <a:bodyPr/>
                  <a:lstStyle/>
                  <a:p>
                    <a:fld id="{AF339B40-4B7A-4A74-ACBD-B504065577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D12-44DE-B956-CABCB15EBC04}"/>
                </c:ext>
              </c:extLst>
            </c:dLbl>
            <c:dLbl>
              <c:idx val="53"/>
              <c:tx>
                <c:rich>
                  <a:bodyPr/>
                  <a:lstStyle/>
                  <a:p>
                    <a:fld id="{8D295C4D-0D3F-45B6-8252-E899D0FF83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D12-44DE-B956-CABCB15EBC04}"/>
                </c:ext>
              </c:extLst>
            </c:dLbl>
            <c:dLbl>
              <c:idx val="54"/>
              <c:tx>
                <c:rich>
                  <a:bodyPr/>
                  <a:lstStyle/>
                  <a:p>
                    <a:fld id="{4DA3F7FA-3021-44DF-9B83-FADBB335B7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D12-44DE-B956-CABCB15EBC04}"/>
                </c:ext>
              </c:extLst>
            </c:dLbl>
            <c:dLbl>
              <c:idx val="55"/>
              <c:tx>
                <c:rich>
                  <a:bodyPr/>
                  <a:lstStyle/>
                  <a:p>
                    <a:fld id="{388F88B1-5098-480B-B238-00A5E5AF36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D12-44DE-B956-CABCB15EBC04}"/>
                </c:ext>
              </c:extLst>
            </c:dLbl>
            <c:dLbl>
              <c:idx val="56"/>
              <c:tx>
                <c:rich>
                  <a:bodyPr/>
                  <a:lstStyle/>
                  <a:p>
                    <a:fld id="{819B8A7F-A950-46A6-BF88-0C6D28DC66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8E3F-4D1B-A313-C02BEC0FDBD1}"/>
                </c:ext>
              </c:extLst>
            </c:dLbl>
            <c:dLbl>
              <c:idx val="57"/>
              <c:tx>
                <c:rich>
                  <a:bodyPr/>
                  <a:lstStyle/>
                  <a:p>
                    <a:fld id="{D3EBE830-46D9-4499-A771-8601054A8A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8E3F-4D1B-A313-C02BEC0FDBD1}"/>
                </c:ext>
              </c:extLst>
            </c:dLbl>
            <c:dLbl>
              <c:idx val="58"/>
              <c:tx>
                <c:rich>
                  <a:bodyPr/>
                  <a:lstStyle/>
                  <a:p>
                    <a:fld id="{4D011A2C-46C2-4823-991D-450ABA1CC3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8E3F-4D1B-A313-C02BEC0FDBD1}"/>
                </c:ext>
              </c:extLst>
            </c:dLbl>
            <c:dLbl>
              <c:idx val="59"/>
              <c:tx>
                <c:rich>
                  <a:bodyPr/>
                  <a:lstStyle/>
                  <a:p>
                    <a:fld id="{586D8E64-1D71-4D0E-8513-D93971DE8C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8E3F-4D1B-A313-C02BEC0FDBD1}"/>
                </c:ext>
              </c:extLst>
            </c:dLbl>
            <c:dLbl>
              <c:idx val="60"/>
              <c:tx>
                <c:rich>
                  <a:bodyPr/>
                  <a:lstStyle/>
                  <a:p>
                    <a:fld id="{AC5FB091-4AF6-4929-9A26-754668ED7F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8E3F-4D1B-A313-C02BEC0FDBD1}"/>
                </c:ext>
              </c:extLst>
            </c:dLbl>
            <c:dLbl>
              <c:idx val="61"/>
              <c:tx>
                <c:rich>
                  <a:bodyPr/>
                  <a:lstStyle/>
                  <a:p>
                    <a:fld id="{A7C4B519-BC6A-446E-98B1-3F2E9F8AE8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8E3F-4D1B-A313-C02BEC0FDBD1}"/>
                </c:ext>
              </c:extLst>
            </c:dLbl>
            <c:dLbl>
              <c:idx val="62"/>
              <c:tx>
                <c:rich>
                  <a:bodyPr/>
                  <a:lstStyle/>
                  <a:p>
                    <a:fld id="{C9E65CFF-F85C-433C-9DFA-DC223BD1CB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8E3F-4D1B-A313-C02BEC0FDBD1}"/>
                </c:ext>
              </c:extLst>
            </c:dLbl>
            <c:dLbl>
              <c:idx val="63"/>
              <c:tx>
                <c:rich>
                  <a:bodyPr/>
                  <a:lstStyle/>
                  <a:p>
                    <a:fld id="{AB7A2183-B248-4BBB-AF58-B8E30ED888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8E3F-4D1B-A313-C02BEC0FDBD1}"/>
                </c:ext>
              </c:extLst>
            </c:dLbl>
            <c:dLbl>
              <c:idx val="64"/>
              <c:tx>
                <c:rich>
                  <a:bodyPr/>
                  <a:lstStyle/>
                  <a:p>
                    <a:fld id="{C4E7C48A-AFD7-4CF7-BD20-4EBE8CC14D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8E3F-4D1B-A313-C02BEC0FDBD1}"/>
                </c:ext>
              </c:extLst>
            </c:dLbl>
            <c:dLbl>
              <c:idx val="65"/>
              <c:tx>
                <c:rich>
                  <a:bodyPr/>
                  <a:lstStyle/>
                  <a:p>
                    <a:fld id="{0C102882-1F04-402C-B8E9-272F52D2DA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8E3F-4D1B-A313-C02BEC0FDBD1}"/>
                </c:ext>
              </c:extLst>
            </c:dLbl>
            <c:dLbl>
              <c:idx val="66"/>
              <c:tx>
                <c:rich>
                  <a:bodyPr/>
                  <a:lstStyle/>
                  <a:p>
                    <a:fld id="{A56B560B-7DA7-4137-B973-2F8B20BBF6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8E3F-4D1B-A313-C02BEC0FDBD1}"/>
                </c:ext>
              </c:extLst>
            </c:dLbl>
            <c:dLbl>
              <c:idx val="67"/>
              <c:tx>
                <c:rich>
                  <a:bodyPr/>
                  <a:lstStyle/>
                  <a:p>
                    <a:fld id="{3A758447-6992-4E15-846D-7E05468C8F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8E3F-4D1B-A313-C02BEC0FDBD1}"/>
                </c:ext>
              </c:extLst>
            </c:dLbl>
            <c:dLbl>
              <c:idx val="68"/>
              <c:tx>
                <c:rich>
                  <a:bodyPr/>
                  <a:lstStyle/>
                  <a:p>
                    <a:fld id="{577E2E98-6AF2-47B4-9609-27C64E10B0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8E3F-4D1B-A313-C02BEC0FDBD1}"/>
                </c:ext>
              </c:extLst>
            </c:dLbl>
            <c:dLbl>
              <c:idx val="69"/>
              <c:tx>
                <c:rich>
                  <a:bodyPr/>
                  <a:lstStyle/>
                  <a:p>
                    <a:fld id="{6B4684BE-BC00-4FDF-B3CC-57B2C8F03C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8E3F-4D1B-A313-C02BEC0FDBD1}"/>
                </c:ext>
              </c:extLst>
            </c:dLbl>
            <c:dLbl>
              <c:idx val="70"/>
              <c:tx>
                <c:rich>
                  <a:bodyPr/>
                  <a:lstStyle/>
                  <a:p>
                    <a:fld id="{7235586F-1302-43F8-AEA0-D89F5AB167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8E3F-4D1B-A313-C02BEC0FDBD1}"/>
                </c:ext>
              </c:extLst>
            </c:dLbl>
            <c:dLbl>
              <c:idx val="71"/>
              <c:tx>
                <c:rich>
                  <a:bodyPr/>
                  <a:lstStyle/>
                  <a:p>
                    <a:fld id="{1E909493-35DC-4186-B708-C53A86378D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8E3F-4D1B-A313-C02BEC0FDBD1}"/>
                </c:ext>
              </c:extLst>
            </c:dLbl>
            <c:dLbl>
              <c:idx val="72"/>
              <c:tx>
                <c:rich>
                  <a:bodyPr/>
                  <a:lstStyle/>
                  <a:p>
                    <a:fld id="{46508900-3314-4BD3-851E-5E96A841B7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8E3F-4D1B-A313-C02BEC0FDBD1}"/>
                </c:ext>
              </c:extLst>
            </c:dLbl>
            <c:dLbl>
              <c:idx val="73"/>
              <c:tx>
                <c:rich>
                  <a:bodyPr/>
                  <a:lstStyle/>
                  <a:p>
                    <a:fld id="{7A9421F1-F147-4B98-AB65-DC71BA36D3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8E3F-4D1B-A313-C02BEC0FDBD1}"/>
                </c:ext>
              </c:extLst>
            </c:dLbl>
            <c:dLbl>
              <c:idx val="74"/>
              <c:tx>
                <c:rich>
                  <a:bodyPr/>
                  <a:lstStyle/>
                  <a:p>
                    <a:fld id="{8CD380E3-83E5-4391-A501-F36FFA1BA6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8E3F-4D1B-A313-C02BEC0FDBD1}"/>
                </c:ext>
              </c:extLst>
            </c:dLbl>
            <c:dLbl>
              <c:idx val="75"/>
              <c:tx>
                <c:rich>
                  <a:bodyPr/>
                  <a:lstStyle/>
                  <a:p>
                    <a:fld id="{67E103DF-05EC-425D-B4F5-6474DE8E20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8E3F-4D1B-A313-C02BEC0FDBD1}"/>
                </c:ext>
              </c:extLst>
            </c:dLbl>
            <c:dLbl>
              <c:idx val="76"/>
              <c:tx>
                <c:rich>
                  <a:bodyPr/>
                  <a:lstStyle/>
                  <a:p>
                    <a:fld id="{87FD79EB-DA37-4354-AD05-DDF85350A3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8E3F-4D1B-A313-C02BEC0FDBD1}"/>
                </c:ext>
              </c:extLst>
            </c:dLbl>
            <c:dLbl>
              <c:idx val="77"/>
              <c:tx>
                <c:rich>
                  <a:bodyPr/>
                  <a:lstStyle/>
                  <a:p>
                    <a:fld id="{27DDF2C2-DEF8-4D34-B618-8A49D1B018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8E3F-4D1B-A313-C02BEC0FDBD1}"/>
                </c:ext>
              </c:extLst>
            </c:dLbl>
            <c:dLbl>
              <c:idx val="78"/>
              <c:tx>
                <c:rich>
                  <a:bodyPr/>
                  <a:lstStyle/>
                  <a:p>
                    <a:fld id="{7B37E408-57C9-4B1F-B166-3030DFC263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8E3F-4D1B-A313-C02BEC0FDBD1}"/>
                </c:ext>
              </c:extLst>
            </c:dLbl>
            <c:dLbl>
              <c:idx val="79"/>
              <c:tx>
                <c:rich>
                  <a:bodyPr/>
                  <a:lstStyle/>
                  <a:p>
                    <a:fld id="{CC9FF92B-E20D-4013-9025-0366B7A198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8E3F-4D1B-A313-C02BEC0FDBD1}"/>
                </c:ext>
              </c:extLst>
            </c:dLbl>
            <c:dLbl>
              <c:idx val="80"/>
              <c:tx>
                <c:rich>
                  <a:bodyPr/>
                  <a:lstStyle/>
                  <a:p>
                    <a:fld id="{4F1DEEC6-426F-4DF4-9F29-70294A0676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8E3F-4D1B-A313-C02BEC0FDBD1}"/>
                </c:ext>
              </c:extLst>
            </c:dLbl>
            <c:dLbl>
              <c:idx val="81"/>
              <c:tx>
                <c:rich>
                  <a:bodyPr/>
                  <a:lstStyle/>
                  <a:p>
                    <a:fld id="{5EE93F1D-62AE-4CD2-B03C-2213E4EB09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9-8E3F-4D1B-A313-C02BEC0FDBD1}"/>
                </c:ext>
              </c:extLst>
            </c:dLbl>
            <c:dLbl>
              <c:idx val="82"/>
              <c:tx>
                <c:rich>
                  <a:bodyPr/>
                  <a:lstStyle/>
                  <a:p>
                    <a:fld id="{473D200D-5DDE-455A-96F7-251563FBD7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A-8E3F-4D1B-A313-C02BEC0FDBD1}"/>
                </c:ext>
              </c:extLst>
            </c:dLbl>
            <c:dLbl>
              <c:idx val="83"/>
              <c:tx>
                <c:rich>
                  <a:bodyPr/>
                  <a:lstStyle/>
                  <a:p>
                    <a:fld id="{C59A844A-3112-4E5D-80EC-10B8F908E1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B-8E3F-4D1B-A313-C02BEC0FDBD1}"/>
                </c:ext>
              </c:extLst>
            </c:dLbl>
            <c:dLbl>
              <c:idx val="84"/>
              <c:tx>
                <c:rich>
                  <a:bodyPr/>
                  <a:lstStyle/>
                  <a:p>
                    <a:fld id="{CE18120A-0E63-4052-9DD8-0DA108B57E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C-8E3F-4D1B-A313-C02BEC0FDBD1}"/>
                </c:ext>
              </c:extLst>
            </c:dLbl>
            <c:dLbl>
              <c:idx val="85"/>
              <c:tx>
                <c:rich>
                  <a:bodyPr/>
                  <a:lstStyle/>
                  <a:p>
                    <a:fld id="{6F32BA66-8A40-460A-A233-08CE14E185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D-8E3F-4D1B-A313-C02BEC0FDBD1}"/>
                </c:ext>
              </c:extLst>
            </c:dLbl>
            <c:dLbl>
              <c:idx val="86"/>
              <c:tx>
                <c:rich>
                  <a:bodyPr/>
                  <a:lstStyle/>
                  <a:p>
                    <a:fld id="{AF765DF1-54E9-44F7-BAA3-90C48184C8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E-8E3F-4D1B-A313-C02BEC0FDBD1}"/>
                </c:ext>
              </c:extLst>
            </c:dLbl>
            <c:dLbl>
              <c:idx val="87"/>
              <c:tx>
                <c:rich>
                  <a:bodyPr/>
                  <a:lstStyle/>
                  <a:p>
                    <a:fld id="{829AB7A0-60C1-46A8-A920-D60C4B3222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F-8E3F-4D1B-A313-C02BEC0FDBD1}"/>
                </c:ext>
              </c:extLst>
            </c:dLbl>
            <c:dLbl>
              <c:idx val="88"/>
              <c:tx>
                <c:rich>
                  <a:bodyPr/>
                  <a:lstStyle/>
                  <a:p>
                    <a:fld id="{5A2ED2EF-025B-4D06-9647-6E76C4B5D8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0-8E3F-4D1B-A313-C02BEC0FDBD1}"/>
                </c:ext>
              </c:extLst>
            </c:dLbl>
            <c:dLbl>
              <c:idx val="89"/>
              <c:tx>
                <c:rich>
                  <a:bodyPr/>
                  <a:lstStyle/>
                  <a:p>
                    <a:fld id="{394FC29C-69CC-4F32-9181-C1AFDA3C81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1-8E3F-4D1B-A313-C02BEC0FDBD1}"/>
                </c:ext>
              </c:extLst>
            </c:dLbl>
            <c:dLbl>
              <c:idx val="90"/>
              <c:tx>
                <c:rich>
                  <a:bodyPr/>
                  <a:lstStyle/>
                  <a:p>
                    <a:fld id="{EA286068-6371-4BBC-A338-EC1A2E913B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2-8E3F-4D1B-A313-C02BEC0FDBD1}"/>
                </c:ext>
              </c:extLst>
            </c:dLbl>
            <c:dLbl>
              <c:idx val="91"/>
              <c:tx>
                <c:rich>
                  <a:bodyPr/>
                  <a:lstStyle/>
                  <a:p>
                    <a:fld id="{83C4A4D2-F94F-4D29-8697-D823E843A1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3-8E3F-4D1B-A313-C02BEC0FDBD1}"/>
                </c:ext>
              </c:extLst>
            </c:dLbl>
            <c:dLbl>
              <c:idx val="92"/>
              <c:tx>
                <c:rich>
                  <a:bodyPr/>
                  <a:lstStyle/>
                  <a:p>
                    <a:fld id="{DD7BBC24-D8E0-4633-B189-0DE16B22F2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4-8E3F-4D1B-A313-C02BEC0FDBD1}"/>
                </c:ext>
              </c:extLst>
            </c:dLbl>
            <c:dLbl>
              <c:idx val="93"/>
              <c:tx>
                <c:rich>
                  <a:bodyPr/>
                  <a:lstStyle/>
                  <a:p>
                    <a:fld id="{D97C9B26-6C19-4C90-8E96-9AF1E4A54D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5-8E3F-4D1B-A313-C02BEC0FDBD1}"/>
                </c:ext>
              </c:extLst>
            </c:dLbl>
            <c:dLbl>
              <c:idx val="94"/>
              <c:tx>
                <c:rich>
                  <a:bodyPr/>
                  <a:lstStyle/>
                  <a:p>
                    <a:fld id="{8A3DEF9D-A625-4016-A69F-4E2DAD6250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6-8E3F-4D1B-A313-C02BEC0FDBD1}"/>
                </c:ext>
              </c:extLst>
            </c:dLbl>
            <c:dLbl>
              <c:idx val="95"/>
              <c:tx>
                <c:rich>
                  <a:bodyPr/>
                  <a:lstStyle/>
                  <a:p>
                    <a:fld id="{C70C1A5F-CCC6-4110-9373-B7F6311405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7-8E3F-4D1B-A313-C02BEC0FDBD1}"/>
                </c:ext>
              </c:extLst>
            </c:dLbl>
            <c:dLbl>
              <c:idx val="96"/>
              <c:tx>
                <c:rich>
                  <a:bodyPr/>
                  <a:lstStyle/>
                  <a:p>
                    <a:fld id="{76CD6F30-7287-4A9B-A90F-23F0CA5643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8-8E3F-4D1B-A313-C02BEC0FDBD1}"/>
                </c:ext>
              </c:extLst>
            </c:dLbl>
            <c:dLbl>
              <c:idx val="97"/>
              <c:tx>
                <c:rich>
                  <a:bodyPr/>
                  <a:lstStyle/>
                  <a:p>
                    <a:fld id="{64E26E96-68DB-4EBE-8402-D09EDCA48E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9-8E3F-4D1B-A313-C02BEC0FDBD1}"/>
                </c:ext>
              </c:extLst>
            </c:dLbl>
            <c:dLbl>
              <c:idx val="98"/>
              <c:tx>
                <c:rich>
                  <a:bodyPr/>
                  <a:lstStyle/>
                  <a:p>
                    <a:fld id="{F6F2797A-C675-4608-8849-0A2648AE42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A-8E3F-4D1B-A313-C02BEC0FDBD1}"/>
                </c:ext>
              </c:extLst>
            </c:dLbl>
            <c:dLbl>
              <c:idx val="99"/>
              <c:tx>
                <c:rich>
                  <a:bodyPr/>
                  <a:lstStyle/>
                  <a:p>
                    <a:fld id="{6B164FCC-4E82-4193-A6FB-7F0EA5CD64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B-8E3F-4D1B-A313-C02BEC0FDBD1}"/>
                </c:ext>
              </c:extLst>
            </c:dLbl>
            <c:dLbl>
              <c:idx val="100"/>
              <c:tx>
                <c:rich>
                  <a:bodyPr/>
                  <a:lstStyle/>
                  <a:p>
                    <a:fld id="{4F199D8C-F4DE-4BDD-B1E9-576D52FAB9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C-8E3F-4D1B-A313-C02BEC0FDBD1}"/>
                </c:ext>
              </c:extLst>
            </c:dLbl>
            <c:dLbl>
              <c:idx val="101"/>
              <c:tx>
                <c:rich>
                  <a:bodyPr/>
                  <a:lstStyle/>
                  <a:p>
                    <a:fld id="{85CD2673-6FD1-4CD5-9DC8-CFFA15B19A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D-8E3F-4D1B-A313-C02BEC0FDBD1}"/>
                </c:ext>
              </c:extLst>
            </c:dLbl>
            <c:dLbl>
              <c:idx val="102"/>
              <c:tx>
                <c:rich>
                  <a:bodyPr/>
                  <a:lstStyle/>
                  <a:p>
                    <a:fld id="{331094A3-CE8B-4D3B-9532-51BDBC64BD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E-8E3F-4D1B-A313-C02BEC0FDBD1}"/>
                </c:ext>
              </c:extLst>
            </c:dLbl>
            <c:dLbl>
              <c:idx val="103"/>
              <c:tx>
                <c:rich>
                  <a:bodyPr/>
                  <a:lstStyle/>
                  <a:p>
                    <a:fld id="{A14A9593-0DC1-4110-B78F-154D2BE6B3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F-8E3F-4D1B-A313-C02BEC0FDBD1}"/>
                </c:ext>
              </c:extLst>
            </c:dLbl>
            <c:dLbl>
              <c:idx val="104"/>
              <c:tx>
                <c:rich>
                  <a:bodyPr/>
                  <a:lstStyle/>
                  <a:p>
                    <a:fld id="{A7B574B6-C4A2-460A-B933-AD58A2C2B3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0-8E3F-4D1B-A313-C02BEC0FDBD1}"/>
                </c:ext>
              </c:extLst>
            </c:dLbl>
            <c:dLbl>
              <c:idx val="105"/>
              <c:tx>
                <c:rich>
                  <a:bodyPr/>
                  <a:lstStyle/>
                  <a:p>
                    <a:fld id="{4512A41D-A21E-422D-966F-7031C532C7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1-8E3F-4D1B-A313-C02BEC0FDBD1}"/>
                </c:ext>
              </c:extLst>
            </c:dLbl>
            <c:dLbl>
              <c:idx val="106"/>
              <c:tx>
                <c:rich>
                  <a:bodyPr/>
                  <a:lstStyle/>
                  <a:p>
                    <a:fld id="{E22426B5-BA81-47CA-A151-CAAA502CDC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2-8E3F-4D1B-A313-C02BEC0FDBD1}"/>
                </c:ext>
              </c:extLst>
            </c:dLbl>
            <c:dLbl>
              <c:idx val="107"/>
              <c:tx>
                <c:rich>
                  <a:bodyPr/>
                  <a:lstStyle/>
                  <a:p>
                    <a:fld id="{2F2C62D9-0057-4437-8EFF-22D54907B3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3-8E3F-4D1B-A313-C02BEC0FDBD1}"/>
                </c:ext>
              </c:extLst>
            </c:dLbl>
            <c:dLbl>
              <c:idx val="108"/>
              <c:tx>
                <c:rich>
                  <a:bodyPr/>
                  <a:lstStyle/>
                  <a:p>
                    <a:fld id="{F16622D9-69F8-437E-B49C-DD1F8C9397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4-8E3F-4D1B-A313-C02BEC0FDBD1}"/>
                </c:ext>
              </c:extLst>
            </c:dLbl>
            <c:dLbl>
              <c:idx val="109"/>
              <c:tx>
                <c:rich>
                  <a:bodyPr/>
                  <a:lstStyle/>
                  <a:p>
                    <a:fld id="{A381DD17-35C9-4A2E-9CE2-3A8F08E1E5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5-8E3F-4D1B-A313-C02BEC0FDBD1}"/>
                </c:ext>
              </c:extLst>
            </c:dLbl>
            <c:dLbl>
              <c:idx val="110"/>
              <c:tx>
                <c:rich>
                  <a:bodyPr/>
                  <a:lstStyle/>
                  <a:p>
                    <a:fld id="{DBF1E656-5402-47A1-8C88-61E40C4917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6-8E3F-4D1B-A313-C02BEC0FDBD1}"/>
                </c:ext>
              </c:extLst>
            </c:dLbl>
            <c:dLbl>
              <c:idx val="111"/>
              <c:tx>
                <c:rich>
                  <a:bodyPr/>
                  <a:lstStyle/>
                  <a:p>
                    <a:fld id="{1CAB2BBB-0746-4071-8BF7-7C90DD9BC1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7-8E3F-4D1B-A313-C02BEC0FDBD1}"/>
                </c:ext>
              </c:extLst>
            </c:dLbl>
            <c:dLbl>
              <c:idx val="112"/>
              <c:tx>
                <c:rich>
                  <a:bodyPr/>
                  <a:lstStyle/>
                  <a:p>
                    <a:fld id="{E7C36355-9164-4D09-8CF1-A4FFA71F2C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8-8E3F-4D1B-A313-C02BEC0FDBD1}"/>
                </c:ext>
              </c:extLst>
            </c:dLbl>
            <c:dLbl>
              <c:idx val="113"/>
              <c:tx>
                <c:rich>
                  <a:bodyPr/>
                  <a:lstStyle/>
                  <a:p>
                    <a:fld id="{D981087C-6361-43EB-A463-061A490473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9-8E3F-4D1B-A313-C02BEC0FDBD1}"/>
                </c:ext>
              </c:extLst>
            </c:dLbl>
            <c:dLbl>
              <c:idx val="114"/>
              <c:tx>
                <c:rich>
                  <a:bodyPr/>
                  <a:lstStyle/>
                  <a:p>
                    <a:fld id="{BD9DDDEF-0734-4650-BC7E-520C7E177D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A-8E3F-4D1B-A313-C02BEC0FDBD1}"/>
                </c:ext>
              </c:extLst>
            </c:dLbl>
            <c:dLbl>
              <c:idx val="115"/>
              <c:tx>
                <c:rich>
                  <a:bodyPr/>
                  <a:lstStyle/>
                  <a:p>
                    <a:fld id="{2BD4CD8E-8C2C-4AAF-AE35-D385663DBD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B-8E3F-4D1B-A313-C02BEC0FDBD1}"/>
                </c:ext>
              </c:extLst>
            </c:dLbl>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D$2:$D$117</c:f>
              <c:numCache>
                <c:formatCode>General</c:formatCode>
                <c:ptCount val="116"/>
                <c:pt idx="0">
                  <c:v>1</c:v>
                </c:pt>
                <c:pt idx="1">
                  <c:v>1</c:v>
                </c:pt>
                <c:pt idx="2">
                  <c:v>1</c:v>
                </c:pt>
                <c:pt idx="3">
                  <c:v>1</c:v>
                </c:pt>
                <c:pt idx="4" formatCode="0">
                  <c:v>1</c:v>
                </c:pt>
                <c:pt idx="5" formatCode="0">
                  <c:v>1</c:v>
                </c:pt>
                <c:pt idx="6" formatCode="0">
                  <c:v>1</c:v>
                </c:pt>
                <c:pt idx="7" formatCode="0">
                  <c:v>1</c:v>
                </c:pt>
                <c:pt idx="8" formatCode="0">
                  <c:v>1</c:v>
                </c:pt>
                <c:pt idx="9" formatCode="0">
                  <c:v>1</c:v>
                </c:pt>
                <c:pt idx="10" formatCode="0">
                  <c:v>1</c:v>
                </c:pt>
                <c:pt idx="11" formatCode="0">
                  <c:v>1</c:v>
                </c:pt>
                <c:pt idx="12" formatCode="0">
                  <c:v>1</c:v>
                </c:pt>
                <c:pt idx="13" formatCode="0">
                  <c:v>1</c:v>
                </c:pt>
                <c:pt idx="14" formatCode="0">
                  <c:v>1</c:v>
                </c:pt>
                <c:pt idx="15" formatCode="0">
                  <c:v>1</c:v>
                </c:pt>
                <c:pt idx="16" formatCode="0">
                  <c:v>1</c:v>
                </c:pt>
                <c:pt idx="17" formatCode="0">
                  <c:v>2</c:v>
                </c:pt>
                <c:pt idx="18" formatCode="0">
                  <c:v>1</c:v>
                </c:pt>
                <c:pt idx="19" formatCode="0">
                  <c:v>2</c:v>
                </c:pt>
                <c:pt idx="20" formatCode="0">
                  <c:v>2</c:v>
                </c:pt>
                <c:pt idx="21" formatCode="0">
                  <c:v>2</c:v>
                </c:pt>
                <c:pt idx="22" formatCode="0">
                  <c:v>2</c:v>
                </c:pt>
                <c:pt idx="23" formatCode="0">
                  <c:v>2</c:v>
                </c:pt>
                <c:pt idx="24" formatCode="0">
                  <c:v>2</c:v>
                </c:pt>
                <c:pt idx="25" formatCode="0">
                  <c:v>2</c:v>
                </c:pt>
                <c:pt idx="26" formatCode="0">
                  <c:v>2</c:v>
                </c:pt>
                <c:pt idx="27">
                  <c:v>2</c:v>
                </c:pt>
                <c:pt idx="28">
                  <c:v>2</c:v>
                </c:pt>
                <c:pt idx="29">
                  <c:v>2</c:v>
                </c:pt>
                <c:pt idx="30">
                  <c:v>2</c:v>
                </c:pt>
                <c:pt idx="31">
                  <c:v>3</c:v>
                </c:pt>
                <c:pt idx="32">
                  <c:v>3</c:v>
                </c:pt>
                <c:pt idx="33">
                  <c:v>3</c:v>
                </c:pt>
                <c:pt idx="34">
                  <c:v>3</c:v>
                </c:pt>
                <c:pt idx="35">
                  <c:v>3</c:v>
                </c:pt>
                <c:pt idx="36">
                  <c:v>3</c:v>
                </c:pt>
                <c:pt idx="37">
                  <c:v>3</c:v>
                </c:pt>
                <c:pt idx="38">
                  <c:v>3</c:v>
                </c:pt>
                <c:pt idx="39">
                  <c:v>3</c:v>
                </c:pt>
                <c:pt idx="40">
                  <c:v>3</c:v>
                </c:pt>
                <c:pt idx="41">
                  <c:v>3</c:v>
                </c:pt>
                <c:pt idx="42">
                  <c:v>3</c:v>
                </c:pt>
                <c:pt idx="43">
                  <c:v>3</c:v>
                </c:pt>
                <c:pt idx="44">
                  <c:v>4</c:v>
                </c:pt>
                <c:pt idx="45">
                  <c:v>4</c:v>
                </c:pt>
                <c:pt idx="46">
                  <c:v>4</c:v>
                </c:pt>
                <c:pt idx="47">
                  <c:v>4</c:v>
                </c:pt>
                <c:pt idx="48">
                  <c:v>4</c:v>
                </c:pt>
                <c:pt idx="49">
                  <c:v>4</c:v>
                </c:pt>
                <c:pt idx="50">
                  <c:v>4</c:v>
                </c:pt>
                <c:pt idx="51">
                  <c:v>4</c:v>
                </c:pt>
                <c:pt idx="52">
                  <c:v>4</c:v>
                </c:pt>
                <c:pt idx="53">
                  <c:v>4</c:v>
                </c:pt>
                <c:pt idx="54">
                  <c:v>4</c:v>
                </c:pt>
                <c:pt idx="55">
                  <c:v>4</c:v>
                </c:pt>
                <c:pt idx="56">
                  <c:v>4</c:v>
                </c:pt>
                <c:pt idx="57">
                  <c:v>4</c:v>
                </c:pt>
                <c:pt idx="58">
                  <c:v>4</c:v>
                </c:pt>
                <c:pt idx="59">
                  <c:v>4</c:v>
                </c:pt>
                <c:pt idx="60">
                  <c:v>4</c:v>
                </c:pt>
                <c:pt idx="61">
                  <c:v>4</c:v>
                </c:pt>
                <c:pt idx="62">
                  <c:v>4</c:v>
                </c:pt>
                <c:pt idx="63">
                  <c:v>4</c:v>
                </c:pt>
                <c:pt idx="64">
                  <c:v>4</c:v>
                </c:pt>
                <c:pt idx="65">
                  <c:v>4</c:v>
                </c:pt>
                <c:pt idx="66">
                  <c:v>4</c:v>
                </c:pt>
                <c:pt idx="67">
                  <c:v>4</c:v>
                </c:pt>
                <c:pt idx="68">
                  <c:v>5</c:v>
                </c:pt>
                <c:pt idx="69">
                  <c:v>5</c:v>
                </c:pt>
                <c:pt idx="70">
                  <c:v>5</c:v>
                </c:pt>
                <c:pt idx="71">
                  <c:v>5</c:v>
                </c:pt>
                <c:pt idx="72">
                  <c:v>5</c:v>
                </c:pt>
                <c:pt idx="73">
                  <c:v>5</c:v>
                </c:pt>
                <c:pt idx="74">
                  <c:v>5</c:v>
                </c:pt>
                <c:pt idx="75">
                  <c:v>5</c:v>
                </c:pt>
                <c:pt idx="76">
                  <c:v>5</c:v>
                </c:pt>
                <c:pt idx="77">
                  <c:v>5</c:v>
                </c:pt>
                <c:pt idx="78">
                  <c:v>5</c:v>
                </c:pt>
                <c:pt idx="79">
                  <c:v>5</c:v>
                </c:pt>
                <c:pt idx="80">
                  <c:v>6</c:v>
                </c:pt>
                <c:pt idx="81">
                  <c:v>6</c:v>
                </c:pt>
                <c:pt idx="82">
                  <c:v>6</c:v>
                </c:pt>
                <c:pt idx="83">
                  <c:v>6</c:v>
                </c:pt>
                <c:pt idx="84">
                  <c:v>6</c:v>
                </c:pt>
                <c:pt idx="85">
                  <c:v>6</c:v>
                </c:pt>
                <c:pt idx="86">
                  <c:v>6</c:v>
                </c:pt>
                <c:pt idx="87">
                  <c:v>6</c:v>
                </c:pt>
                <c:pt idx="88">
                  <c:v>6</c:v>
                </c:pt>
                <c:pt idx="89">
                  <c:v>6</c:v>
                </c:pt>
                <c:pt idx="90">
                  <c:v>6</c:v>
                </c:pt>
                <c:pt idx="91">
                  <c:v>6</c:v>
                </c:pt>
                <c:pt idx="92">
                  <c:v>6</c:v>
                </c:pt>
                <c:pt idx="93">
                  <c:v>7</c:v>
                </c:pt>
                <c:pt idx="94">
                  <c:v>7</c:v>
                </c:pt>
                <c:pt idx="95">
                  <c:v>7</c:v>
                </c:pt>
                <c:pt idx="96">
                  <c:v>7</c:v>
                </c:pt>
                <c:pt idx="97">
                  <c:v>7</c:v>
                </c:pt>
                <c:pt idx="98">
                  <c:v>7</c:v>
                </c:pt>
                <c:pt idx="99">
                  <c:v>7</c:v>
                </c:pt>
                <c:pt idx="100">
                  <c:v>7</c:v>
                </c:pt>
                <c:pt idx="101">
                  <c:v>7</c:v>
                </c:pt>
                <c:pt idx="102">
                  <c:v>7</c:v>
                </c:pt>
                <c:pt idx="103">
                  <c:v>7</c:v>
                </c:pt>
                <c:pt idx="104">
                  <c:v>7</c:v>
                </c:pt>
                <c:pt idx="105">
                  <c:v>8</c:v>
                </c:pt>
                <c:pt idx="106">
                  <c:v>8</c:v>
                </c:pt>
                <c:pt idx="107">
                  <c:v>8</c:v>
                </c:pt>
                <c:pt idx="108">
                  <c:v>8</c:v>
                </c:pt>
                <c:pt idx="109">
                  <c:v>8</c:v>
                </c:pt>
                <c:pt idx="110">
                  <c:v>8</c:v>
                </c:pt>
                <c:pt idx="111">
                  <c:v>8</c:v>
                </c:pt>
                <c:pt idx="112">
                  <c:v>8</c:v>
                </c:pt>
                <c:pt idx="113">
                  <c:v>8</c:v>
                </c:pt>
                <c:pt idx="114">
                  <c:v>8</c:v>
                </c:pt>
                <c:pt idx="115">
                  <c:v>8</c:v>
                </c:pt>
              </c:numCache>
            </c:numRef>
          </c:xVal>
          <c:yVal>
            <c:numRef>
              <c:f>Sheet1!$B$2:$B$117</c:f>
              <c:numCache>
                <c:formatCode>0%;\-0%;0%</c:formatCode>
                <c:ptCount val="116"/>
                <c:pt idx="0">
                  <c:v>0.33537119853666614</c:v>
                </c:pt>
                <c:pt idx="1">
                  <c:v>1.3110575620733895</c:v>
                </c:pt>
                <c:pt idx="2">
                  <c:v>0.12281129115912857</c:v>
                </c:pt>
                <c:pt idx="3">
                  <c:v>0.52740423038450002</c:v>
                </c:pt>
                <c:pt idx="4">
                  <c:v>0.23394614817291179</c:v>
                </c:pt>
                <c:pt idx="5">
                  <c:v>0.40424723346828612</c:v>
                </c:pt>
                <c:pt idx="6">
                  <c:v>1.0381094546405629</c:v>
                </c:pt>
                <c:pt idx="7">
                  <c:v>0.39464140468177511</c:v>
                </c:pt>
                <c:pt idx="8">
                  <c:v>1.0804710500490677</c:v>
                </c:pt>
                <c:pt idx="9">
                  <c:v>0.29756844074137051</c:v>
                </c:pt>
                <c:pt idx="10">
                  <c:v>0.34245897269923464</c:v>
                </c:pt>
                <c:pt idx="11">
                  <c:v>0.64309733708988459</c:v>
                </c:pt>
                <c:pt idx="12">
                  <c:v>7.6182838813151563E-3</c:v>
                </c:pt>
                <c:pt idx="13">
                  <c:v>7.2727272727272724E-2</c:v>
                </c:pt>
                <c:pt idx="14">
                  <c:v>9.4564818215203822E-2</c:v>
                </c:pt>
                <c:pt idx="15">
                  <c:v>0.97732228521587439</c:v>
                </c:pt>
                <c:pt idx="16">
                  <c:v>0.12916246215943492</c:v>
                </c:pt>
                <c:pt idx="17">
                  <c:v>0</c:v>
                </c:pt>
                <c:pt idx="18">
                  <c:v>0</c:v>
                </c:pt>
                <c:pt idx="19">
                  <c:v>0.67651164854893464</c:v>
                </c:pt>
                <c:pt idx="20">
                  <c:v>1.189595592135231</c:v>
                </c:pt>
                <c:pt idx="21">
                  <c:v>0.17901899226560691</c:v>
                </c:pt>
                <c:pt idx="22">
                  <c:v>1.1122736936699982</c:v>
                </c:pt>
                <c:pt idx="23">
                  <c:v>0.85910295216250121</c:v>
                </c:pt>
                <c:pt idx="24">
                  <c:v>0.98060814099444116</c:v>
                </c:pt>
                <c:pt idx="25">
                  <c:v>0.54450632951838152</c:v>
                </c:pt>
                <c:pt idx="26">
                  <c:v>0.56422668334309645</c:v>
                </c:pt>
                <c:pt idx="27">
                  <c:v>0.30859076520030565</c:v>
                </c:pt>
                <c:pt idx="28">
                  <c:v>-5.088408644400786E-2</c:v>
                </c:pt>
                <c:pt idx="29">
                  <c:v>0.48655046266408436</c:v>
                </c:pt>
                <c:pt idx="30">
                  <c:v>5.8252427184466021E-2</c:v>
                </c:pt>
                <c:pt idx="31">
                  <c:v>0.57528207397007924</c:v>
                </c:pt>
                <c:pt idx="32">
                  <c:v>0</c:v>
                </c:pt>
                <c:pt idx="33">
                  <c:v>0.34969330141134647</c:v>
                </c:pt>
                <c:pt idx="34">
                  <c:v>9.3618913842698215E-2</c:v>
                </c:pt>
                <c:pt idx="35">
                  <c:v>0.39086369781125707</c:v>
                </c:pt>
                <c:pt idx="36">
                  <c:v>0.53102946813067886</c:v>
                </c:pt>
                <c:pt idx="37">
                  <c:v>0.30671829359418518</c:v>
                </c:pt>
                <c:pt idx="38">
                  <c:v>4.7373658397896083E-2</c:v>
                </c:pt>
                <c:pt idx="39">
                  <c:v>9.8011706773204491E-2</c:v>
                </c:pt>
                <c:pt idx="40">
                  <c:v>5.9622372365136428E-2</c:v>
                </c:pt>
                <c:pt idx="41">
                  <c:v>0.3325076129317282</c:v>
                </c:pt>
                <c:pt idx="42">
                  <c:v>1.6811941832822908E-2</c:v>
                </c:pt>
                <c:pt idx="43">
                  <c:v>0.13383247543284979</c:v>
                </c:pt>
                <c:pt idx="44">
                  <c:v>0.18520227334689512</c:v>
                </c:pt>
                <c:pt idx="45">
                  <c:v>0.15534287581423784</c:v>
                </c:pt>
                <c:pt idx="46">
                  <c:v>0.27216813979063992</c:v>
                </c:pt>
                <c:pt idx="47">
                  <c:v>0.14428544647878522</c:v>
                </c:pt>
                <c:pt idx="48">
                  <c:v>8.9574245868403263E-2</c:v>
                </c:pt>
                <c:pt idx="49">
                  <c:v>0.29961779961779961</c:v>
                </c:pt>
                <c:pt idx="50">
                  <c:v>0.32942695401728078</c:v>
                </c:pt>
                <c:pt idx="51">
                  <c:v>0.79519295870006768</c:v>
                </c:pt>
                <c:pt idx="52">
                  <c:v>5.1974626560261916E-2</c:v>
                </c:pt>
                <c:pt idx="53">
                  <c:v>-2.5057825751734774E-2</c:v>
                </c:pt>
                <c:pt idx="54">
                  <c:v>-0.28899835796387519</c:v>
                </c:pt>
                <c:pt idx="55">
                  <c:v>0</c:v>
                </c:pt>
                <c:pt idx="56" formatCode="0.00%">
                  <c:v>0.18520227334689512</c:v>
                </c:pt>
                <c:pt idx="57" formatCode="0.00%">
                  <c:v>0.15534287581423784</c:v>
                </c:pt>
                <c:pt idx="58" formatCode="0.00%">
                  <c:v>0.27216813979063992</c:v>
                </c:pt>
                <c:pt idx="59" formatCode="0.00%">
                  <c:v>0.14428544647878522</c:v>
                </c:pt>
                <c:pt idx="60" formatCode="0.00%">
                  <c:v>8.9574245868403263E-2</c:v>
                </c:pt>
                <c:pt idx="61" formatCode="0.00%">
                  <c:v>0.29961779961779961</c:v>
                </c:pt>
                <c:pt idx="62" formatCode="0.00%">
                  <c:v>0.32942695401728078</c:v>
                </c:pt>
                <c:pt idx="63" formatCode="0.00%">
                  <c:v>0.79519295870006768</c:v>
                </c:pt>
                <c:pt idx="64" formatCode="0.00%">
                  <c:v>5.1974626560261916E-2</c:v>
                </c:pt>
                <c:pt idx="65" formatCode="0.00%">
                  <c:v>-2.5057825751734774E-2</c:v>
                </c:pt>
                <c:pt idx="66" formatCode="0.00%">
                  <c:v>-0.28899835796387519</c:v>
                </c:pt>
                <c:pt idx="67" formatCode="0.00%">
                  <c:v>0</c:v>
                </c:pt>
                <c:pt idx="68" formatCode="General">
                  <c:v>0.18520227334689512</c:v>
                </c:pt>
                <c:pt idx="69" formatCode="General">
                  <c:v>0.15534287581423784</c:v>
                </c:pt>
                <c:pt idx="70" formatCode="General">
                  <c:v>0.27216813979063992</c:v>
                </c:pt>
                <c:pt idx="71" formatCode="General">
                  <c:v>0.14428544647878522</c:v>
                </c:pt>
                <c:pt idx="72" formatCode="General">
                  <c:v>8.9574245868403263E-2</c:v>
                </c:pt>
                <c:pt idx="73" formatCode="General">
                  <c:v>0.29961779961779961</c:v>
                </c:pt>
                <c:pt idx="74" formatCode="General">
                  <c:v>0.32942695401728078</c:v>
                </c:pt>
                <c:pt idx="75" formatCode="General">
                  <c:v>0.79519295870006768</c:v>
                </c:pt>
                <c:pt idx="76" formatCode="General">
                  <c:v>5.1974626560261916E-2</c:v>
                </c:pt>
                <c:pt idx="77" formatCode="General">
                  <c:v>-2.5057825751734774E-2</c:v>
                </c:pt>
                <c:pt idx="78" formatCode="General">
                  <c:v>-0.28899835796387519</c:v>
                </c:pt>
                <c:pt idx="79" formatCode="General">
                  <c:v>0</c:v>
                </c:pt>
                <c:pt idx="80" formatCode="General">
                  <c:v>0</c:v>
                </c:pt>
                <c:pt idx="81" formatCode="General">
                  <c:v>0.18520227334689512</c:v>
                </c:pt>
                <c:pt idx="82" formatCode="General">
                  <c:v>0.15534287581423784</c:v>
                </c:pt>
                <c:pt idx="83" formatCode="General">
                  <c:v>0.27216813979063992</c:v>
                </c:pt>
                <c:pt idx="84" formatCode="General">
                  <c:v>0.14428544647878522</c:v>
                </c:pt>
                <c:pt idx="85" formatCode="General">
                  <c:v>8.9574245868403263E-2</c:v>
                </c:pt>
                <c:pt idx="86" formatCode="General">
                  <c:v>0.29961779961779961</c:v>
                </c:pt>
                <c:pt idx="87" formatCode="General">
                  <c:v>0.32942695401728078</c:v>
                </c:pt>
                <c:pt idx="88" formatCode="General">
                  <c:v>0.79519295870006768</c:v>
                </c:pt>
                <c:pt idx="89" formatCode="General">
                  <c:v>5.1974626560261916E-2</c:v>
                </c:pt>
                <c:pt idx="90" formatCode="General">
                  <c:v>-2.5057825751734774E-2</c:v>
                </c:pt>
                <c:pt idx="91" formatCode="General">
                  <c:v>-0.28899835796387519</c:v>
                </c:pt>
                <c:pt idx="92" formatCode="General">
                  <c:v>0</c:v>
                </c:pt>
                <c:pt idx="93" formatCode="General">
                  <c:v>0.18520227334689512</c:v>
                </c:pt>
                <c:pt idx="94" formatCode="General">
                  <c:v>0.15534287581423784</c:v>
                </c:pt>
                <c:pt idx="95" formatCode="General">
                  <c:v>0.27216813979063992</c:v>
                </c:pt>
                <c:pt idx="96" formatCode="General">
                  <c:v>0.14428544647878522</c:v>
                </c:pt>
                <c:pt idx="97" formatCode="General">
                  <c:v>8.9574245868403263E-2</c:v>
                </c:pt>
                <c:pt idx="98" formatCode="General">
                  <c:v>0.29961779961779961</c:v>
                </c:pt>
                <c:pt idx="99" formatCode="General">
                  <c:v>0.32942695401728078</c:v>
                </c:pt>
                <c:pt idx="100" formatCode="General">
                  <c:v>0.79519295870006768</c:v>
                </c:pt>
                <c:pt idx="101" formatCode="General">
                  <c:v>5.1974626560261916E-2</c:v>
                </c:pt>
                <c:pt idx="102" formatCode="General">
                  <c:v>-2.5057825751734774E-2</c:v>
                </c:pt>
                <c:pt idx="103" formatCode="General">
                  <c:v>-0.28899835796387519</c:v>
                </c:pt>
                <c:pt idx="104" formatCode="General">
                  <c:v>0</c:v>
                </c:pt>
                <c:pt idx="105" formatCode="General">
                  <c:v>0.15534287581423784</c:v>
                </c:pt>
                <c:pt idx="106" formatCode="General">
                  <c:v>0.27216813979063992</c:v>
                </c:pt>
                <c:pt idx="107" formatCode="General">
                  <c:v>0.14428544647878522</c:v>
                </c:pt>
                <c:pt idx="108" formatCode="General">
                  <c:v>8.9574245868403263E-2</c:v>
                </c:pt>
                <c:pt idx="109" formatCode="General">
                  <c:v>0.29961779961779961</c:v>
                </c:pt>
                <c:pt idx="110" formatCode="General">
                  <c:v>0.32942695401728078</c:v>
                </c:pt>
                <c:pt idx="111" formatCode="General">
                  <c:v>0.79519295870006768</c:v>
                </c:pt>
                <c:pt idx="112" formatCode="General">
                  <c:v>5.1974626560261916E-2</c:v>
                </c:pt>
                <c:pt idx="113" formatCode="General">
                  <c:v>-2.5057825751734774E-2</c:v>
                </c:pt>
                <c:pt idx="114" formatCode="General">
                  <c:v>-0.28899835796387519</c:v>
                </c:pt>
                <c:pt idx="115" formatCode="General">
                  <c:v>0</c:v>
                </c:pt>
              </c:numCache>
            </c:numRef>
          </c:yVal>
          <c:bubbleSize>
            <c:numRef>
              <c:f>Sheet1!$C$2:$C$117</c:f>
              <c:numCache>
                <c:formatCode>0%;\-0%;0%</c:formatCode>
                <c:ptCount val="116"/>
                <c:pt idx="0">
                  <c:v>4111084</c:v>
                </c:pt>
                <c:pt idx="1">
                  <c:v>1160533</c:v>
                </c:pt>
                <c:pt idx="2">
                  <c:v>1117212</c:v>
                </c:pt>
                <c:pt idx="3">
                  <c:v>504428</c:v>
                </c:pt>
                <c:pt idx="4">
                  <c:v>459435</c:v>
                </c:pt>
                <c:pt idx="5">
                  <c:v>386077</c:v>
                </c:pt>
                <c:pt idx="6">
                  <c:v>277647</c:v>
                </c:pt>
                <c:pt idx="7">
                  <c:v>222216</c:v>
                </c:pt>
                <c:pt idx="8">
                  <c:v>108739</c:v>
                </c:pt>
                <c:pt idx="9">
                  <c:v>100141</c:v>
                </c:pt>
                <c:pt idx="10">
                  <c:v>18851</c:v>
                </c:pt>
                <c:pt idx="11">
                  <c:v>13981</c:v>
                </c:pt>
                <c:pt idx="12">
                  <c:v>10864</c:v>
                </c:pt>
                <c:pt idx="13">
                  <c:v>7717</c:v>
                </c:pt>
                <c:pt idx="14">
                  <c:v>7439</c:v>
                </c:pt>
                <c:pt idx="15">
                  <c:v>4428</c:v>
                </c:pt>
                <c:pt idx="16">
                  <c:v>1120</c:v>
                </c:pt>
                <c:pt idx="17">
                  <c:v>21</c:v>
                </c:pt>
                <c:pt idx="18">
                  <c:v>0</c:v>
                </c:pt>
                <c:pt idx="19">
                  <c:v>12037304</c:v>
                </c:pt>
                <c:pt idx="20">
                  <c:v>5124041</c:v>
                </c:pt>
                <c:pt idx="21">
                  <c:v>4271666</c:v>
                </c:pt>
                <c:pt idx="22">
                  <c:v>1061364</c:v>
                </c:pt>
                <c:pt idx="23">
                  <c:v>786468</c:v>
                </c:pt>
                <c:pt idx="24">
                  <c:v>606283</c:v>
                </c:pt>
                <c:pt idx="25">
                  <c:v>479058</c:v>
                </c:pt>
                <c:pt idx="26">
                  <c:v>306437</c:v>
                </c:pt>
                <c:pt idx="27">
                  <c:v>83930</c:v>
                </c:pt>
                <c:pt idx="28">
                  <c:v>32553</c:v>
                </c:pt>
                <c:pt idx="29">
                  <c:v>24613</c:v>
                </c:pt>
                <c:pt idx="30">
                  <c:v>42</c:v>
                </c:pt>
                <c:pt idx="31">
                  <c:v>16067456</c:v>
                </c:pt>
                <c:pt idx="32">
                  <c:v>0</c:v>
                </c:pt>
                <c:pt idx="33">
                  <c:v>2257543</c:v>
                </c:pt>
                <c:pt idx="34">
                  <c:v>350113</c:v>
                </c:pt>
                <c:pt idx="35">
                  <c:v>238922</c:v>
                </c:pt>
                <c:pt idx="36">
                  <c:v>178620</c:v>
                </c:pt>
                <c:pt idx="37">
                  <c:v>98148</c:v>
                </c:pt>
                <c:pt idx="38">
                  <c:v>76752</c:v>
                </c:pt>
                <c:pt idx="39">
                  <c:v>59927</c:v>
                </c:pt>
                <c:pt idx="40">
                  <c:v>59154</c:v>
                </c:pt>
                <c:pt idx="41">
                  <c:v>58860</c:v>
                </c:pt>
                <c:pt idx="42">
                  <c:v>53214</c:v>
                </c:pt>
                <c:pt idx="43">
                  <c:v>45806</c:v>
                </c:pt>
                <c:pt idx="44">
                  <c:v>33868</c:v>
                </c:pt>
                <c:pt idx="45">
                  <c:v>28590</c:v>
                </c:pt>
                <c:pt idx="46">
                  <c:v>26827</c:v>
                </c:pt>
                <c:pt idx="47">
                  <c:v>15746</c:v>
                </c:pt>
                <c:pt idx="48">
                  <c:v>10871</c:v>
                </c:pt>
                <c:pt idx="49">
                  <c:v>10018</c:v>
                </c:pt>
                <c:pt idx="50">
                  <c:v>4962</c:v>
                </c:pt>
                <c:pt idx="51">
                  <c:v>4865</c:v>
                </c:pt>
                <c:pt idx="52">
                  <c:v>3900</c:v>
                </c:pt>
                <c:pt idx="53">
                  <c:v>1677</c:v>
                </c:pt>
                <c:pt idx="54">
                  <c:v>297</c:v>
                </c:pt>
                <c:pt idx="55">
                  <c:v>0</c:v>
                </c:pt>
                <c:pt idx="56" formatCode="General">
                  <c:v>33868</c:v>
                </c:pt>
                <c:pt idx="57" formatCode="General">
                  <c:v>28590</c:v>
                </c:pt>
                <c:pt idx="58" formatCode="General">
                  <c:v>26827</c:v>
                </c:pt>
                <c:pt idx="59" formatCode="General">
                  <c:v>15746</c:v>
                </c:pt>
                <c:pt idx="60" formatCode="General">
                  <c:v>10871</c:v>
                </c:pt>
                <c:pt idx="61" formatCode="General">
                  <c:v>10018</c:v>
                </c:pt>
                <c:pt idx="62" formatCode="General">
                  <c:v>4962</c:v>
                </c:pt>
                <c:pt idx="63" formatCode="General">
                  <c:v>4865</c:v>
                </c:pt>
                <c:pt idx="64" formatCode="General">
                  <c:v>3900</c:v>
                </c:pt>
                <c:pt idx="65" formatCode="General">
                  <c:v>1677</c:v>
                </c:pt>
                <c:pt idx="66" formatCode="General">
                  <c:v>297</c:v>
                </c:pt>
                <c:pt idx="67" formatCode="General">
                  <c:v>0</c:v>
                </c:pt>
                <c:pt idx="68" formatCode="General">
                  <c:v>33868</c:v>
                </c:pt>
                <c:pt idx="69" formatCode="General">
                  <c:v>28590</c:v>
                </c:pt>
                <c:pt idx="70" formatCode="General">
                  <c:v>26827</c:v>
                </c:pt>
                <c:pt idx="71" formatCode="General">
                  <c:v>15746</c:v>
                </c:pt>
                <c:pt idx="72" formatCode="General">
                  <c:v>10871</c:v>
                </c:pt>
                <c:pt idx="73" formatCode="General">
                  <c:v>10018</c:v>
                </c:pt>
                <c:pt idx="74" formatCode="General">
                  <c:v>4962</c:v>
                </c:pt>
                <c:pt idx="75" formatCode="General">
                  <c:v>4865</c:v>
                </c:pt>
                <c:pt idx="76" formatCode="General">
                  <c:v>3900</c:v>
                </c:pt>
                <c:pt idx="77" formatCode="General">
                  <c:v>1677</c:v>
                </c:pt>
                <c:pt idx="78" formatCode="General">
                  <c:v>297</c:v>
                </c:pt>
                <c:pt idx="79" formatCode="General">
                  <c:v>0</c:v>
                </c:pt>
                <c:pt idx="80" formatCode="General">
                  <c:v>0</c:v>
                </c:pt>
                <c:pt idx="81" formatCode="General">
                  <c:v>33868</c:v>
                </c:pt>
                <c:pt idx="82" formatCode="General">
                  <c:v>28590</c:v>
                </c:pt>
                <c:pt idx="83" formatCode="General">
                  <c:v>26827</c:v>
                </c:pt>
                <c:pt idx="84" formatCode="General">
                  <c:v>15746</c:v>
                </c:pt>
                <c:pt idx="85" formatCode="General">
                  <c:v>10871</c:v>
                </c:pt>
                <c:pt idx="86" formatCode="General">
                  <c:v>10018</c:v>
                </c:pt>
                <c:pt idx="87" formatCode="General">
                  <c:v>4962</c:v>
                </c:pt>
                <c:pt idx="88" formatCode="General">
                  <c:v>4865</c:v>
                </c:pt>
                <c:pt idx="89" formatCode="General">
                  <c:v>3900</c:v>
                </c:pt>
                <c:pt idx="90" formatCode="General">
                  <c:v>1677</c:v>
                </c:pt>
                <c:pt idx="91" formatCode="General">
                  <c:v>297</c:v>
                </c:pt>
                <c:pt idx="92" formatCode="General">
                  <c:v>0</c:v>
                </c:pt>
                <c:pt idx="93" formatCode="General">
                  <c:v>33868</c:v>
                </c:pt>
                <c:pt idx="94" formatCode="General">
                  <c:v>28590</c:v>
                </c:pt>
                <c:pt idx="95" formatCode="General">
                  <c:v>26827</c:v>
                </c:pt>
                <c:pt idx="96" formatCode="General">
                  <c:v>15746</c:v>
                </c:pt>
                <c:pt idx="97" formatCode="General">
                  <c:v>10871</c:v>
                </c:pt>
                <c:pt idx="98" formatCode="General">
                  <c:v>10018</c:v>
                </c:pt>
                <c:pt idx="99" formatCode="General">
                  <c:v>4962</c:v>
                </c:pt>
                <c:pt idx="100" formatCode="General">
                  <c:v>4865</c:v>
                </c:pt>
                <c:pt idx="101" formatCode="General">
                  <c:v>3900</c:v>
                </c:pt>
                <c:pt idx="102" formatCode="General">
                  <c:v>1677</c:v>
                </c:pt>
                <c:pt idx="103" formatCode="General">
                  <c:v>297</c:v>
                </c:pt>
                <c:pt idx="104" formatCode="General">
                  <c:v>0</c:v>
                </c:pt>
                <c:pt idx="105" formatCode="General">
                  <c:v>28590</c:v>
                </c:pt>
                <c:pt idx="106" formatCode="General">
                  <c:v>26827</c:v>
                </c:pt>
                <c:pt idx="107" formatCode="General">
                  <c:v>15746</c:v>
                </c:pt>
                <c:pt idx="108" formatCode="General">
                  <c:v>10871</c:v>
                </c:pt>
                <c:pt idx="109" formatCode="General">
                  <c:v>10018</c:v>
                </c:pt>
                <c:pt idx="110" formatCode="General">
                  <c:v>4962</c:v>
                </c:pt>
                <c:pt idx="111" formatCode="General">
                  <c:v>4865</c:v>
                </c:pt>
                <c:pt idx="112" formatCode="General">
                  <c:v>3900</c:v>
                </c:pt>
                <c:pt idx="113" formatCode="General">
                  <c:v>1677</c:v>
                </c:pt>
                <c:pt idx="114" formatCode="General">
                  <c:v>297</c:v>
                </c:pt>
                <c:pt idx="115" formatCode="General">
                  <c:v>0</c:v>
                </c:pt>
              </c:numCache>
            </c:numRef>
          </c:bubbleSize>
          <c:bubble3D val="0"/>
          <c:extLst>
            <c:ext xmlns:c15="http://schemas.microsoft.com/office/drawing/2012/chart" uri="{02D57815-91ED-43cb-92C2-25804820EDAC}">
              <c15:datalabelsRange>
                <c15:f>Sheet1!$E$2:$E$150</c15:f>
                <c15:dlblRangeCache>
                  <c:ptCount val="149"/>
                  <c:pt idx="0">
                    <c:v>Findus</c:v>
                  </c:pt>
                  <c:pt idx="1">
                    <c:v>Pescanova S.A.</c:v>
                  </c:pt>
                  <c:pt idx="2">
                    <c:v>Private Label</c:v>
                  </c:pt>
                  <c:pt idx="3">
                    <c:v>Frosta</c:v>
                  </c:pt>
                  <c:pt idx="4">
                    <c:v>Panapesca</c:v>
                  </c:pt>
                  <c:pt idx="5">
                    <c:v>Other</c:v>
                  </c:pt>
                  <c:pt idx="6">
                    <c:v>Esca Srl</c:v>
                  </c:pt>
                  <c:pt idx="7">
                    <c:v>Arbi Dario Spa</c:v>
                  </c:pt>
                  <c:pt idx="8">
                    <c:v>Krusta Group</c:v>
                  </c:pt>
                  <c:pt idx="9">
                    <c:v>Fandicosta</c:v>
                  </c:pt>
                  <c:pt idx="10">
                    <c:v>Green Ice</c:v>
                  </c:pt>
                  <c:pt idx="11">
                    <c:v>Alpe Srl - Roma</c:v>
                  </c:pt>
                  <c:pt idx="12">
                    <c:v>Conserviera Adriatica Spa</c:v>
                  </c:pt>
                  <c:pt idx="13">
                    <c:v>New Food</c:v>
                  </c:pt>
                  <c:pt idx="14">
                    <c:v>Agras 1947</c:v>
                  </c:pt>
                  <c:pt idx="15">
                    <c:v>Garbo Snc Di Comanducci Andrea</c:v>
                  </c:pt>
                  <c:pt idx="16">
                    <c:v>Vis Industrie Alimentari</c:v>
                  </c:pt>
                  <c:pt idx="17">
                    <c:v>Buitoni</c:v>
                  </c:pt>
                  <c:pt idx="18">
                    <c:v>Mittico</c:v>
                  </c:pt>
                  <c:pt idx="19">
                    <c:v>Findus</c:v>
                  </c:pt>
                  <c:pt idx="20">
                    <c:v>Frosta</c:v>
                  </c:pt>
                  <c:pt idx="21">
                    <c:v>Private Label</c:v>
                  </c:pt>
                  <c:pt idx="22">
                    <c:v>Krusta Group</c:v>
                  </c:pt>
                  <c:pt idx="23">
                    <c:v>Pescanova S.A.</c:v>
                  </c:pt>
                  <c:pt idx="24">
                    <c:v>Esca Srl</c:v>
                  </c:pt>
                  <c:pt idx="25">
                    <c:v>Arbi Dario Spa</c:v>
                  </c:pt>
                  <c:pt idx="26">
                    <c:v>Emme Gel</c:v>
                  </c:pt>
                  <c:pt idx="27">
                    <c:v>Green Ice</c:v>
                  </c:pt>
                  <c:pt idx="28">
                    <c:v>Other</c:v>
                  </c:pt>
                  <c:pt idx="29">
                    <c:v>Soavegel</c:v>
                  </c:pt>
                  <c:pt idx="30">
                    <c:v>Buitoni</c:v>
                  </c:pt>
                  <c:pt idx="31">
                    <c:v>Findus</c:v>
                  </c:pt>
                  <c:pt idx="32">
                    <c:v>Other</c:v>
                  </c:pt>
                  <c:pt idx="33">
                    <c:v>Findus</c:v>
                  </c:pt>
                  <c:pt idx="34">
                    <c:v>Private Label</c:v>
                  </c:pt>
                  <c:pt idx="35">
                    <c:v>Esca Srl</c:v>
                  </c:pt>
                  <c:pt idx="36">
                    <c:v>Agras 1947</c:v>
                  </c:pt>
                  <c:pt idx="37">
                    <c:v>Frosta</c:v>
                  </c:pt>
                  <c:pt idx="38">
                    <c:v>Other</c:v>
                  </c:pt>
                  <c:pt idx="39">
                    <c:v>New Food</c:v>
                  </c:pt>
                  <c:pt idx="40">
                    <c:v>Noriberica</c:v>
                  </c:pt>
                  <c:pt idx="41">
                    <c:v>Krusta Group</c:v>
                  </c:pt>
                  <c:pt idx="42">
                    <c:v>Nai Prodotti Ittici</c:v>
                  </c:pt>
                  <c:pt idx="43">
                    <c:v>Green Ice</c:v>
                  </c:pt>
                  <c:pt idx="44">
                    <c:v>Pescanova S.A.</c:v>
                  </c:pt>
                  <c:pt idx="45">
                    <c:v>Alpe Srl - Roma</c:v>
                  </c:pt>
                  <c:pt idx="46">
                    <c:v>Appetais Italia Spa</c:v>
                  </c:pt>
                  <c:pt idx="47">
                    <c:v>Royal Greenland</c:v>
                  </c:pt>
                  <c:pt idx="48">
                    <c:v>Panapesca</c:v>
                  </c:pt>
                  <c:pt idx="49">
                    <c:v>Conserviera Adriatica Spa</c:v>
                  </c:pt>
                  <c:pt idx="50">
                    <c:v>Gerfrio</c:v>
                  </c:pt>
                  <c:pt idx="51">
                    <c:v>Garbo Snc Di Comanducci Andrea</c:v>
                  </c:pt>
                  <c:pt idx="52">
                    <c:v>Vis Industrie Alimentari</c:v>
                  </c:pt>
                  <c:pt idx="53">
                    <c:v>Soavegel</c:v>
                  </c:pt>
                  <c:pt idx="54">
                    <c:v>Nettuno Alimentari Srl</c:v>
                  </c:pt>
                  <c:pt idx="55">
                    <c:v>Buitoni</c:v>
                  </c:pt>
                  <c:pt idx="56">
                    <c:v>Pescanova S.A.</c:v>
                  </c:pt>
                  <c:pt idx="57">
                    <c:v>Alpe Srl - Roma</c:v>
                  </c:pt>
                  <c:pt idx="58">
                    <c:v>Appetais Italia Spa</c:v>
                  </c:pt>
                  <c:pt idx="59">
                    <c:v>Royal Greenland</c:v>
                  </c:pt>
                  <c:pt idx="60">
                    <c:v>Panapesca</c:v>
                  </c:pt>
                  <c:pt idx="61">
                    <c:v>Conserviera Adriatica Spa</c:v>
                  </c:pt>
                  <c:pt idx="62">
                    <c:v>Gerfrio</c:v>
                  </c:pt>
                  <c:pt idx="63">
                    <c:v>Garbo Snc Di Comanducci Andrea</c:v>
                  </c:pt>
                  <c:pt idx="64">
                    <c:v>Vis Industrie Alimentari</c:v>
                  </c:pt>
                  <c:pt idx="65">
                    <c:v>Soavegel</c:v>
                  </c:pt>
                  <c:pt idx="66">
                    <c:v>Nettuno Alimentari Srl</c:v>
                  </c:pt>
                  <c:pt idx="67">
                    <c:v>Buitoni</c:v>
                  </c:pt>
                  <c:pt idx="68">
                    <c:v>Pescanova S.A.</c:v>
                  </c:pt>
                  <c:pt idx="69">
                    <c:v>Alpe Srl - Roma</c:v>
                  </c:pt>
                  <c:pt idx="70">
                    <c:v>Appetais Italia Spa</c:v>
                  </c:pt>
                  <c:pt idx="71">
                    <c:v>Royal Greenland</c:v>
                  </c:pt>
                  <c:pt idx="72">
                    <c:v>Panapesca</c:v>
                  </c:pt>
                  <c:pt idx="73">
                    <c:v>Conserviera Adriatica Spa</c:v>
                  </c:pt>
                  <c:pt idx="74">
                    <c:v>Gerfrio</c:v>
                  </c:pt>
                  <c:pt idx="75">
                    <c:v>Garbo Snc Di Comanducci Andrea</c:v>
                  </c:pt>
                  <c:pt idx="76">
                    <c:v>Vis Industrie Alimentari</c:v>
                  </c:pt>
                  <c:pt idx="77">
                    <c:v>Soavegel</c:v>
                  </c:pt>
                  <c:pt idx="78">
                    <c:v>Nettuno Alimentari Srl</c:v>
                  </c:pt>
                  <c:pt idx="79">
                    <c:v>Buitoni</c:v>
                  </c:pt>
                  <c:pt idx="80">
                    <c:v>Buitoni</c:v>
                  </c:pt>
                  <c:pt idx="81">
                    <c:v>Pescanova S.A.</c:v>
                  </c:pt>
                  <c:pt idx="82">
                    <c:v>Alpe Srl - Roma</c:v>
                  </c:pt>
                  <c:pt idx="83">
                    <c:v>Appetais Italia Spa</c:v>
                  </c:pt>
                  <c:pt idx="84">
                    <c:v>Royal Greenland</c:v>
                  </c:pt>
                  <c:pt idx="85">
                    <c:v>Panapesca</c:v>
                  </c:pt>
                  <c:pt idx="86">
                    <c:v>Conserviera Adriatica Spa</c:v>
                  </c:pt>
                  <c:pt idx="87">
                    <c:v>Gerfrio</c:v>
                  </c:pt>
                  <c:pt idx="88">
                    <c:v>Garbo Snc Di Comanducci Andrea</c:v>
                  </c:pt>
                  <c:pt idx="89">
                    <c:v>Vis Industrie Alimentari</c:v>
                  </c:pt>
                  <c:pt idx="90">
                    <c:v>Soavegel</c:v>
                  </c:pt>
                  <c:pt idx="91">
                    <c:v>Nettuno Alimentari Srl</c:v>
                  </c:pt>
                  <c:pt idx="92">
                    <c:v>Buitoni</c:v>
                  </c:pt>
                  <c:pt idx="93">
                    <c:v>Pescanova S.A.</c:v>
                  </c:pt>
                  <c:pt idx="94">
                    <c:v>Alpe Srl - Roma</c:v>
                  </c:pt>
                  <c:pt idx="95">
                    <c:v>Appetais Italia Spa</c:v>
                  </c:pt>
                  <c:pt idx="96">
                    <c:v>Royal Greenland</c:v>
                  </c:pt>
                  <c:pt idx="97">
                    <c:v>Panapesca</c:v>
                  </c:pt>
                  <c:pt idx="98">
                    <c:v>Conserviera Adriatica Spa</c:v>
                  </c:pt>
                  <c:pt idx="99">
                    <c:v>Gerfrio</c:v>
                  </c:pt>
                  <c:pt idx="100">
                    <c:v>Garbo Snc Di Comanducci Andrea</c:v>
                  </c:pt>
                  <c:pt idx="101">
                    <c:v>Vis Industrie Alimentari</c:v>
                  </c:pt>
                  <c:pt idx="102">
                    <c:v>Soavegel</c:v>
                  </c:pt>
                  <c:pt idx="103">
                    <c:v>Nettuno Alimentari Srl</c:v>
                  </c:pt>
                  <c:pt idx="104">
                    <c:v>Buitoni</c:v>
                  </c:pt>
                  <c:pt idx="105">
                    <c:v>Alpe Srl - Roma</c:v>
                  </c:pt>
                  <c:pt idx="106">
                    <c:v>Appetais Italia Spa</c:v>
                  </c:pt>
                  <c:pt idx="107">
                    <c:v>Royal Greenland</c:v>
                  </c:pt>
                  <c:pt idx="108">
                    <c:v>Panapesca</c:v>
                  </c:pt>
                  <c:pt idx="109">
                    <c:v>Conserviera Adriatica Spa</c:v>
                  </c:pt>
                  <c:pt idx="110">
                    <c:v>Gerfrio</c:v>
                  </c:pt>
                  <c:pt idx="111">
                    <c:v>Garbo Snc Di Comanducci Andrea</c:v>
                  </c:pt>
                  <c:pt idx="112">
                    <c:v>Vis Industrie Alimentari</c:v>
                  </c:pt>
                  <c:pt idx="113">
                    <c:v>Soavegel</c:v>
                  </c:pt>
                  <c:pt idx="114">
                    <c:v>Nettuno Alimentari Srl</c:v>
                  </c:pt>
                  <c:pt idx="115">
                    <c:v>Buitoni</c:v>
                  </c:pt>
                </c15:dlblRangeCache>
              </c15:datalabelsRange>
            </c:ext>
            <c:ext xmlns:c16="http://schemas.microsoft.com/office/drawing/2014/chart" uri="{C3380CC4-5D6E-409C-BE32-E72D297353CC}">
              <c16:uniqueId val="{00000026-26FB-4B52-8D72-D56D618E8EAF}"/>
            </c:ext>
          </c:extLst>
        </c:ser>
        <c:dLbls>
          <c:dLblPos val="ctr"/>
          <c:showLegendKey val="0"/>
          <c:showVal val="1"/>
          <c:showCatName val="0"/>
          <c:showSerName val="0"/>
          <c:showPercent val="0"/>
          <c:showBubbleSize val="0"/>
        </c:dLbls>
        <c:bubbleScale val="75"/>
        <c:showNegBubbles val="0"/>
        <c:axId val="804121775"/>
        <c:axId val="804116783"/>
      </c:bubbleChart>
      <c:valAx>
        <c:axId val="804121775"/>
        <c:scaling>
          <c:orientation val="minMax"/>
          <c:max val="4.5"/>
          <c:min val="0.5"/>
        </c:scaling>
        <c:delete val="0"/>
        <c:axPos val="b"/>
        <c:numFmt formatCode="0%"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16783"/>
        <c:crosses val="autoZero"/>
        <c:crossBetween val="midCat"/>
        <c:minorUnit val="0.1"/>
      </c:valAx>
      <c:valAx>
        <c:axId val="804116783"/>
        <c:scaling>
          <c:orientation val="minMax"/>
        </c:scaling>
        <c:delete val="0"/>
        <c:axPos val="l"/>
        <c:title>
          <c:tx>
            <c:rich>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en-US" sz="800" dirty="0">
                    <a:solidFill>
                      <a:schemeClr val="tx1"/>
                    </a:solidFill>
                    <a:latin typeface="Nexa Bold" panose="00000800000000000000" pitchFamily="2" charset="0"/>
                  </a:rPr>
                  <a:t>Averag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Value </a:t>
                </a:r>
              </a:p>
              <a:p>
                <a:pPr>
                  <a:defRPr sz="800">
                    <a:solidFill>
                      <a:schemeClr val="tx1"/>
                    </a:solidFill>
                    <a:latin typeface="Nexa Bold" panose="00000800000000000000" pitchFamily="2" charset="0"/>
                  </a:defRPr>
                </a:pPr>
                <a:r>
                  <a:rPr lang="en-US" sz="800" dirty="0">
                    <a:solidFill>
                      <a:schemeClr val="tx1"/>
                    </a:solidFill>
                    <a:latin typeface="Nexa Bold" panose="00000800000000000000" pitchFamily="2" charset="0"/>
                  </a:rPr>
                  <a:t>uplift</a:t>
                </a:r>
                <a:endParaRPr lang="en-CH" sz="800" dirty="0">
                  <a:solidFill>
                    <a:schemeClr val="tx1"/>
                  </a:solidFill>
                  <a:latin typeface="Nexa Bold" panose="00000800000000000000" pitchFamily="2" charset="0"/>
                </a:endParaRPr>
              </a:p>
            </c:rich>
          </c:tx>
          <c:layout>
            <c:manualLayout>
              <c:xMode val="edge"/>
              <c:yMode val="edge"/>
              <c:x val="2.0811111111111117E-3"/>
              <c:y val="0.10078557265656676"/>
            </c:manualLayout>
          </c:layout>
          <c:overlay val="0"/>
          <c:spPr>
            <a:noFill/>
            <a:ln>
              <a:noFill/>
            </a:ln>
            <a:effectLst/>
          </c:spPr>
          <c:txPr>
            <a:bodyPr rot="0" spcFirstLastPara="1" vertOverflow="ellipsis" wrap="square" anchor="ctr" anchorCtr="1"/>
            <a:lstStyle/>
            <a:p>
              <a:pPr>
                <a:defRPr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CH"/>
            </a:p>
          </c:txPr>
        </c:title>
        <c:numFmt formatCode="0%"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804121775"/>
        <c:crosses val="autoZero"/>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fld id="{0A9D5357-1007-4606-A516-E4B18831D84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fld id="{BD2C4DBD-206C-4E2C-BC15-0E72BFB6FE6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fld id="{181A132B-C9D5-4690-85EA-055CA1A828B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5C3F9BCE-AF09-4CC4-9041-5B52A0A1FA0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F176EC9E-8720-43DE-A32D-69DDA54D680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DFCD8868-E8C7-41D6-BD08-4019979F164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83DDDBAA-B4B0-43EC-801E-1896CB16E05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92113ED9-BE7B-429D-9B65-34898D529C1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4C25F7C9-27AC-43CE-AB9A-F5F7DA9B675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957BC28D-910A-4820-9AC7-A53A1B5AF6D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7BC7E988-7ADF-4388-90C4-35F827C2CD5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1C273950-31BD-40E4-956F-80F672B99D6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98655FB1-A63F-486E-8684-C9071FC4BE3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F70F51B4-11C6-4CFC-93E5-DFD047A5C27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BD99F6CA-D371-49B1-B407-C409A022445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2CA6E1B1-0109-4FF3-BDB9-3513EF91DBD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AFF4971D-BAAF-4826-8774-A38057A45F3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940A2188-29D8-4E15-9982-739B32292CF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14A66F87-32F3-4219-8F3C-2F0C0F2E01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0280E8AD-79F5-46D9-98A4-6F2EAE1BEE8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2D6097F0-32B2-4891-8CF5-BBCCC3023B3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5C76EDC5-F351-4546-B62A-028330BD2D7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CB8233CB-C5ED-4138-885B-A5D450E9E01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0C180B88-F9B4-4472-8162-F88BA733B43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3C775CD5-FFE2-483B-A882-13C7FED1ECD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32E90149-13EA-4D06-8FB8-FA693505424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E0C842E4-2D57-4337-9722-431C4CA900A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15EAE4E4-ECB2-40D7-9850-3EF4D9F14E7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16BC16CA-519E-48B8-9A90-F96CF4D1A8C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319657BA-AD28-4598-9FC3-5B2BC8AFADA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12678EB2-B9BE-4A3C-A1A9-B429A3CB132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043FCE49-82F5-4D2D-8D2C-947873948F9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3A4B5B4A-8A63-48FF-B5E3-B8133B6592A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2BEC7020-E46C-41F5-882D-5957F966D27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A3BA079D-54D6-4A06-B376-92E7E14B253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00A0E3EF-2983-4892-9FA6-C4C94E949A0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4799298A-B1D7-44A2-A20F-F60316882FE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9E95D7F9-817F-4B1D-A0F7-90DE2E8FE5D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9AE27AA8-A343-4140-BCCC-25D3F94F11A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82417DF0-B875-48C5-883F-5B37121B92D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E68EBDD0-8E75-45D7-A307-0B1B3E3095C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9E2C3BF4-7EF3-4E14-BD91-FEC3594A505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6AE7A892-E6FA-42BC-A720-87D736C9D85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C4285D37-0215-45F2-A613-11FC326BBDF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8142C85E-65AA-4E06-80CE-C7B17310905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CF071F34-60A6-4709-975B-DFCDDD21465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DA6C2941-E15D-4A90-87F8-75AE05D243B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5CB72B54-DCF3-4DB8-B256-3AC0428B9BF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1</c:f>
              <c:numCache>
                <c:formatCode>General</c:formatCode>
                <c:ptCount val="50"/>
                <c:pt idx="0">
                  <c:v>0.32614219606149664</c:v>
                </c:pt>
                <c:pt idx="1">
                  <c:v>0.31664875250254537</c:v>
                </c:pt>
                <c:pt idx="2">
                  <c:v>0.27346307041982199</c:v>
                </c:pt>
                <c:pt idx="3">
                  <c:v>0.2831646688619443</c:v>
                </c:pt>
                <c:pt idx="4">
                  <c:v>0.2586347262757685</c:v>
                </c:pt>
                <c:pt idx="5">
                  <c:v>0.33786738243552095</c:v>
                </c:pt>
                <c:pt idx="6">
                  <c:v>0.39199545326509833</c:v>
                </c:pt>
                <c:pt idx="7">
                  <c:v>0.24805723261987339</c:v>
                </c:pt>
                <c:pt idx="8">
                  <c:v>0.24785938764333104</c:v>
                </c:pt>
                <c:pt idx="9">
                  <c:v>0.37074721427752688</c:v>
                </c:pt>
                <c:pt idx="10">
                  <c:v>0.24301285130226527</c:v>
                </c:pt>
                <c:pt idx="11">
                  <c:v>0.29023901513577965</c:v>
                </c:pt>
                <c:pt idx="12">
                  <c:v>0.27408514093650493</c:v>
                </c:pt>
                <c:pt idx="13">
                  <c:v>0.38048884495186663</c:v>
                </c:pt>
                <c:pt idx="14">
                  <c:v>0.30308742272142136</c:v>
                </c:pt>
                <c:pt idx="15">
                  <c:v>0.25008655716680273</c:v>
                </c:pt>
                <c:pt idx="16">
                  <c:v>0.28089700180642357</c:v>
                </c:pt>
                <c:pt idx="17">
                  <c:v>0.27117632631945737</c:v>
                </c:pt>
                <c:pt idx="18">
                  <c:v>0.29870429613658334</c:v>
                </c:pt>
                <c:pt idx="19">
                  <c:v>0.28887143469924503</c:v>
                </c:pt>
                <c:pt idx="20">
                  <c:v>0.27333685261571355</c:v>
                </c:pt>
                <c:pt idx="21">
                  <c:v>0.2713669485206564</c:v>
                </c:pt>
                <c:pt idx="22">
                  <c:v>0.37674111408113636</c:v>
                </c:pt>
                <c:pt idx="23">
                  <c:v>0.34170217411726383</c:v>
                </c:pt>
                <c:pt idx="24">
                  <c:v>0.27953887621663237</c:v>
                </c:pt>
                <c:pt idx="25">
                  <c:v>0.26139863941217595</c:v>
                </c:pt>
                <c:pt idx="26">
                  <c:v>0.28515871070852677</c:v>
                </c:pt>
                <c:pt idx="27">
                  <c:v>0.31741391390991608</c:v>
                </c:pt>
                <c:pt idx="28">
                  <c:v>0.26620342419047666</c:v>
                </c:pt>
                <c:pt idx="29">
                  <c:v>0.27032392247178932</c:v>
                </c:pt>
                <c:pt idx="30">
                  <c:v>0.25398515744663003</c:v>
                </c:pt>
                <c:pt idx="31">
                  <c:v>0.28052802243816721</c:v>
                </c:pt>
                <c:pt idx="32">
                  <c:v>0.25420735412144679</c:v>
                </c:pt>
                <c:pt idx="33">
                  <c:v>0.34032241378886918</c:v>
                </c:pt>
                <c:pt idx="34">
                  <c:v>0.29260451481690342</c:v>
                </c:pt>
                <c:pt idx="35">
                  <c:v>0.27010707272762946</c:v>
                </c:pt>
                <c:pt idx="36">
                  <c:v>0.30239907256816745</c:v>
                </c:pt>
                <c:pt idx="37">
                  <c:v>0.32976074763129964</c:v>
                </c:pt>
                <c:pt idx="38">
                  <c:v>0.32883855339035062</c:v>
                </c:pt>
                <c:pt idx="39">
                  <c:v>0.27306037067424022</c:v>
                </c:pt>
                <c:pt idx="40">
                  <c:v>0.31776436198193048</c:v>
                </c:pt>
                <c:pt idx="41">
                  <c:v>0.239223188374001</c:v>
                </c:pt>
                <c:pt idx="42">
                  <c:v>0.3262179990104076</c:v>
                </c:pt>
                <c:pt idx="43">
                  <c:v>0.27599787245298646</c:v>
                </c:pt>
                <c:pt idx="44">
                  <c:v>0.23472836573018385</c:v>
                </c:pt>
                <c:pt idx="45">
                  <c:v>0.22448270645716939</c:v>
                </c:pt>
                <c:pt idx="46">
                  <c:v>0.24585381842019011</c:v>
                </c:pt>
                <c:pt idx="47">
                  <c:v>0.29945368378448511</c:v>
                </c:pt>
              </c:numCache>
            </c:numRef>
          </c:xVal>
          <c:yVal>
            <c:numRef>
              <c:f>Sheet1!$B$2:$B$51</c:f>
              <c:numCache>
                <c:formatCode>General</c:formatCode>
                <c:ptCount val="50"/>
                <c:pt idx="0">
                  <c:v>4.036642599277978</c:v>
                </c:pt>
                <c:pt idx="1">
                  <c:v>2.8052981048554435</c:v>
                </c:pt>
                <c:pt idx="2">
                  <c:v>2.3157631776167875</c:v>
                </c:pt>
                <c:pt idx="3">
                  <c:v>3.3874534581969988</c:v>
                </c:pt>
                <c:pt idx="4">
                  <c:v>2.1946284032376746</c:v>
                </c:pt>
                <c:pt idx="5">
                  <c:v>5.5104879160966709</c:v>
                </c:pt>
                <c:pt idx="6">
                  <c:v>5.8558732345849123</c:v>
                </c:pt>
                <c:pt idx="7">
                  <c:v>0.8575959403742468</c:v>
                </c:pt>
                <c:pt idx="8">
                  <c:v>0.91815809097688295</c:v>
                </c:pt>
                <c:pt idx="9">
                  <c:v>5.1425761271539852</c:v>
                </c:pt>
                <c:pt idx="10">
                  <c:v>1.949090909090909</c:v>
                </c:pt>
                <c:pt idx="11">
                  <c:v>2.15698407241893</c:v>
                </c:pt>
                <c:pt idx="12">
                  <c:v>2.1229696158991018</c:v>
                </c:pt>
                <c:pt idx="13">
                  <c:v>6.3531066822977724</c:v>
                </c:pt>
                <c:pt idx="14">
                  <c:v>3.45</c:v>
                </c:pt>
                <c:pt idx="15">
                  <c:v>1.1538200339558573</c:v>
                </c:pt>
                <c:pt idx="16">
                  <c:v>2.313090542152096</c:v>
                </c:pt>
                <c:pt idx="17">
                  <c:v>1.4464879237757589</c:v>
                </c:pt>
                <c:pt idx="18">
                  <c:v>1.9545373823477179</c:v>
                </c:pt>
                <c:pt idx="19">
                  <c:v>2.2469486531986531</c:v>
                </c:pt>
                <c:pt idx="20">
                  <c:v>2.035958124715521</c:v>
                </c:pt>
                <c:pt idx="21">
                  <c:v>2.1883473799926714</c:v>
                </c:pt>
                <c:pt idx="22">
                  <c:v>2.9860900354071824</c:v>
                </c:pt>
                <c:pt idx="23">
                  <c:v>1.6556822982678496</c:v>
                </c:pt>
                <c:pt idx="24">
                  <c:v>0.74406457739791076</c:v>
                </c:pt>
                <c:pt idx="25">
                  <c:v>1.9397372742200329</c:v>
                </c:pt>
                <c:pt idx="26">
                  <c:v>2.4108446298227322</c:v>
                </c:pt>
                <c:pt idx="27">
                  <c:v>1.1723356009070294</c:v>
                </c:pt>
                <c:pt idx="28">
                  <c:v>2.0220286885245899</c:v>
                </c:pt>
                <c:pt idx="29">
                  <c:v>2.4238369699464801</c:v>
                </c:pt>
                <c:pt idx="30">
                  <c:v>1.7869481765834934</c:v>
                </c:pt>
                <c:pt idx="31">
                  <c:v>2.4264361078546308</c:v>
                </c:pt>
                <c:pt idx="32">
                  <c:v>1.6909884158266888</c:v>
                </c:pt>
                <c:pt idx="33">
                  <c:v>1.3602050326188257</c:v>
                </c:pt>
                <c:pt idx="34">
                  <c:v>0.90998268897864976</c:v>
                </c:pt>
                <c:pt idx="35">
                  <c:v>1.7486426061961036</c:v>
                </c:pt>
                <c:pt idx="36">
                  <c:v>3.7153641207815276</c:v>
                </c:pt>
                <c:pt idx="37">
                  <c:v>0.63358208955223883</c:v>
                </c:pt>
                <c:pt idx="38">
                  <c:v>3.2248565965583174</c:v>
                </c:pt>
                <c:pt idx="39">
                  <c:v>0.36051693404634583</c:v>
                </c:pt>
                <c:pt idx="40">
                  <c:v>1.3776626367299942</c:v>
                </c:pt>
                <c:pt idx="41">
                  <c:v>1.8659543467702768</c:v>
                </c:pt>
                <c:pt idx="42">
                  <c:v>1.4394765539803707</c:v>
                </c:pt>
                <c:pt idx="43">
                  <c:v>1.628901239846088</c:v>
                </c:pt>
                <c:pt idx="44">
                  <c:v>1.3637426900584795</c:v>
                </c:pt>
                <c:pt idx="45">
                  <c:v>0.60488798370672103</c:v>
                </c:pt>
                <c:pt idx="46">
                  <c:v>1.4079956188389924</c:v>
                </c:pt>
                <c:pt idx="47">
                  <c:v>1.1113460183227626</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fld id="{44D91389-84AB-402E-9C6C-60396591955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fld id="{044E2041-FD96-4D42-8641-F3E1F89C571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fld id="{B85862FD-E964-4D30-A018-4C5727C29A5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8CC267B9-6ECC-4B75-A7D7-87784DA3A57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BF8446FB-A613-47EE-88CF-B75639453AE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DB72304D-E818-48E3-A73F-073502136CA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B033A095-A04C-47D0-BD6D-8617E532246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113CD6D4-14FD-41B4-AF57-6DACF6DE387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6A868C0A-E63F-4156-8507-7A01C422267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2D7CED0A-7C95-42F3-AC47-FE112F7E245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2F236A17-3B80-4087-98D0-0558857FFFE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D42524A5-29EF-4237-8800-0CD91AE45C7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A9690551-8F2D-4FEC-B334-EA1CCAF125D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F65D18A4-35D6-4FAA-9FA2-76F86FF54D3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FE86E26F-A161-4036-BF80-40DAD7ABBB4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631D8E3D-B53C-49CE-88AF-8D5A22BA31D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89921D43-2B55-4247-B773-0B1162F6A90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03E569EC-64A5-48FE-B5C5-B837635FFAC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CC8D87C8-7FC6-4164-ADE1-A49DA13E81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E45BB6D7-81A0-4CC6-890E-75220C06759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EED64A61-FF56-4C6D-BDB6-927A5BAC5E7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9CBD7DE8-3673-451F-9905-748761C25CD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F96A6839-77D9-489E-AF8C-5A7D8358F45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B1B0B14E-92F7-4176-8793-219F09697A0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BADE2217-0907-432B-A32C-61CA4C4FBDE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FD6BC294-8C9B-49C4-A08E-EC98FA45AB4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CD5563C3-1331-48D1-827F-CFD8C173E01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51400753-444D-4A58-B8DB-9A777A2A735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12EEFA53-A93E-410C-AE30-3A48E7CB4AD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2EABA832-CFDA-4925-AFC6-1B919445E21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B0D79B26-40E2-48F6-84C8-05575BEA187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AD6E3D12-10C7-475C-9409-E753F3178EF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FB9BF30D-EF1A-4C62-9A66-ECFD8D7BFD7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121D9B18-2CDC-4AAC-8C1A-070416CEBC1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C3197994-9550-49FC-8332-C8067997DCD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981FEB88-1647-4809-A71E-C32CF8041F3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48332C62-CE37-4378-8AFB-1AA9F285C7C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50DDEC20-1DBC-4801-B6F7-CAD4D0D2CFE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3CB12EE0-E4A9-4702-90BD-A121A713F69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8CC27859-BE16-4CCF-9221-0370F7ECF0E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5413C4AD-C6D1-4AA1-B201-FAF62250D45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4FFFC371-AD15-41E5-8D45-654FA8334C5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44AA5B5E-A2CA-4345-B0E6-B934DDBE32C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06ED42B8-E69E-499D-9CD1-A53B0FF8710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DED80E35-5BBC-43AC-A2BC-97A97E79A5B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78B17D0F-6102-43A5-8EFA-156C88527DE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721A0E4D-82BF-43AA-B80B-E7A84FF3338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120373B1-9768-4D32-AB47-3104C8EED58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1</c:f>
              <c:numCache>
                <c:formatCode>General</c:formatCode>
                <c:ptCount val="50"/>
                <c:pt idx="0">
                  <c:v>0.32614219606149664</c:v>
                </c:pt>
                <c:pt idx="1">
                  <c:v>0.31664875250254537</c:v>
                </c:pt>
                <c:pt idx="2">
                  <c:v>0.27346307041982199</c:v>
                </c:pt>
                <c:pt idx="3">
                  <c:v>0.2831646688619443</c:v>
                </c:pt>
                <c:pt idx="4">
                  <c:v>0.2586347262757685</c:v>
                </c:pt>
                <c:pt idx="5">
                  <c:v>0.33786738243552095</c:v>
                </c:pt>
                <c:pt idx="6">
                  <c:v>0.39199545326509833</c:v>
                </c:pt>
                <c:pt idx="7">
                  <c:v>0.24805723261987339</c:v>
                </c:pt>
                <c:pt idx="8">
                  <c:v>0.24785938764333104</c:v>
                </c:pt>
                <c:pt idx="9">
                  <c:v>0.37074721427752688</c:v>
                </c:pt>
                <c:pt idx="10">
                  <c:v>0.24301285130226527</c:v>
                </c:pt>
                <c:pt idx="11">
                  <c:v>0.29023901513577965</c:v>
                </c:pt>
                <c:pt idx="12">
                  <c:v>0.27408514093650493</c:v>
                </c:pt>
                <c:pt idx="13">
                  <c:v>0.38048884495186663</c:v>
                </c:pt>
                <c:pt idx="14">
                  <c:v>0.30308742272142136</c:v>
                </c:pt>
                <c:pt idx="15">
                  <c:v>0.25008655716680273</c:v>
                </c:pt>
                <c:pt idx="16">
                  <c:v>0.28089700180642357</c:v>
                </c:pt>
                <c:pt idx="17">
                  <c:v>0.27117632631945737</c:v>
                </c:pt>
                <c:pt idx="18">
                  <c:v>0.29870429613658334</c:v>
                </c:pt>
                <c:pt idx="19">
                  <c:v>0.28887143469924503</c:v>
                </c:pt>
                <c:pt idx="20">
                  <c:v>0.27333685261571355</c:v>
                </c:pt>
                <c:pt idx="21">
                  <c:v>0.2713669485206564</c:v>
                </c:pt>
                <c:pt idx="22">
                  <c:v>0.37674111408113636</c:v>
                </c:pt>
                <c:pt idx="23">
                  <c:v>0.34170217411726383</c:v>
                </c:pt>
                <c:pt idx="24">
                  <c:v>0.27953887621663237</c:v>
                </c:pt>
                <c:pt idx="25">
                  <c:v>0.26139863941217595</c:v>
                </c:pt>
                <c:pt idx="26">
                  <c:v>0.28515871070852677</c:v>
                </c:pt>
                <c:pt idx="27">
                  <c:v>0.31741391390991608</c:v>
                </c:pt>
                <c:pt idx="28">
                  <c:v>0.26620342419047666</c:v>
                </c:pt>
                <c:pt idx="29">
                  <c:v>0.27032392247178932</c:v>
                </c:pt>
                <c:pt idx="30">
                  <c:v>0.25398515744663003</c:v>
                </c:pt>
                <c:pt idx="31">
                  <c:v>0.28052802243816721</c:v>
                </c:pt>
                <c:pt idx="32">
                  <c:v>0.25420735412144679</c:v>
                </c:pt>
                <c:pt idx="33">
                  <c:v>0.34032241378886918</c:v>
                </c:pt>
                <c:pt idx="34">
                  <c:v>0.29260451481690342</c:v>
                </c:pt>
                <c:pt idx="35">
                  <c:v>0.27010707272762946</c:v>
                </c:pt>
                <c:pt idx="36">
                  <c:v>0.30239907256816745</c:v>
                </c:pt>
                <c:pt idx="37">
                  <c:v>0.32976074763129964</c:v>
                </c:pt>
                <c:pt idx="38">
                  <c:v>0.32883855339035062</c:v>
                </c:pt>
                <c:pt idx="39">
                  <c:v>0.27306037067424022</c:v>
                </c:pt>
                <c:pt idx="40">
                  <c:v>0.31776436198193048</c:v>
                </c:pt>
                <c:pt idx="41">
                  <c:v>0.239223188374001</c:v>
                </c:pt>
                <c:pt idx="42">
                  <c:v>0.3262179990104076</c:v>
                </c:pt>
                <c:pt idx="43">
                  <c:v>0.27599787245298646</c:v>
                </c:pt>
                <c:pt idx="44">
                  <c:v>0.23472836573018385</c:v>
                </c:pt>
                <c:pt idx="45">
                  <c:v>0.22448270645716939</c:v>
                </c:pt>
                <c:pt idx="46">
                  <c:v>0.24585381842019011</c:v>
                </c:pt>
                <c:pt idx="47">
                  <c:v>0.29945368378448511</c:v>
                </c:pt>
              </c:numCache>
            </c:numRef>
          </c:xVal>
          <c:yVal>
            <c:numRef>
              <c:f>Sheet1!$B$2:$B$51</c:f>
              <c:numCache>
                <c:formatCode>General</c:formatCode>
                <c:ptCount val="50"/>
                <c:pt idx="0">
                  <c:v>4.036642599277978</c:v>
                </c:pt>
                <c:pt idx="1">
                  <c:v>2.8052981048554435</c:v>
                </c:pt>
                <c:pt idx="2">
                  <c:v>2.3157631776167875</c:v>
                </c:pt>
                <c:pt idx="3">
                  <c:v>3.3874534581969988</c:v>
                </c:pt>
                <c:pt idx="4">
                  <c:v>2.1946284032376746</c:v>
                </c:pt>
                <c:pt idx="5">
                  <c:v>5.5104879160966709</c:v>
                </c:pt>
                <c:pt idx="6">
                  <c:v>5.8558732345849123</c:v>
                </c:pt>
                <c:pt idx="7">
                  <c:v>0.8575959403742468</c:v>
                </c:pt>
                <c:pt idx="8">
                  <c:v>0.91815809097688295</c:v>
                </c:pt>
                <c:pt idx="9">
                  <c:v>5.1425761271539852</c:v>
                </c:pt>
                <c:pt idx="10">
                  <c:v>1.949090909090909</c:v>
                </c:pt>
                <c:pt idx="11">
                  <c:v>2.15698407241893</c:v>
                </c:pt>
                <c:pt idx="12">
                  <c:v>2.1229696158991018</c:v>
                </c:pt>
                <c:pt idx="13">
                  <c:v>6.3531066822977724</c:v>
                </c:pt>
                <c:pt idx="14">
                  <c:v>3.45</c:v>
                </c:pt>
                <c:pt idx="15">
                  <c:v>1.1538200339558573</c:v>
                </c:pt>
                <c:pt idx="16">
                  <c:v>2.313090542152096</c:v>
                </c:pt>
                <c:pt idx="17">
                  <c:v>1.4464879237757589</c:v>
                </c:pt>
                <c:pt idx="18">
                  <c:v>1.9545373823477179</c:v>
                </c:pt>
                <c:pt idx="19">
                  <c:v>2.2469486531986531</c:v>
                </c:pt>
                <c:pt idx="20">
                  <c:v>2.035958124715521</c:v>
                </c:pt>
                <c:pt idx="21">
                  <c:v>2.1883473799926714</c:v>
                </c:pt>
                <c:pt idx="22">
                  <c:v>2.9860900354071824</c:v>
                </c:pt>
                <c:pt idx="23">
                  <c:v>1.6556822982678496</c:v>
                </c:pt>
                <c:pt idx="24">
                  <c:v>0.74406457739791076</c:v>
                </c:pt>
                <c:pt idx="25">
                  <c:v>1.9397372742200329</c:v>
                </c:pt>
                <c:pt idx="26">
                  <c:v>2.4108446298227322</c:v>
                </c:pt>
                <c:pt idx="27">
                  <c:v>1.1723356009070294</c:v>
                </c:pt>
                <c:pt idx="28">
                  <c:v>2.0220286885245899</c:v>
                </c:pt>
                <c:pt idx="29">
                  <c:v>2.4238369699464801</c:v>
                </c:pt>
                <c:pt idx="30">
                  <c:v>1.7869481765834934</c:v>
                </c:pt>
                <c:pt idx="31">
                  <c:v>2.4264361078546308</c:v>
                </c:pt>
                <c:pt idx="32">
                  <c:v>1.6909884158266888</c:v>
                </c:pt>
                <c:pt idx="33">
                  <c:v>1.3602050326188257</c:v>
                </c:pt>
                <c:pt idx="34">
                  <c:v>0.90998268897864976</c:v>
                </c:pt>
                <c:pt idx="35">
                  <c:v>1.7486426061961036</c:v>
                </c:pt>
                <c:pt idx="36">
                  <c:v>3.7153641207815276</c:v>
                </c:pt>
                <c:pt idx="37">
                  <c:v>0.63358208955223883</c:v>
                </c:pt>
                <c:pt idx="38">
                  <c:v>3.2248565965583174</c:v>
                </c:pt>
                <c:pt idx="39">
                  <c:v>0.36051693404634583</c:v>
                </c:pt>
                <c:pt idx="40">
                  <c:v>1.3776626367299942</c:v>
                </c:pt>
                <c:pt idx="41">
                  <c:v>1.8659543467702768</c:v>
                </c:pt>
                <c:pt idx="42">
                  <c:v>1.4394765539803707</c:v>
                </c:pt>
                <c:pt idx="43">
                  <c:v>1.628901239846088</c:v>
                </c:pt>
                <c:pt idx="44">
                  <c:v>1.3637426900584795</c:v>
                </c:pt>
                <c:pt idx="45">
                  <c:v>0.60488798370672103</c:v>
                </c:pt>
                <c:pt idx="46">
                  <c:v>1.4079956188389924</c:v>
                </c:pt>
                <c:pt idx="47">
                  <c:v>1.1113460183227626</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B$2:$B$11</c:f>
              <c:numCache>
                <c:formatCode>General</c:formatCode>
                <c:ptCount val="10"/>
                <c:pt idx="0">
                  <c:v>0.97553731504482122</c:v>
                </c:pt>
                <c:pt idx="1">
                  <c:v>1</c:v>
                </c:pt>
                <c:pt idx="2">
                  <c:v>0.96560128666794454</c:v>
                </c:pt>
                <c:pt idx="3">
                  <c:v>1</c:v>
                </c:pt>
                <c:pt idx="4">
                  <c:v>4.2670982812054552E-2</c:v>
                </c:pt>
                <c:pt idx="5">
                  <c:v>1</c:v>
                </c:pt>
                <c:pt idx="6">
                  <c:v>0.71063588973412994</c:v>
                </c:pt>
                <c:pt idx="7">
                  <c:v>4.152747056740308E-2</c:v>
                </c:pt>
                <c:pt idx="8">
                  <c:v>0.88317257601959165</c:v>
                </c:pt>
                <c:pt idx="9">
                  <c:v>0.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C$2:$C$11</c:f>
              <c:numCache>
                <c:formatCode>General</c:formatCode>
                <c:ptCount val="10"/>
                <c:pt idx="0">
                  <c:v>2.446268495517874E-2</c:v>
                </c:pt>
                <c:pt idx="2">
                  <c:v>3.4398713332055492E-2</c:v>
                </c:pt>
                <c:pt idx="4">
                  <c:v>0.9573290171879455</c:v>
                </c:pt>
                <c:pt idx="6">
                  <c:v>0.28936411026586994</c:v>
                </c:pt>
                <c:pt idx="7">
                  <c:v>0.95847252943259698</c:v>
                </c:pt>
                <c:pt idx="8">
                  <c:v>0.11682742398040841</c:v>
                </c:pt>
                <c:pt idx="9">
                  <c:v>0.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B$2:$B$11</c:f>
              <c:numCache>
                <c:formatCode>General</c:formatCode>
                <c:ptCount val="10"/>
                <c:pt idx="0">
                  <c:v>0.97553731504482122</c:v>
                </c:pt>
                <c:pt idx="1">
                  <c:v>1</c:v>
                </c:pt>
                <c:pt idx="2">
                  <c:v>0.96560128666794454</c:v>
                </c:pt>
                <c:pt idx="3">
                  <c:v>1</c:v>
                </c:pt>
                <c:pt idx="4">
                  <c:v>4.2670982812054552E-2</c:v>
                </c:pt>
                <c:pt idx="5">
                  <c:v>1</c:v>
                </c:pt>
                <c:pt idx="6">
                  <c:v>0.71063588973412994</c:v>
                </c:pt>
                <c:pt idx="7">
                  <c:v>4.152747056740308E-2</c:v>
                </c:pt>
                <c:pt idx="8">
                  <c:v>0.88317257601959165</c:v>
                </c:pt>
                <c:pt idx="9">
                  <c:v>0.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C$2:$C$11</c:f>
              <c:numCache>
                <c:formatCode>General</c:formatCode>
                <c:ptCount val="10"/>
                <c:pt idx="0">
                  <c:v>2.446268495517874E-2</c:v>
                </c:pt>
                <c:pt idx="2">
                  <c:v>3.4398713332055492E-2</c:v>
                </c:pt>
                <c:pt idx="4">
                  <c:v>0.9573290171879455</c:v>
                </c:pt>
                <c:pt idx="6">
                  <c:v>0.28936411026586994</c:v>
                </c:pt>
                <c:pt idx="7">
                  <c:v>0.95847252943259698</c:v>
                </c:pt>
                <c:pt idx="8">
                  <c:v>0.11682742398040841</c:v>
                </c:pt>
                <c:pt idx="9">
                  <c:v>0.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B$2:$B$11</c:f>
              <c:numCache>
                <c:formatCode>General</c:formatCode>
                <c:ptCount val="10"/>
                <c:pt idx="0">
                  <c:v>0.97553731504482122</c:v>
                </c:pt>
                <c:pt idx="1">
                  <c:v>1</c:v>
                </c:pt>
                <c:pt idx="2">
                  <c:v>0.96560128666794454</c:v>
                </c:pt>
                <c:pt idx="3">
                  <c:v>1</c:v>
                </c:pt>
                <c:pt idx="4">
                  <c:v>4.2670982812054552E-2</c:v>
                </c:pt>
                <c:pt idx="5">
                  <c:v>1</c:v>
                </c:pt>
                <c:pt idx="6">
                  <c:v>0.71063588973412994</c:v>
                </c:pt>
                <c:pt idx="7">
                  <c:v>4.152747056740308E-2</c:v>
                </c:pt>
                <c:pt idx="8">
                  <c:v>0.88317257601959165</c:v>
                </c:pt>
                <c:pt idx="9">
                  <c:v>0.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C$2:$C$11</c:f>
              <c:numCache>
                <c:formatCode>General</c:formatCode>
                <c:ptCount val="10"/>
                <c:pt idx="0">
                  <c:v>2.446268495517874E-2</c:v>
                </c:pt>
                <c:pt idx="2">
                  <c:v>3.4398713332055492E-2</c:v>
                </c:pt>
                <c:pt idx="4">
                  <c:v>0.9573290171879455</c:v>
                </c:pt>
                <c:pt idx="6">
                  <c:v>0.28936411026586994</c:v>
                </c:pt>
                <c:pt idx="7">
                  <c:v>0.95847252943259698</c:v>
                </c:pt>
                <c:pt idx="8">
                  <c:v>0.11682742398040841</c:v>
                </c:pt>
                <c:pt idx="9">
                  <c:v>0.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B$2:$B$11</c:f>
              <c:numCache>
                <c:formatCode>General</c:formatCode>
                <c:ptCount val="10"/>
                <c:pt idx="0">
                  <c:v>0.97553731504482122</c:v>
                </c:pt>
                <c:pt idx="1">
                  <c:v>1</c:v>
                </c:pt>
                <c:pt idx="2">
                  <c:v>0.96560128666794454</c:v>
                </c:pt>
                <c:pt idx="3">
                  <c:v>1</c:v>
                </c:pt>
                <c:pt idx="4">
                  <c:v>4.2670982812054552E-2</c:v>
                </c:pt>
                <c:pt idx="5">
                  <c:v>1</c:v>
                </c:pt>
                <c:pt idx="6">
                  <c:v>0.71063588973412994</c:v>
                </c:pt>
                <c:pt idx="7">
                  <c:v>4.152747056740308E-2</c:v>
                </c:pt>
                <c:pt idx="8">
                  <c:v>0.88317257601959165</c:v>
                </c:pt>
                <c:pt idx="9">
                  <c:v>0.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C$2:$C$11</c:f>
              <c:numCache>
                <c:formatCode>General</c:formatCode>
                <c:ptCount val="10"/>
                <c:pt idx="0">
                  <c:v>2.446268495517874E-2</c:v>
                </c:pt>
                <c:pt idx="2">
                  <c:v>3.4398713332055492E-2</c:v>
                </c:pt>
                <c:pt idx="4">
                  <c:v>0.9573290171879455</c:v>
                </c:pt>
                <c:pt idx="6">
                  <c:v>0.28936411026586994</c:v>
                </c:pt>
                <c:pt idx="7">
                  <c:v>0.95847252943259698</c:v>
                </c:pt>
                <c:pt idx="8">
                  <c:v>0.11682742398040841</c:v>
                </c:pt>
                <c:pt idx="9">
                  <c:v>0.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B$2:$B$11</c:f>
              <c:numCache>
                <c:formatCode>General</c:formatCode>
                <c:ptCount val="10"/>
                <c:pt idx="0">
                  <c:v>0.97553731504482122</c:v>
                </c:pt>
                <c:pt idx="1">
                  <c:v>1</c:v>
                </c:pt>
                <c:pt idx="2">
                  <c:v>0.96560128666794454</c:v>
                </c:pt>
                <c:pt idx="3">
                  <c:v>1</c:v>
                </c:pt>
                <c:pt idx="4">
                  <c:v>4.2670982812054552E-2</c:v>
                </c:pt>
                <c:pt idx="5">
                  <c:v>1</c:v>
                </c:pt>
                <c:pt idx="6">
                  <c:v>0.71063588973412994</c:v>
                </c:pt>
                <c:pt idx="7">
                  <c:v>4.152747056740308E-2</c:v>
                </c:pt>
                <c:pt idx="8">
                  <c:v>0.88317257601959165</c:v>
                </c:pt>
                <c:pt idx="9">
                  <c:v>0.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C$2:$C$11</c:f>
              <c:numCache>
                <c:formatCode>General</c:formatCode>
                <c:ptCount val="10"/>
                <c:pt idx="0">
                  <c:v>2.446268495517874E-2</c:v>
                </c:pt>
                <c:pt idx="2">
                  <c:v>3.4398713332055492E-2</c:v>
                </c:pt>
                <c:pt idx="4">
                  <c:v>0.9573290171879455</c:v>
                </c:pt>
                <c:pt idx="6">
                  <c:v>0.28936411026586994</c:v>
                </c:pt>
                <c:pt idx="7">
                  <c:v>0.95847252943259698</c:v>
                </c:pt>
                <c:pt idx="8">
                  <c:v>0.11682742398040841</c:v>
                </c:pt>
                <c:pt idx="9">
                  <c:v>0.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Recruitment</c:v>
                </c:pt>
              </c:strCache>
            </c:strRef>
          </c:tx>
          <c:spPr>
            <a:solidFill>
              <a:schemeClr val="bg2"/>
            </a:solidFill>
            <a:ln>
              <a:solidFill>
                <a:schemeClr val="bg1"/>
              </a:solidFill>
            </a:ln>
            <a:effectLst/>
          </c:spPr>
          <c:invertIfNegative val="0"/>
          <c:dPt>
            <c:idx val="0"/>
            <c:invertIfNegative val="0"/>
            <c:bubble3D val="0"/>
            <c:spPr>
              <a:solidFill>
                <a:srgbClr val="E6E5E5"/>
              </a:solidFill>
              <a:ln>
                <a:solidFill>
                  <a:schemeClr val="bg1"/>
                </a:solidFill>
              </a:ln>
              <a:effectLst/>
            </c:spPr>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B$2:$B$11</c:f>
              <c:numCache>
                <c:formatCode>General</c:formatCode>
                <c:ptCount val="10"/>
                <c:pt idx="0">
                  <c:v>0.97553731504482122</c:v>
                </c:pt>
                <c:pt idx="1">
                  <c:v>1</c:v>
                </c:pt>
                <c:pt idx="2">
                  <c:v>0.96560128666794454</c:v>
                </c:pt>
                <c:pt idx="3">
                  <c:v>1</c:v>
                </c:pt>
                <c:pt idx="4">
                  <c:v>4.2670982812054552E-2</c:v>
                </c:pt>
                <c:pt idx="5">
                  <c:v>1</c:v>
                </c:pt>
                <c:pt idx="6">
                  <c:v>0.71063588973412994</c:v>
                </c:pt>
                <c:pt idx="7">
                  <c:v>4.152747056740308E-2</c:v>
                </c:pt>
                <c:pt idx="8">
                  <c:v>0.88317257601959165</c:v>
                </c:pt>
                <c:pt idx="9">
                  <c:v>0.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nsumption</c:v>
                </c:pt>
              </c:strCache>
            </c:strRef>
          </c:tx>
          <c:spPr>
            <a:solidFill>
              <a:schemeClr val="accent3"/>
            </a:solidFill>
            <a:ln>
              <a:solidFill>
                <a:schemeClr val="bg1"/>
              </a:solidFill>
            </a:ln>
            <a:effectLst/>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rbi Dario Spa</c:v>
                </c:pt>
                <c:pt idx="1">
                  <c:v>Esca Srl</c:v>
                </c:pt>
                <c:pt idx="2">
                  <c:v>Findus</c:v>
                </c:pt>
                <c:pt idx="3">
                  <c:v>Frosta</c:v>
                </c:pt>
                <c:pt idx="4">
                  <c:v>Krusta Group</c:v>
                </c:pt>
                <c:pt idx="5">
                  <c:v>New Food</c:v>
                </c:pt>
                <c:pt idx="6">
                  <c:v>Panapesca</c:v>
                </c:pt>
                <c:pt idx="7">
                  <c:v>Pescanova S.A.</c:v>
                </c:pt>
                <c:pt idx="8">
                  <c:v>Private Label</c:v>
                </c:pt>
                <c:pt idx="9">
                  <c:v>Lol</c:v>
                </c:pt>
              </c:strCache>
            </c:strRef>
          </c:cat>
          <c:val>
            <c:numRef>
              <c:f>Sheet1!$C$2:$C$11</c:f>
              <c:numCache>
                <c:formatCode>General</c:formatCode>
                <c:ptCount val="10"/>
                <c:pt idx="0">
                  <c:v>2.446268495517874E-2</c:v>
                </c:pt>
                <c:pt idx="2">
                  <c:v>3.4398713332055492E-2</c:v>
                </c:pt>
                <c:pt idx="4">
                  <c:v>0.9573290171879455</c:v>
                </c:pt>
                <c:pt idx="6">
                  <c:v>0.28936411026586994</c:v>
                </c:pt>
                <c:pt idx="7">
                  <c:v>0.95847252943259698</c:v>
                </c:pt>
                <c:pt idx="8">
                  <c:v>0.11682742398040841</c:v>
                </c:pt>
                <c:pt idx="9">
                  <c:v>0.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fld id="{33694348-E5E6-4D64-8031-C82C33CA199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fld id="{940EEF6D-27DE-45BE-BB35-B3A6DEE2126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fld id="{C68F0B05-D0A7-4FD7-8C34-E79A3DB2FF6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DC3D3B48-C618-4A4C-B56D-71671222B6D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E1A0866C-C70E-4570-AEE6-A56DB238104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32E5D927-C92C-401A-B2F5-67D86ECFF71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A9C7D753-608C-42EA-8BEE-EC80B227609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57DE1D96-680F-47D3-9548-98055F6DE44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F3EB8E0E-17F7-43AB-B5EE-736883B26DE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11A1DA8C-6028-4F91-84E8-C25AD51D346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A6DB9900-C99B-462B-B284-3FC7EF91A15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A1345B07-FA57-4393-A254-D75224CB69D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1F013115-9772-4D90-A650-1C6D347C7C1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5EAB1B5E-B80E-4489-A6BC-FE7BD7206CA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8881F487-0A3E-463D-89F0-40159A3F9B8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4125EEE5-03C1-4F06-BA51-FB6AAF3BDE8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2592820A-7B30-4EF2-99B6-CD2C3EE1D43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0798DF6F-2C15-412A-8649-CB1FDED86E6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A6AC9B83-BFE1-4AFF-9055-7EB8F6F329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B3513BC3-9AD1-47F7-B912-9DE936D8FEB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C2F35FAE-C153-4ECA-9E18-CA33FFED3D9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965381A4-C9B5-4C26-A362-30A2218848C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56AF064E-191C-4F67-9DE5-7B1D02A45BB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ADF51C51-0945-4F46-A4F2-2F3AF88D7CF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5B33DC28-EDEC-41AC-A0D9-3FA949D08E7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AE18D6D0-9BC7-40A0-9FCE-F737CCCB0EB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26C17BD5-42DE-45D0-ADD2-01264795EE0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0ADA6EAB-455F-4D62-9A0E-7C0FB8ED46E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F6477B37-BB04-450C-ADE1-E588B8E4F61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6F066D12-568B-4F7A-88E5-48C2FD34830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73B57E76-74E1-4502-974C-163268BECF2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74DE966F-08C8-4522-8B7D-1BA4C4E2FF2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236E3D23-05D2-4821-9AF7-FFADF1DA58E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FD9F798E-AE4F-475F-AA9C-E30216459E3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31AEC8AF-BC72-4185-895D-567B8FC9883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D68998B8-3E14-449C-8113-74C20D2B970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5F83B174-6A9C-4EE6-8F69-6AD1EA42BBB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4E86D5C7-3408-44FD-9C12-A094AF865F4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1E17979E-28CF-4C5B-B4CF-3564AA32630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31BC9454-A118-4618-8E08-37E88E32625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ED64CFAB-FA61-479A-9C1D-599F1375B04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F8B7C8CD-6817-4F39-80A0-BB1742538AD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D8AF7635-3F6C-42EF-9C11-8DC00068BF8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FF36AA1A-885E-4AC8-AF6E-02B2EEC6C20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8BF06121-F489-48AD-B690-5C36A573EB4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E3DF2D74-F1C1-4F96-8EB7-185F897283B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1261AC88-1C6C-49DE-BDA3-BA7D4B6CF3B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2FF9E9B4-331D-43D6-AB66-F5E372E7D3D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1</c:f>
              <c:numCache>
                <c:formatCode>General</c:formatCode>
                <c:ptCount val="50"/>
                <c:pt idx="0">
                  <c:v>0.32614219606149664</c:v>
                </c:pt>
                <c:pt idx="1">
                  <c:v>0.31664875250254537</c:v>
                </c:pt>
                <c:pt idx="2">
                  <c:v>0.27346307041982199</c:v>
                </c:pt>
                <c:pt idx="3">
                  <c:v>0.2831646688619443</c:v>
                </c:pt>
                <c:pt idx="4">
                  <c:v>0.2586347262757685</c:v>
                </c:pt>
                <c:pt idx="5">
                  <c:v>0.33786738243552095</c:v>
                </c:pt>
                <c:pt idx="6">
                  <c:v>0.39199545326509833</c:v>
                </c:pt>
                <c:pt idx="7">
                  <c:v>0.24805723261987339</c:v>
                </c:pt>
                <c:pt idx="8">
                  <c:v>0.24785938764333104</c:v>
                </c:pt>
                <c:pt idx="9">
                  <c:v>0.37074721427752688</c:v>
                </c:pt>
                <c:pt idx="10">
                  <c:v>0.24301285130226527</c:v>
                </c:pt>
                <c:pt idx="11">
                  <c:v>0.29023901513577965</c:v>
                </c:pt>
                <c:pt idx="12">
                  <c:v>0.27408514093650493</c:v>
                </c:pt>
                <c:pt idx="13">
                  <c:v>0.38048884495186663</c:v>
                </c:pt>
                <c:pt idx="14">
                  <c:v>0.30308742272142136</c:v>
                </c:pt>
                <c:pt idx="15">
                  <c:v>0.25008655716680273</c:v>
                </c:pt>
                <c:pt idx="16">
                  <c:v>0.28089700180642357</c:v>
                </c:pt>
                <c:pt idx="17">
                  <c:v>0.27117632631945737</c:v>
                </c:pt>
                <c:pt idx="18">
                  <c:v>0.29870429613658334</c:v>
                </c:pt>
                <c:pt idx="19">
                  <c:v>0.28887143469924503</c:v>
                </c:pt>
                <c:pt idx="20">
                  <c:v>0.27333685261571355</c:v>
                </c:pt>
                <c:pt idx="21">
                  <c:v>0.2713669485206564</c:v>
                </c:pt>
                <c:pt idx="22">
                  <c:v>0.37674111408113636</c:v>
                </c:pt>
                <c:pt idx="23">
                  <c:v>0.34170217411726383</c:v>
                </c:pt>
                <c:pt idx="24">
                  <c:v>0.27953887621663237</c:v>
                </c:pt>
                <c:pt idx="25">
                  <c:v>0.26139863941217595</c:v>
                </c:pt>
                <c:pt idx="26">
                  <c:v>0.28515871070852677</c:v>
                </c:pt>
                <c:pt idx="27">
                  <c:v>0.31741391390991608</c:v>
                </c:pt>
                <c:pt idx="28">
                  <c:v>0.26620342419047666</c:v>
                </c:pt>
                <c:pt idx="29">
                  <c:v>0.27032392247178932</c:v>
                </c:pt>
                <c:pt idx="30">
                  <c:v>0.25398515744663003</c:v>
                </c:pt>
                <c:pt idx="31">
                  <c:v>0.28052802243816721</c:v>
                </c:pt>
                <c:pt idx="32">
                  <c:v>0.25420735412144679</c:v>
                </c:pt>
                <c:pt idx="33">
                  <c:v>0.34032241378886918</c:v>
                </c:pt>
                <c:pt idx="34">
                  <c:v>0.29260451481690342</c:v>
                </c:pt>
                <c:pt idx="35">
                  <c:v>0.27010707272762946</c:v>
                </c:pt>
                <c:pt idx="36">
                  <c:v>0.30239907256816745</c:v>
                </c:pt>
                <c:pt idx="37">
                  <c:v>0.32976074763129964</c:v>
                </c:pt>
                <c:pt idx="38">
                  <c:v>0.32883855339035062</c:v>
                </c:pt>
                <c:pt idx="39">
                  <c:v>0.27306037067424022</c:v>
                </c:pt>
                <c:pt idx="40">
                  <c:v>0.31776436198193048</c:v>
                </c:pt>
                <c:pt idx="41">
                  <c:v>0.239223188374001</c:v>
                </c:pt>
                <c:pt idx="42">
                  <c:v>0.3262179990104076</c:v>
                </c:pt>
                <c:pt idx="43">
                  <c:v>0.27599787245298646</c:v>
                </c:pt>
                <c:pt idx="44">
                  <c:v>0.23472836573018385</c:v>
                </c:pt>
                <c:pt idx="45">
                  <c:v>0.22448270645716939</c:v>
                </c:pt>
                <c:pt idx="46">
                  <c:v>0.24585381842019011</c:v>
                </c:pt>
                <c:pt idx="47">
                  <c:v>0.29945368378448511</c:v>
                </c:pt>
              </c:numCache>
            </c:numRef>
          </c:xVal>
          <c:yVal>
            <c:numRef>
              <c:f>Sheet1!$B$2:$B$51</c:f>
              <c:numCache>
                <c:formatCode>General</c:formatCode>
                <c:ptCount val="50"/>
                <c:pt idx="0">
                  <c:v>4.036642599277978</c:v>
                </c:pt>
                <c:pt idx="1">
                  <c:v>2.8052981048554435</c:v>
                </c:pt>
                <c:pt idx="2">
                  <c:v>2.3157631776167875</c:v>
                </c:pt>
                <c:pt idx="3">
                  <c:v>3.3874534581969988</c:v>
                </c:pt>
                <c:pt idx="4">
                  <c:v>2.1946284032376746</c:v>
                </c:pt>
                <c:pt idx="5">
                  <c:v>5.5104879160966709</c:v>
                </c:pt>
                <c:pt idx="6">
                  <c:v>5.8558732345849123</c:v>
                </c:pt>
                <c:pt idx="7">
                  <c:v>0.8575959403742468</c:v>
                </c:pt>
                <c:pt idx="8">
                  <c:v>0.91815809097688295</c:v>
                </c:pt>
                <c:pt idx="9">
                  <c:v>5.1425761271539852</c:v>
                </c:pt>
                <c:pt idx="10">
                  <c:v>1.949090909090909</c:v>
                </c:pt>
                <c:pt idx="11">
                  <c:v>2.15698407241893</c:v>
                </c:pt>
                <c:pt idx="12">
                  <c:v>2.1229696158991018</c:v>
                </c:pt>
                <c:pt idx="13">
                  <c:v>6.3531066822977724</c:v>
                </c:pt>
                <c:pt idx="14">
                  <c:v>3.45</c:v>
                </c:pt>
                <c:pt idx="15">
                  <c:v>1.1538200339558573</c:v>
                </c:pt>
                <c:pt idx="16">
                  <c:v>2.313090542152096</c:v>
                </c:pt>
                <c:pt idx="17">
                  <c:v>1.4464879237757589</c:v>
                </c:pt>
                <c:pt idx="18">
                  <c:v>1.9545373823477179</c:v>
                </c:pt>
                <c:pt idx="19">
                  <c:v>2.2469486531986531</c:v>
                </c:pt>
                <c:pt idx="20">
                  <c:v>2.035958124715521</c:v>
                </c:pt>
                <c:pt idx="21">
                  <c:v>2.1883473799926714</c:v>
                </c:pt>
                <c:pt idx="22">
                  <c:v>2.9860900354071824</c:v>
                </c:pt>
                <c:pt idx="23">
                  <c:v>1.6556822982678496</c:v>
                </c:pt>
                <c:pt idx="24">
                  <c:v>0.74406457739791076</c:v>
                </c:pt>
                <c:pt idx="25">
                  <c:v>1.9397372742200329</c:v>
                </c:pt>
                <c:pt idx="26">
                  <c:v>2.4108446298227322</c:v>
                </c:pt>
                <c:pt idx="27">
                  <c:v>1.1723356009070294</c:v>
                </c:pt>
                <c:pt idx="28">
                  <c:v>2.0220286885245899</c:v>
                </c:pt>
                <c:pt idx="29">
                  <c:v>2.4238369699464801</c:v>
                </c:pt>
                <c:pt idx="30">
                  <c:v>1.7869481765834934</c:v>
                </c:pt>
                <c:pt idx="31">
                  <c:v>2.4264361078546308</c:v>
                </c:pt>
                <c:pt idx="32">
                  <c:v>1.6909884158266888</c:v>
                </c:pt>
                <c:pt idx="33">
                  <c:v>1.3602050326188257</c:v>
                </c:pt>
                <c:pt idx="34">
                  <c:v>0.90998268897864976</c:v>
                </c:pt>
                <c:pt idx="35">
                  <c:v>1.7486426061961036</c:v>
                </c:pt>
                <c:pt idx="36">
                  <c:v>3.7153641207815276</c:v>
                </c:pt>
                <c:pt idx="37">
                  <c:v>0.63358208955223883</c:v>
                </c:pt>
                <c:pt idx="38">
                  <c:v>3.2248565965583174</c:v>
                </c:pt>
                <c:pt idx="39">
                  <c:v>0.36051693404634583</c:v>
                </c:pt>
                <c:pt idx="40">
                  <c:v>1.3776626367299942</c:v>
                </c:pt>
                <c:pt idx="41">
                  <c:v>1.8659543467702768</c:v>
                </c:pt>
                <c:pt idx="42">
                  <c:v>1.4394765539803707</c:v>
                </c:pt>
                <c:pt idx="43">
                  <c:v>1.628901239846088</c:v>
                </c:pt>
                <c:pt idx="44">
                  <c:v>1.3637426900584795</c:v>
                </c:pt>
                <c:pt idx="45">
                  <c:v>0.60488798370672103</c:v>
                </c:pt>
                <c:pt idx="46">
                  <c:v>1.4079956188389924</c:v>
                </c:pt>
                <c:pt idx="47">
                  <c:v>1.1113460183227626</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fld id="{87C31983-F6E2-45E2-BC7D-68612B98186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fld id="{BF2605E1-78EA-4463-BFE2-672D1A2D2E4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fld id="{BCACDB40-5899-488C-92E3-C541FA24E64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A0E6BC59-F809-488A-B121-7E4FD62B7B4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B30C7A77-EF93-4CAE-8B78-00B9D89787D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83E48E86-7644-4618-B281-C6382DC7C88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36AADF18-9BCC-4444-A1AA-2B424DD3FE2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8803AAD5-ABB3-4E64-B8FD-B5868580869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12C8D985-6CE4-404B-A932-2EE131F4627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D71421E7-D53F-447E-8A71-497F3FFBEDF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EC6FF380-4988-4822-909D-A427D8EBD2F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07F4ADEA-FB96-4850-9621-54BF4C93D34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07FC1236-7BD1-403B-B128-87DC2CC00FF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E48AAC54-1F41-48C8-A2F7-C6474B13C14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CF4AA355-F4DA-4BB9-B5BF-7D63A8A6B23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5C943F84-7132-4F1B-A2B8-88F54D76A41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7DEBD255-0EB5-49A9-8446-398010EF9D1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B24165BE-0562-4A96-A91C-A9704C387AD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0644937B-B016-41A3-9A30-C7E8943CF1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04B7F280-BDC7-4775-B490-10F04ED79BC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AB9711E9-762C-4017-A1E8-117BA9A1389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7AA4BE77-75C5-41BB-8DE7-7FEA01FC332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08B319FA-AEC0-4453-9F00-4C27AF58EB9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480BEFB2-71C4-4F6F-88AD-F669376B341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5A533DB8-3A12-44D9-A75C-473D9B5E21C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E91DCED0-3EC9-4A61-A290-6F832858023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8E8A9BE5-75F3-46BF-8410-5E213DA8344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4FDADA7D-053B-48DB-B54E-E97BAC786A1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97D67C7B-4D7C-4FF3-94E4-FEB5B0607E7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15BCD65C-BEDC-4FC6-9127-6554C880CE5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F2210B02-068E-4726-9D41-BFAD905211F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4A72996A-BF5E-4900-842C-939C4AFAA80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A1287DE0-094A-42D6-AED6-22F2C46844B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27D1A736-0A18-4E36-8959-5B3524CB89C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E9BE6BA2-4FBC-4AB4-A12E-DB04B721EA2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24F11841-2F66-4757-A6D5-F117FC7BA4A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4A7CB5EE-7154-4962-8DDB-A58C1D0D7E6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9F5AE932-0FB7-47EC-8564-15701F20B47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AF63DAC8-C108-4F47-A15A-1AF341C2C84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D66DD86B-1F04-4BAE-B464-E99E85B0C32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C30B94A0-B17A-43AA-9DE8-E0E538B4F25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73D48B02-FC87-484B-9611-DBB7C48DD9D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DF340FDE-4FA7-4896-8D98-5443FE9AECC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8038F6F9-6F23-4FB2-B401-A079CABF36E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8AE2C1B1-40C8-4039-9B74-D2A204B9CB2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A98F5689-EDF8-4063-A7F9-1247ACBCD52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A375CF92-52E9-42FD-839C-A988CF72FD0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7B4C5F73-B9F5-4882-89B4-062A1049224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1</c:f>
              <c:numCache>
                <c:formatCode>General</c:formatCode>
                <c:ptCount val="50"/>
                <c:pt idx="0">
                  <c:v>0.32614219606149664</c:v>
                </c:pt>
                <c:pt idx="1">
                  <c:v>0.31664875250254537</c:v>
                </c:pt>
                <c:pt idx="2">
                  <c:v>0.27346307041982199</c:v>
                </c:pt>
                <c:pt idx="3">
                  <c:v>0.2831646688619443</c:v>
                </c:pt>
                <c:pt idx="4">
                  <c:v>0.2586347262757685</c:v>
                </c:pt>
                <c:pt idx="5">
                  <c:v>0.33786738243552095</c:v>
                </c:pt>
                <c:pt idx="6">
                  <c:v>0.39199545326509833</c:v>
                </c:pt>
                <c:pt idx="7">
                  <c:v>0.24805723261987339</c:v>
                </c:pt>
                <c:pt idx="8">
                  <c:v>0.24785938764333104</c:v>
                </c:pt>
                <c:pt idx="9">
                  <c:v>0.37074721427752688</c:v>
                </c:pt>
                <c:pt idx="10">
                  <c:v>0.24301285130226527</c:v>
                </c:pt>
                <c:pt idx="11">
                  <c:v>0.29023901513577965</c:v>
                </c:pt>
                <c:pt idx="12">
                  <c:v>0.27408514093650493</c:v>
                </c:pt>
                <c:pt idx="13">
                  <c:v>0.38048884495186663</c:v>
                </c:pt>
                <c:pt idx="14">
                  <c:v>0.30308742272142136</c:v>
                </c:pt>
                <c:pt idx="15">
                  <c:v>0.25008655716680273</c:v>
                </c:pt>
                <c:pt idx="16">
                  <c:v>0.28089700180642357</c:v>
                </c:pt>
                <c:pt idx="17">
                  <c:v>0.27117632631945737</c:v>
                </c:pt>
                <c:pt idx="18">
                  <c:v>0.29870429613658334</c:v>
                </c:pt>
                <c:pt idx="19">
                  <c:v>0.28887143469924503</c:v>
                </c:pt>
                <c:pt idx="20">
                  <c:v>0.27333685261571355</c:v>
                </c:pt>
                <c:pt idx="21">
                  <c:v>0.2713669485206564</c:v>
                </c:pt>
                <c:pt idx="22">
                  <c:v>0.37674111408113636</c:v>
                </c:pt>
                <c:pt idx="23">
                  <c:v>0.34170217411726383</c:v>
                </c:pt>
                <c:pt idx="24">
                  <c:v>0.27953887621663237</c:v>
                </c:pt>
                <c:pt idx="25">
                  <c:v>0.26139863941217595</c:v>
                </c:pt>
                <c:pt idx="26">
                  <c:v>0.28515871070852677</c:v>
                </c:pt>
                <c:pt idx="27">
                  <c:v>0.31741391390991608</c:v>
                </c:pt>
                <c:pt idx="28">
                  <c:v>0.26620342419047666</c:v>
                </c:pt>
                <c:pt idx="29">
                  <c:v>0.27032392247178932</c:v>
                </c:pt>
                <c:pt idx="30">
                  <c:v>0.25398515744663003</c:v>
                </c:pt>
                <c:pt idx="31">
                  <c:v>0.28052802243816721</c:v>
                </c:pt>
                <c:pt idx="32">
                  <c:v>0.25420735412144679</c:v>
                </c:pt>
                <c:pt idx="33">
                  <c:v>0.34032241378886918</c:v>
                </c:pt>
                <c:pt idx="34">
                  <c:v>0.29260451481690342</c:v>
                </c:pt>
                <c:pt idx="35">
                  <c:v>0.27010707272762946</c:v>
                </c:pt>
                <c:pt idx="36">
                  <c:v>0.30239907256816745</c:v>
                </c:pt>
                <c:pt idx="37">
                  <c:v>0.32976074763129964</c:v>
                </c:pt>
                <c:pt idx="38">
                  <c:v>0.32883855339035062</c:v>
                </c:pt>
                <c:pt idx="39">
                  <c:v>0.27306037067424022</c:v>
                </c:pt>
                <c:pt idx="40">
                  <c:v>0.31776436198193048</c:v>
                </c:pt>
                <c:pt idx="41">
                  <c:v>0.239223188374001</c:v>
                </c:pt>
                <c:pt idx="42">
                  <c:v>0.3262179990104076</c:v>
                </c:pt>
                <c:pt idx="43">
                  <c:v>0.27599787245298646</c:v>
                </c:pt>
                <c:pt idx="44">
                  <c:v>0.23472836573018385</c:v>
                </c:pt>
                <c:pt idx="45">
                  <c:v>0.22448270645716939</c:v>
                </c:pt>
                <c:pt idx="46">
                  <c:v>0.24585381842019011</c:v>
                </c:pt>
                <c:pt idx="47">
                  <c:v>0.29945368378448511</c:v>
                </c:pt>
              </c:numCache>
            </c:numRef>
          </c:xVal>
          <c:yVal>
            <c:numRef>
              <c:f>Sheet1!$B$2:$B$51</c:f>
              <c:numCache>
                <c:formatCode>General</c:formatCode>
                <c:ptCount val="50"/>
                <c:pt idx="0">
                  <c:v>4.036642599277978</c:v>
                </c:pt>
                <c:pt idx="1">
                  <c:v>2.8052981048554435</c:v>
                </c:pt>
                <c:pt idx="2">
                  <c:v>2.3157631776167875</c:v>
                </c:pt>
                <c:pt idx="3">
                  <c:v>3.3874534581969988</c:v>
                </c:pt>
                <c:pt idx="4">
                  <c:v>2.1946284032376746</c:v>
                </c:pt>
                <c:pt idx="5">
                  <c:v>5.5104879160966709</c:v>
                </c:pt>
                <c:pt idx="6">
                  <c:v>5.8558732345849123</c:v>
                </c:pt>
                <c:pt idx="7">
                  <c:v>0.8575959403742468</c:v>
                </c:pt>
                <c:pt idx="8">
                  <c:v>0.91815809097688295</c:v>
                </c:pt>
                <c:pt idx="9">
                  <c:v>5.1425761271539852</c:v>
                </c:pt>
                <c:pt idx="10">
                  <c:v>1.949090909090909</c:v>
                </c:pt>
                <c:pt idx="11">
                  <c:v>2.15698407241893</c:v>
                </c:pt>
                <c:pt idx="12">
                  <c:v>2.1229696158991018</c:v>
                </c:pt>
                <c:pt idx="13">
                  <c:v>6.3531066822977724</c:v>
                </c:pt>
                <c:pt idx="14">
                  <c:v>3.45</c:v>
                </c:pt>
                <c:pt idx="15">
                  <c:v>1.1538200339558573</c:v>
                </c:pt>
                <c:pt idx="16">
                  <c:v>2.313090542152096</c:v>
                </c:pt>
                <c:pt idx="17">
                  <c:v>1.4464879237757589</c:v>
                </c:pt>
                <c:pt idx="18">
                  <c:v>1.9545373823477179</c:v>
                </c:pt>
                <c:pt idx="19">
                  <c:v>2.2469486531986531</c:v>
                </c:pt>
                <c:pt idx="20">
                  <c:v>2.035958124715521</c:v>
                </c:pt>
                <c:pt idx="21">
                  <c:v>2.1883473799926714</c:v>
                </c:pt>
                <c:pt idx="22">
                  <c:v>2.9860900354071824</c:v>
                </c:pt>
                <c:pt idx="23">
                  <c:v>1.6556822982678496</c:v>
                </c:pt>
                <c:pt idx="24">
                  <c:v>0.74406457739791076</c:v>
                </c:pt>
                <c:pt idx="25">
                  <c:v>1.9397372742200329</c:v>
                </c:pt>
                <c:pt idx="26">
                  <c:v>2.4108446298227322</c:v>
                </c:pt>
                <c:pt idx="27">
                  <c:v>1.1723356009070294</c:v>
                </c:pt>
                <c:pt idx="28">
                  <c:v>2.0220286885245899</c:v>
                </c:pt>
                <c:pt idx="29">
                  <c:v>2.4238369699464801</c:v>
                </c:pt>
                <c:pt idx="30">
                  <c:v>1.7869481765834934</c:v>
                </c:pt>
                <c:pt idx="31">
                  <c:v>2.4264361078546308</c:v>
                </c:pt>
                <c:pt idx="32">
                  <c:v>1.6909884158266888</c:v>
                </c:pt>
                <c:pt idx="33">
                  <c:v>1.3602050326188257</c:v>
                </c:pt>
                <c:pt idx="34">
                  <c:v>0.90998268897864976</c:v>
                </c:pt>
                <c:pt idx="35">
                  <c:v>1.7486426061961036</c:v>
                </c:pt>
                <c:pt idx="36">
                  <c:v>3.7153641207815276</c:v>
                </c:pt>
                <c:pt idx="37">
                  <c:v>0.63358208955223883</c:v>
                </c:pt>
                <c:pt idx="38">
                  <c:v>3.2248565965583174</c:v>
                </c:pt>
                <c:pt idx="39">
                  <c:v>0.36051693404634583</c:v>
                </c:pt>
                <c:pt idx="40">
                  <c:v>1.3776626367299942</c:v>
                </c:pt>
                <c:pt idx="41">
                  <c:v>1.8659543467702768</c:v>
                </c:pt>
                <c:pt idx="42">
                  <c:v>1.4394765539803707</c:v>
                </c:pt>
                <c:pt idx="43">
                  <c:v>1.628901239846088</c:v>
                </c:pt>
                <c:pt idx="44">
                  <c:v>1.3637426900584795</c:v>
                </c:pt>
                <c:pt idx="45">
                  <c:v>0.60488798370672103</c:v>
                </c:pt>
                <c:pt idx="46">
                  <c:v>1.4079956188389924</c:v>
                </c:pt>
                <c:pt idx="47">
                  <c:v>1.1113460183227626</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fld id="{1B7326A5-FE59-47D7-9269-ADDBB668740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fld id="{E5252130-7B40-4147-8494-C5F1BA6B505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fld id="{04C311FB-1671-47B6-B6FA-B67F1341A6D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3AE0142D-1785-408E-9BA6-EB39B4FEAB8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B1A30873-3055-443E-822C-6DF9BFA2BBC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59EF2B30-6639-423A-929B-C3024D217B4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D0500A24-28D4-4A05-83B5-2EBDF20948F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2BF46407-7230-46A7-B04E-46A9BBC14B7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D7817A70-DFE1-474C-BCB4-BF60B51352F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477202EC-4551-4AAF-9938-A039C3721F1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D1808FE2-EFEC-4270-B9F3-454E7961041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E5D48B34-AC6C-4DB8-B239-6B2D4CABE3F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7F38AF74-D392-44DC-B463-7B1BF7F72C2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12933592-B59C-4F6C-BC18-998FD5ED84D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44492C1C-F5E8-4AE6-A08B-0DFD9D4A3D3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716F7715-C658-42B6-B99D-62C987A4EA8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2BCEAD70-B0AB-4807-841E-31981CE59EC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37CEBC51-23D0-49FC-8C8E-982A65976C0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115E75F8-D910-41BA-AB33-9714B60826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7864238E-7BE9-4DE8-90C9-6C6B3952838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A7846CCE-5ACA-4371-912A-0FF2F9ADE28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0D64969E-D411-49C7-8F97-BAD080ECBC0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080F07A1-1191-4A0F-A561-C0CB4503E48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9B05502C-3EAA-4664-9E4A-FA6C7DE5D7D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51024827-92C0-46CA-BBF4-C07C4977A6D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171A73AA-5DD7-4134-BFAC-B3F33CA824F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707047F8-88A4-48F1-A773-63131D7A8A0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4ACE9544-840E-4B2F-97DA-268C506F089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4CE333AA-696D-4BD2-B53A-69D049C8039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C0A55007-24D5-498B-8912-2CA8E77467B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D6ADF387-1C38-46FA-822A-99A0E17EDA5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78FDCD9D-4B61-430B-BAA5-891B8B9ECF5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CFC5767A-E39D-41A0-89DD-B81B916EAFE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1E65FAD6-35C8-4BBC-A1FD-570A0767937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E7724A7A-24C9-4BBD-BAA6-55AA47AC21B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5594FB49-CBE7-4BD2-A2FD-41CCB100F7F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CB3C2D10-2371-4346-8BF5-830C72E32C2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8CD5B6EB-1376-484A-901B-B815F53CE60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77727924-B67A-4398-93C9-5CE4EC6A1E3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F3F8F2DE-5F54-453B-97FF-3566375ADBB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4D44E33B-5D68-4D42-AE50-BD07AF154C7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2EE0E122-E0B3-4284-BF3C-84B5CD955C0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9914F39C-E597-458C-9BF1-5D3BE1BFE0C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CB4A4FF9-EBD7-4EB3-9F4E-EA97A70154D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56E225E6-5211-4F7F-BEB9-0B76BA16AAF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498EA252-AA4C-44F1-B68A-42C924B01E6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0D8DD2EB-C08C-4EAC-A015-3DF9A9BABD5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8855CF45-4F86-4DFA-8208-4A26B32365B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1</c:f>
              <c:numCache>
                <c:formatCode>General</c:formatCode>
                <c:ptCount val="50"/>
                <c:pt idx="0">
                  <c:v>0.32614219606149664</c:v>
                </c:pt>
                <c:pt idx="1">
                  <c:v>0.31664875250254537</c:v>
                </c:pt>
                <c:pt idx="2">
                  <c:v>0.27346307041982199</c:v>
                </c:pt>
                <c:pt idx="3">
                  <c:v>0.2831646688619443</c:v>
                </c:pt>
                <c:pt idx="4">
                  <c:v>0.2586347262757685</c:v>
                </c:pt>
                <c:pt idx="5">
                  <c:v>0.33786738243552095</c:v>
                </c:pt>
                <c:pt idx="6">
                  <c:v>0.39199545326509833</c:v>
                </c:pt>
                <c:pt idx="7">
                  <c:v>0.24805723261987339</c:v>
                </c:pt>
                <c:pt idx="8">
                  <c:v>0.24785938764333104</c:v>
                </c:pt>
                <c:pt idx="9">
                  <c:v>0.37074721427752688</c:v>
                </c:pt>
                <c:pt idx="10">
                  <c:v>0.24301285130226527</c:v>
                </c:pt>
                <c:pt idx="11">
                  <c:v>0.29023901513577965</c:v>
                </c:pt>
                <c:pt idx="12">
                  <c:v>0.27408514093650493</c:v>
                </c:pt>
                <c:pt idx="13">
                  <c:v>0.38048884495186663</c:v>
                </c:pt>
                <c:pt idx="14">
                  <c:v>0.30308742272142136</c:v>
                </c:pt>
                <c:pt idx="15">
                  <c:v>0.25008655716680273</c:v>
                </c:pt>
                <c:pt idx="16">
                  <c:v>0.28089700180642357</c:v>
                </c:pt>
                <c:pt idx="17">
                  <c:v>0.27117632631945737</c:v>
                </c:pt>
                <c:pt idx="18">
                  <c:v>0.29870429613658334</c:v>
                </c:pt>
                <c:pt idx="19">
                  <c:v>0.28887143469924503</c:v>
                </c:pt>
                <c:pt idx="20">
                  <c:v>0.27333685261571355</c:v>
                </c:pt>
                <c:pt idx="21">
                  <c:v>0.2713669485206564</c:v>
                </c:pt>
                <c:pt idx="22">
                  <c:v>0.37674111408113636</c:v>
                </c:pt>
                <c:pt idx="23">
                  <c:v>0.34170217411726383</c:v>
                </c:pt>
                <c:pt idx="24">
                  <c:v>0.27953887621663237</c:v>
                </c:pt>
                <c:pt idx="25">
                  <c:v>0.26139863941217595</c:v>
                </c:pt>
                <c:pt idx="26">
                  <c:v>0.28515871070852677</c:v>
                </c:pt>
                <c:pt idx="27">
                  <c:v>0.31741391390991608</c:v>
                </c:pt>
                <c:pt idx="28">
                  <c:v>0.26620342419047666</c:v>
                </c:pt>
                <c:pt idx="29">
                  <c:v>0.27032392247178932</c:v>
                </c:pt>
                <c:pt idx="30">
                  <c:v>0.25398515744663003</c:v>
                </c:pt>
                <c:pt idx="31">
                  <c:v>0.28052802243816721</c:v>
                </c:pt>
                <c:pt idx="32">
                  <c:v>0.25420735412144679</c:v>
                </c:pt>
                <c:pt idx="33">
                  <c:v>0.34032241378886918</c:v>
                </c:pt>
                <c:pt idx="34">
                  <c:v>0.29260451481690342</c:v>
                </c:pt>
                <c:pt idx="35">
                  <c:v>0.27010707272762946</c:v>
                </c:pt>
                <c:pt idx="36">
                  <c:v>0.30239907256816745</c:v>
                </c:pt>
                <c:pt idx="37">
                  <c:v>0.32976074763129964</c:v>
                </c:pt>
                <c:pt idx="38">
                  <c:v>0.32883855339035062</c:v>
                </c:pt>
                <c:pt idx="39">
                  <c:v>0.27306037067424022</c:v>
                </c:pt>
                <c:pt idx="40">
                  <c:v>0.31776436198193048</c:v>
                </c:pt>
                <c:pt idx="41">
                  <c:v>0.239223188374001</c:v>
                </c:pt>
                <c:pt idx="42">
                  <c:v>0.3262179990104076</c:v>
                </c:pt>
                <c:pt idx="43">
                  <c:v>0.27599787245298646</c:v>
                </c:pt>
                <c:pt idx="44">
                  <c:v>0.23472836573018385</c:v>
                </c:pt>
                <c:pt idx="45">
                  <c:v>0.22448270645716939</c:v>
                </c:pt>
                <c:pt idx="46">
                  <c:v>0.24585381842019011</c:v>
                </c:pt>
                <c:pt idx="47">
                  <c:v>0.29945368378448511</c:v>
                </c:pt>
              </c:numCache>
            </c:numRef>
          </c:xVal>
          <c:yVal>
            <c:numRef>
              <c:f>Sheet1!$B$2:$B$51</c:f>
              <c:numCache>
                <c:formatCode>General</c:formatCode>
                <c:ptCount val="50"/>
                <c:pt idx="0">
                  <c:v>4.036642599277978</c:v>
                </c:pt>
                <c:pt idx="1">
                  <c:v>2.8052981048554435</c:v>
                </c:pt>
                <c:pt idx="2">
                  <c:v>2.3157631776167875</c:v>
                </c:pt>
                <c:pt idx="3">
                  <c:v>3.3874534581969988</c:v>
                </c:pt>
                <c:pt idx="4">
                  <c:v>2.1946284032376746</c:v>
                </c:pt>
                <c:pt idx="5">
                  <c:v>5.5104879160966709</c:v>
                </c:pt>
                <c:pt idx="6">
                  <c:v>5.8558732345849123</c:v>
                </c:pt>
                <c:pt idx="7">
                  <c:v>0.8575959403742468</c:v>
                </c:pt>
                <c:pt idx="8">
                  <c:v>0.91815809097688295</c:v>
                </c:pt>
                <c:pt idx="9">
                  <c:v>5.1425761271539852</c:v>
                </c:pt>
                <c:pt idx="10">
                  <c:v>1.949090909090909</c:v>
                </c:pt>
                <c:pt idx="11">
                  <c:v>2.15698407241893</c:v>
                </c:pt>
                <c:pt idx="12">
                  <c:v>2.1229696158991018</c:v>
                </c:pt>
                <c:pt idx="13">
                  <c:v>6.3531066822977724</c:v>
                </c:pt>
                <c:pt idx="14">
                  <c:v>3.45</c:v>
                </c:pt>
                <c:pt idx="15">
                  <c:v>1.1538200339558573</c:v>
                </c:pt>
                <c:pt idx="16">
                  <c:v>2.313090542152096</c:v>
                </c:pt>
                <c:pt idx="17">
                  <c:v>1.4464879237757589</c:v>
                </c:pt>
                <c:pt idx="18">
                  <c:v>1.9545373823477179</c:v>
                </c:pt>
                <c:pt idx="19">
                  <c:v>2.2469486531986531</c:v>
                </c:pt>
                <c:pt idx="20">
                  <c:v>2.035958124715521</c:v>
                </c:pt>
                <c:pt idx="21">
                  <c:v>2.1883473799926714</c:v>
                </c:pt>
                <c:pt idx="22">
                  <c:v>2.9860900354071824</c:v>
                </c:pt>
                <c:pt idx="23">
                  <c:v>1.6556822982678496</c:v>
                </c:pt>
                <c:pt idx="24">
                  <c:v>0.74406457739791076</c:v>
                </c:pt>
                <c:pt idx="25">
                  <c:v>1.9397372742200329</c:v>
                </c:pt>
                <c:pt idx="26">
                  <c:v>2.4108446298227322</c:v>
                </c:pt>
                <c:pt idx="27">
                  <c:v>1.1723356009070294</c:v>
                </c:pt>
                <c:pt idx="28">
                  <c:v>2.0220286885245899</c:v>
                </c:pt>
                <c:pt idx="29">
                  <c:v>2.4238369699464801</c:v>
                </c:pt>
                <c:pt idx="30">
                  <c:v>1.7869481765834934</c:v>
                </c:pt>
                <c:pt idx="31">
                  <c:v>2.4264361078546308</c:v>
                </c:pt>
                <c:pt idx="32">
                  <c:v>1.6909884158266888</c:v>
                </c:pt>
                <c:pt idx="33">
                  <c:v>1.3602050326188257</c:v>
                </c:pt>
                <c:pt idx="34">
                  <c:v>0.90998268897864976</c:v>
                </c:pt>
                <c:pt idx="35">
                  <c:v>1.7486426061961036</c:v>
                </c:pt>
                <c:pt idx="36">
                  <c:v>3.7153641207815276</c:v>
                </c:pt>
                <c:pt idx="37">
                  <c:v>0.63358208955223883</c:v>
                </c:pt>
                <c:pt idx="38">
                  <c:v>3.2248565965583174</c:v>
                </c:pt>
                <c:pt idx="39">
                  <c:v>0.36051693404634583</c:v>
                </c:pt>
                <c:pt idx="40">
                  <c:v>1.3776626367299942</c:v>
                </c:pt>
                <c:pt idx="41">
                  <c:v>1.8659543467702768</c:v>
                </c:pt>
                <c:pt idx="42">
                  <c:v>1.4394765539803707</c:v>
                </c:pt>
                <c:pt idx="43">
                  <c:v>1.628901239846088</c:v>
                </c:pt>
                <c:pt idx="44">
                  <c:v>1.3637426900584795</c:v>
                </c:pt>
                <c:pt idx="45">
                  <c:v>0.60488798370672103</c:v>
                </c:pt>
                <c:pt idx="46">
                  <c:v>1.4079956188389924</c:v>
                </c:pt>
                <c:pt idx="47">
                  <c:v>1.1113460183227626</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fld id="{2DE09536-E113-425D-BED4-BDC1BE1FF89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fld id="{6BC09EAA-BACD-4FE0-8035-DECBDB197BC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fld id="{1662D838-2C40-4ED9-A3BF-1D22A7476B6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11E70B83-0660-4DB7-AE13-AE0CDF02720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AC142C08-A3EE-4192-9345-7F2A84201A7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25AD85FD-B66D-4B2A-B179-9CA61B99DAE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0928CC2D-32BA-4409-AA38-FF82C3972CB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D5B528CD-213E-449A-A41A-9BBDFFAE7AD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1AEBFADF-AA70-477E-9F66-F74750DA550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6B5C2DC7-50B9-49F5-BBF4-D624D18C3D2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9D9EAD8B-A032-44D4-A5A7-0FEAF53BFC1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BAB5DD98-063E-4E86-B13B-ABA495E9D9D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EE3976CB-80C6-4C1B-A264-A5368B8509A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5B9FB9B9-C5B6-483F-AA41-D00F210693A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E0067426-7BA7-4C40-942F-025EC560980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58CB9E53-84AC-4266-A8B0-F8F02076134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0A9DF0FB-879C-4CB6-AFE6-27BC717E526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C0ADABE3-CCAA-49A6-B5AC-155985C757D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7FCE534D-6423-435B-A026-2566D7840C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9889384A-E5D5-44FB-BEC2-69AAD539118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FEEDAAC0-FADD-4C8A-899B-9359AFCAD86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4F367464-182C-4A5C-BD98-8F2BE76E46E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4334C659-7182-4A92-AB1D-56C9C5E0547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93F82133-300E-4043-A899-8325AC7BB4A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79CD4412-B5D9-4238-AF61-9ECB951C92E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0E39181F-C1DE-477F-8645-21ECB66FA00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32732B91-BDC6-44ED-BBF3-F97215A86F6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A4669E32-25DD-431F-A371-133FF291499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77450668-9CF2-4D4D-9670-B03D8546F82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BD37CE01-1A50-45AC-8BC2-F367900D7CE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5A3E0CFD-2A5C-49CE-8D89-C49004FCC16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9E55D86D-F6CC-4246-9364-71D197E4A98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84855CC3-9D6A-4B16-895A-43ED01D206A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B7B51C0D-11E0-4C62-817F-38549B48E7B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32DFF08A-E62E-47C5-97B1-4D0268926BF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CFBA1C9D-84C4-471E-99B9-689557E50EE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EAC5453B-EB57-4022-A06C-83B12C88B02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5DFCD4A8-5264-406E-8579-CCA181D4F12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4BA78969-982B-4C3E-A49C-C59B9FA402B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988BC8D1-BA2F-4C83-9DF3-1E59DF803D4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A2109181-CF9B-4483-956E-95FD7A4117E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BAAE9F2F-F9A9-4ED4-921E-C56B5CB3855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A816ABBC-29F0-46F7-AD13-4EE94A7120F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0F01B725-0756-46E8-979A-40EEF29C8B4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27A375E0-BB0D-469E-A787-584D2D14FEC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EFC149B8-A50B-4B6E-BC71-DAF09291BCA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D81700F4-46CF-44EF-9123-8FD0ECCE37C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38B52A7C-2911-418F-B83B-7F41178EBED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1</c:f>
              <c:numCache>
                <c:formatCode>General</c:formatCode>
                <c:ptCount val="50"/>
                <c:pt idx="0">
                  <c:v>0.32614219606149664</c:v>
                </c:pt>
                <c:pt idx="1">
                  <c:v>0.31664875250254537</c:v>
                </c:pt>
                <c:pt idx="2">
                  <c:v>0.27346307041982199</c:v>
                </c:pt>
                <c:pt idx="3">
                  <c:v>0.2831646688619443</c:v>
                </c:pt>
                <c:pt idx="4">
                  <c:v>0.2586347262757685</c:v>
                </c:pt>
                <c:pt idx="5">
                  <c:v>0.33786738243552095</c:v>
                </c:pt>
                <c:pt idx="6">
                  <c:v>0.39199545326509833</c:v>
                </c:pt>
                <c:pt idx="7">
                  <c:v>0.24805723261987339</c:v>
                </c:pt>
                <c:pt idx="8">
                  <c:v>0.24785938764333104</c:v>
                </c:pt>
                <c:pt idx="9">
                  <c:v>0.37074721427752688</c:v>
                </c:pt>
                <c:pt idx="10">
                  <c:v>0.24301285130226527</c:v>
                </c:pt>
                <c:pt idx="11">
                  <c:v>0.29023901513577965</c:v>
                </c:pt>
                <c:pt idx="12">
                  <c:v>0.27408514093650493</c:v>
                </c:pt>
                <c:pt idx="13">
                  <c:v>0.38048884495186663</c:v>
                </c:pt>
                <c:pt idx="14">
                  <c:v>0.30308742272142136</c:v>
                </c:pt>
                <c:pt idx="15">
                  <c:v>0.25008655716680273</c:v>
                </c:pt>
                <c:pt idx="16">
                  <c:v>0.28089700180642357</c:v>
                </c:pt>
                <c:pt idx="17">
                  <c:v>0.27117632631945737</c:v>
                </c:pt>
                <c:pt idx="18">
                  <c:v>0.29870429613658334</c:v>
                </c:pt>
                <c:pt idx="19">
                  <c:v>0.28887143469924503</c:v>
                </c:pt>
                <c:pt idx="20">
                  <c:v>0.27333685261571355</c:v>
                </c:pt>
                <c:pt idx="21">
                  <c:v>0.2713669485206564</c:v>
                </c:pt>
                <c:pt idx="22">
                  <c:v>0.37674111408113636</c:v>
                </c:pt>
                <c:pt idx="23">
                  <c:v>0.34170217411726383</c:v>
                </c:pt>
                <c:pt idx="24">
                  <c:v>0.27953887621663237</c:v>
                </c:pt>
                <c:pt idx="25">
                  <c:v>0.26139863941217595</c:v>
                </c:pt>
                <c:pt idx="26">
                  <c:v>0.28515871070852677</c:v>
                </c:pt>
                <c:pt idx="27">
                  <c:v>0.31741391390991608</c:v>
                </c:pt>
                <c:pt idx="28">
                  <c:v>0.26620342419047666</c:v>
                </c:pt>
                <c:pt idx="29">
                  <c:v>0.27032392247178932</c:v>
                </c:pt>
                <c:pt idx="30">
                  <c:v>0.25398515744663003</c:v>
                </c:pt>
                <c:pt idx="31">
                  <c:v>0.28052802243816721</c:v>
                </c:pt>
                <c:pt idx="32">
                  <c:v>0.25420735412144679</c:v>
                </c:pt>
                <c:pt idx="33">
                  <c:v>0.34032241378886918</c:v>
                </c:pt>
                <c:pt idx="34">
                  <c:v>0.29260451481690342</c:v>
                </c:pt>
                <c:pt idx="35">
                  <c:v>0.27010707272762946</c:v>
                </c:pt>
                <c:pt idx="36">
                  <c:v>0.30239907256816745</c:v>
                </c:pt>
                <c:pt idx="37">
                  <c:v>0.32976074763129964</c:v>
                </c:pt>
                <c:pt idx="38">
                  <c:v>0.32883855339035062</c:v>
                </c:pt>
                <c:pt idx="39">
                  <c:v>0.27306037067424022</c:v>
                </c:pt>
                <c:pt idx="40">
                  <c:v>0.31776436198193048</c:v>
                </c:pt>
                <c:pt idx="41">
                  <c:v>0.239223188374001</c:v>
                </c:pt>
                <c:pt idx="42">
                  <c:v>0.3262179990104076</c:v>
                </c:pt>
                <c:pt idx="43">
                  <c:v>0.27599787245298646</c:v>
                </c:pt>
                <c:pt idx="44">
                  <c:v>0.23472836573018385</c:v>
                </c:pt>
                <c:pt idx="45">
                  <c:v>0.22448270645716939</c:v>
                </c:pt>
                <c:pt idx="46">
                  <c:v>0.24585381842019011</c:v>
                </c:pt>
                <c:pt idx="47">
                  <c:v>0.29945368378448511</c:v>
                </c:pt>
              </c:numCache>
            </c:numRef>
          </c:xVal>
          <c:yVal>
            <c:numRef>
              <c:f>Sheet1!$B$2:$B$51</c:f>
              <c:numCache>
                <c:formatCode>General</c:formatCode>
                <c:ptCount val="50"/>
                <c:pt idx="0">
                  <c:v>4.036642599277978</c:v>
                </c:pt>
                <c:pt idx="1">
                  <c:v>2.8052981048554435</c:v>
                </c:pt>
                <c:pt idx="2">
                  <c:v>2.3157631776167875</c:v>
                </c:pt>
                <c:pt idx="3">
                  <c:v>3.3874534581969988</c:v>
                </c:pt>
                <c:pt idx="4">
                  <c:v>2.1946284032376746</c:v>
                </c:pt>
                <c:pt idx="5">
                  <c:v>5.5104879160966709</c:v>
                </c:pt>
                <c:pt idx="6">
                  <c:v>5.8558732345849123</c:v>
                </c:pt>
                <c:pt idx="7">
                  <c:v>0.8575959403742468</c:v>
                </c:pt>
                <c:pt idx="8">
                  <c:v>0.91815809097688295</c:v>
                </c:pt>
                <c:pt idx="9">
                  <c:v>5.1425761271539852</c:v>
                </c:pt>
                <c:pt idx="10">
                  <c:v>1.949090909090909</c:v>
                </c:pt>
                <c:pt idx="11">
                  <c:v>2.15698407241893</c:v>
                </c:pt>
                <c:pt idx="12">
                  <c:v>2.1229696158991018</c:v>
                </c:pt>
                <c:pt idx="13">
                  <c:v>6.3531066822977724</c:v>
                </c:pt>
                <c:pt idx="14">
                  <c:v>3.45</c:v>
                </c:pt>
                <c:pt idx="15">
                  <c:v>1.1538200339558573</c:v>
                </c:pt>
                <c:pt idx="16">
                  <c:v>2.313090542152096</c:v>
                </c:pt>
                <c:pt idx="17">
                  <c:v>1.4464879237757589</c:v>
                </c:pt>
                <c:pt idx="18">
                  <c:v>1.9545373823477179</c:v>
                </c:pt>
                <c:pt idx="19">
                  <c:v>2.2469486531986531</c:v>
                </c:pt>
                <c:pt idx="20">
                  <c:v>2.035958124715521</c:v>
                </c:pt>
                <c:pt idx="21">
                  <c:v>2.1883473799926714</c:v>
                </c:pt>
                <c:pt idx="22">
                  <c:v>2.9860900354071824</c:v>
                </c:pt>
                <c:pt idx="23">
                  <c:v>1.6556822982678496</c:v>
                </c:pt>
                <c:pt idx="24">
                  <c:v>0.74406457739791076</c:v>
                </c:pt>
                <c:pt idx="25">
                  <c:v>1.9397372742200329</c:v>
                </c:pt>
                <c:pt idx="26">
                  <c:v>2.4108446298227322</c:v>
                </c:pt>
                <c:pt idx="27">
                  <c:v>1.1723356009070294</c:v>
                </c:pt>
                <c:pt idx="28">
                  <c:v>2.0220286885245899</c:v>
                </c:pt>
                <c:pt idx="29">
                  <c:v>2.4238369699464801</c:v>
                </c:pt>
                <c:pt idx="30">
                  <c:v>1.7869481765834934</c:v>
                </c:pt>
                <c:pt idx="31">
                  <c:v>2.4264361078546308</c:v>
                </c:pt>
                <c:pt idx="32">
                  <c:v>1.6909884158266888</c:v>
                </c:pt>
                <c:pt idx="33">
                  <c:v>1.3602050326188257</c:v>
                </c:pt>
                <c:pt idx="34">
                  <c:v>0.90998268897864976</c:v>
                </c:pt>
                <c:pt idx="35">
                  <c:v>1.7486426061961036</c:v>
                </c:pt>
                <c:pt idx="36">
                  <c:v>3.7153641207815276</c:v>
                </c:pt>
                <c:pt idx="37">
                  <c:v>0.63358208955223883</c:v>
                </c:pt>
                <c:pt idx="38">
                  <c:v>3.2248565965583174</c:v>
                </c:pt>
                <c:pt idx="39">
                  <c:v>0.36051693404634583</c:v>
                </c:pt>
                <c:pt idx="40">
                  <c:v>1.3776626367299942</c:v>
                </c:pt>
                <c:pt idx="41">
                  <c:v>1.8659543467702768</c:v>
                </c:pt>
                <c:pt idx="42">
                  <c:v>1.4394765539803707</c:v>
                </c:pt>
                <c:pt idx="43">
                  <c:v>1.628901239846088</c:v>
                </c:pt>
                <c:pt idx="44">
                  <c:v>1.3637426900584795</c:v>
                </c:pt>
                <c:pt idx="45">
                  <c:v>0.60488798370672103</c:v>
                </c:pt>
                <c:pt idx="46">
                  <c:v>1.4079956188389924</c:v>
                </c:pt>
                <c:pt idx="47">
                  <c:v>1.1113460183227626</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fld id="{12C1A75A-680F-425C-AF7F-8E3C93AC303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fld id="{B8C5B20C-1CEA-4C25-8043-025C92260E8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fld id="{1D0CFF5A-E38B-4381-A279-F10081017B7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B068408B-545C-4B36-AA2B-BA00261F3F5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5CA45034-8F20-4DEC-939A-6D32A1FF8DA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A4BF4E84-8BE0-48EB-8188-6ABC68F58A6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E593B1FD-CD65-4BAF-8136-694389AC2E5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033F1215-3499-491D-B8B4-08D278882B1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D89F907F-7730-46EB-9F81-C83071EDF59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2A91710A-8FCF-4667-919C-2D3A244BEFB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D60B4A5B-C3B7-4576-A35C-43783E2EFEB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A4617859-317A-43CE-8FF0-9D3BDF10784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16F1A345-D203-4F02-8915-2E4C588AAD8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B1E4D2DA-DDCD-4605-A87A-7971B608D5B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1403A02F-932F-4B14-AF64-89EEB6452B2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ACB42B20-6848-4488-8B60-4407FE07724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BBC0B320-1F98-421F-B89A-5B22D08D2F4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718F5FCA-841F-44BC-9C3C-69ADCE04ED1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9F6A6C8B-03B4-41C7-A636-437734CE5E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E2F3D479-229B-49CE-BCA7-F0892780FB7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AEC749CD-1D0C-4B09-9402-9276FDD6126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0779710E-573B-4AC9-A859-832E2366C6F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6500417A-7947-4419-BB15-36F3B9E73F7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A477A0BE-6CF6-4659-84C2-02DB0B615B1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93BE6FF4-40D9-446A-9A1C-3BD34895D4B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1331C627-314E-4C29-82DE-8530DF4337C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5FDBE12C-7A68-4DE7-AC31-07E863D575D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07E0337A-1888-4FD5-8A8F-A272F0B7BB4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1BF38370-648E-4D53-A201-7E28EDD42E2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9B47088C-44F5-4E1B-A9B0-81D71A17C13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D663FEEF-F54D-401E-8DA1-C44BA6EC8B6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6117871B-0B64-44FE-B7F8-DE621636559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76C10F8B-DB75-4553-AF26-748BBFF7F96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7F05C8F3-F879-4710-A825-ADAFCF51CC0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C22ECF39-F414-4957-A925-4314481E93E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710B13EB-8389-47C2-A00B-C50F321B883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DE48EFDA-0966-46F9-AEAA-EBB11C683FE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9331BF32-B511-4BFB-893D-AFD99039305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3403967D-63CD-49B4-9491-76438EAF96E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E9B06080-1203-40DF-B8C0-31700F20A35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73D0DF31-344B-463B-8840-1C75FB867EA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EAD84141-86E5-4B96-87A5-50F23560CDD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E463495C-A1DF-4761-AE90-9E15F81E28E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BC63C598-5D12-497F-8147-283516671A6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67336591-6FA5-416D-AEBC-CC02066C0F7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5CCBC97E-F97D-44F5-B47C-CEEB3485D7F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D2A93CA6-4F00-4279-87A2-A2F3EB6F973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1460587C-6B00-433B-8166-838319731C9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1</c:f>
              <c:numCache>
                <c:formatCode>General</c:formatCode>
                <c:ptCount val="50"/>
                <c:pt idx="0">
                  <c:v>0.32614219606149664</c:v>
                </c:pt>
                <c:pt idx="1">
                  <c:v>0.31664875250254537</c:v>
                </c:pt>
                <c:pt idx="2">
                  <c:v>0.27346307041982199</c:v>
                </c:pt>
                <c:pt idx="3">
                  <c:v>0.2831646688619443</c:v>
                </c:pt>
                <c:pt idx="4">
                  <c:v>0.2586347262757685</c:v>
                </c:pt>
                <c:pt idx="5">
                  <c:v>0.33786738243552095</c:v>
                </c:pt>
                <c:pt idx="6">
                  <c:v>0.39199545326509833</c:v>
                </c:pt>
                <c:pt idx="7">
                  <c:v>0.24805723261987339</c:v>
                </c:pt>
                <c:pt idx="8">
                  <c:v>0.24785938764333104</c:v>
                </c:pt>
                <c:pt idx="9">
                  <c:v>0.37074721427752688</c:v>
                </c:pt>
                <c:pt idx="10">
                  <c:v>0.24301285130226527</c:v>
                </c:pt>
                <c:pt idx="11">
                  <c:v>0.29023901513577965</c:v>
                </c:pt>
                <c:pt idx="12">
                  <c:v>0.27408514093650493</c:v>
                </c:pt>
                <c:pt idx="13">
                  <c:v>0.38048884495186663</c:v>
                </c:pt>
                <c:pt idx="14">
                  <c:v>0.30308742272142136</c:v>
                </c:pt>
                <c:pt idx="15">
                  <c:v>0.25008655716680273</c:v>
                </c:pt>
                <c:pt idx="16">
                  <c:v>0.28089700180642357</c:v>
                </c:pt>
                <c:pt idx="17">
                  <c:v>0.27117632631945737</c:v>
                </c:pt>
                <c:pt idx="18">
                  <c:v>0.29870429613658334</c:v>
                </c:pt>
                <c:pt idx="19">
                  <c:v>0.28887143469924503</c:v>
                </c:pt>
                <c:pt idx="20">
                  <c:v>0.27333685261571355</c:v>
                </c:pt>
                <c:pt idx="21">
                  <c:v>0.2713669485206564</c:v>
                </c:pt>
                <c:pt idx="22">
                  <c:v>0.37674111408113636</c:v>
                </c:pt>
                <c:pt idx="23">
                  <c:v>0.34170217411726383</c:v>
                </c:pt>
                <c:pt idx="24">
                  <c:v>0.27953887621663237</c:v>
                </c:pt>
                <c:pt idx="25">
                  <c:v>0.26139863941217595</c:v>
                </c:pt>
                <c:pt idx="26">
                  <c:v>0.28515871070852677</c:v>
                </c:pt>
                <c:pt idx="27">
                  <c:v>0.31741391390991608</c:v>
                </c:pt>
                <c:pt idx="28">
                  <c:v>0.26620342419047666</c:v>
                </c:pt>
                <c:pt idx="29">
                  <c:v>0.27032392247178932</c:v>
                </c:pt>
                <c:pt idx="30">
                  <c:v>0.25398515744663003</c:v>
                </c:pt>
                <c:pt idx="31">
                  <c:v>0.28052802243816721</c:v>
                </c:pt>
                <c:pt idx="32">
                  <c:v>0.25420735412144679</c:v>
                </c:pt>
                <c:pt idx="33">
                  <c:v>0.34032241378886918</c:v>
                </c:pt>
                <c:pt idx="34">
                  <c:v>0.29260451481690342</c:v>
                </c:pt>
                <c:pt idx="35">
                  <c:v>0.27010707272762946</c:v>
                </c:pt>
                <c:pt idx="36">
                  <c:v>0.30239907256816745</c:v>
                </c:pt>
                <c:pt idx="37">
                  <c:v>0.32976074763129964</c:v>
                </c:pt>
                <c:pt idx="38">
                  <c:v>0.32883855339035062</c:v>
                </c:pt>
                <c:pt idx="39">
                  <c:v>0.27306037067424022</c:v>
                </c:pt>
                <c:pt idx="40">
                  <c:v>0.31776436198193048</c:v>
                </c:pt>
                <c:pt idx="41">
                  <c:v>0.239223188374001</c:v>
                </c:pt>
                <c:pt idx="42">
                  <c:v>0.3262179990104076</c:v>
                </c:pt>
                <c:pt idx="43">
                  <c:v>0.27599787245298646</c:v>
                </c:pt>
                <c:pt idx="44">
                  <c:v>0.23472836573018385</c:v>
                </c:pt>
                <c:pt idx="45">
                  <c:v>0.22448270645716939</c:v>
                </c:pt>
                <c:pt idx="46">
                  <c:v>0.24585381842019011</c:v>
                </c:pt>
                <c:pt idx="47">
                  <c:v>0.29945368378448511</c:v>
                </c:pt>
              </c:numCache>
            </c:numRef>
          </c:xVal>
          <c:yVal>
            <c:numRef>
              <c:f>Sheet1!$B$2:$B$51</c:f>
              <c:numCache>
                <c:formatCode>General</c:formatCode>
                <c:ptCount val="50"/>
                <c:pt idx="0">
                  <c:v>4.036642599277978</c:v>
                </c:pt>
                <c:pt idx="1">
                  <c:v>2.8052981048554435</c:v>
                </c:pt>
                <c:pt idx="2">
                  <c:v>2.3157631776167875</c:v>
                </c:pt>
                <c:pt idx="3">
                  <c:v>3.3874534581969988</c:v>
                </c:pt>
                <c:pt idx="4">
                  <c:v>2.1946284032376746</c:v>
                </c:pt>
                <c:pt idx="5">
                  <c:v>5.5104879160966709</c:v>
                </c:pt>
                <c:pt idx="6">
                  <c:v>5.8558732345849123</c:v>
                </c:pt>
                <c:pt idx="7">
                  <c:v>0.8575959403742468</c:v>
                </c:pt>
                <c:pt idx="8">
                  <c:v>0.91815809097688295</c:v>
                </c:pt>
                <c:pt idx="9">
                  <c:v>5.1425761271539852</c:v>
                </c:pt>
                <c:pt idx="10">
                  <c:v>1.949090909090909</c:v>
                </c:pt>
                <c:pt idx="11">
                  <c:v>2.15698407241893</c:v>
                </c:pt>
                <c:pt idx="12">
                  <c:v>2.1229696158991018</c:v>
                </c:pt>
                <c:pt idx="13">
                  <c:v>6.3531066822977724</c:v>
                </c:pt>
                <c:pt idx="14">
                  <c:v>3.45</c:v>
                </c:pt>
                <c:pt idx="15">
                  <c:v>1.1538200339558573</c:v>
                </c:pt>
                <c:pt idx="16">
                  <c:v>2.313090542152096</c:v>
                </c:pt>
                <c:pt idx="17">
                  <c:v>1.4464879237757589</c:v>
                </c:pt>
                <c:pt idx="18">
                  <c:v>1.9545373823477179</c:v>
                </c:pt>
                <c:pt idx="19">
                  <c:v>2.2469486531986531</c:v>
                </c:pt>
                <c:pt idx="20">
                  <c:v>2.035958124715521</c:v>
                </c:pt>
                <c:pt idx="21">
                  <c:v>2.1883473799926714</c:v>
                </c:pt>
                <c:pt idx="22">
                  <c:v>2.9860900354071824</c:v>
                </c:pt>
                <c:pt idx="23">
                  <c:v>1.6556822982678496</c:v>
                </c:pt>
                <c:pt idx="24">
                  <c:v>0.74406457739791076</c:v>
                </c:pt>
                <c:pt idx="25">
                  <c:v>1.9397372742200329</c:v>
                </c:pt>
                <c:pt idx="26">
                  <c:v>2.4108446298227322</c:v>
                </c:pt>
                <c:pt idx="27">
                  <c:v>1.1723356009070294</c:v>
                </c:pt>
                <c:pt idx="28">
                  <c:v>2.0220286885245899</c:v>
                </c:pt>
                <c:pt idx="29">
                  <c:v>2.4238369699464801</c:v>
                </c:pt>
                <c:pt idx="30">
                  <c:v>1.7869481765834934</c:v>
                </c:pt>
                <c:pt idx="31">
                  <c:v>2.4264361078546308</c:v>
                </c:pt>
                <c:pt idx="32">
                  <c:v>1.6909884158266888</c:v>
                </c:pt>
                <c:pt idx="33">
                  <c:v>1.3602050326188257</c:v>
                </c:pt>
                <c:pt idx="34">
                  <c:v>0.90998268897864976</c:v>
                </c:pt>
                <c:pt idx="35">
                  <c:v>1.7486426061961036</c:v>
                </c:pt>
                <c:pt idx="36">
                  <c:v>3.7153641207815276</c:v>
                </c:pt>
                <c:pt idx="37">
                  <c:v>0.63358208955223883</c:v>
                </c:pt>
                <c:pt idx="38">
                  <c:v>3.2248565965583174</c:v>
                </c:pt>
                <c:pt idx="39">
                  <c:v>0.36051693404634583</c:v>
                </c:pt>
                <c:pt idx="40">
                  <c:v>1.3776626367299942</c:v>
                </c:pt>
                <c:pt idx="41">
                  <c:v>1.8659543467702768</c:v>
                </c:pt>
                <c:pt idx="42">
                  <c:v>1.4394765539803707</c:v>
                </c:pt>
                <c:pt idx="43">
                  <c:v>1.628901239846088</c:v>
                </c:pt>
                <c:pt idx="44">
                  <c:v>1.3637426900584795</c:v>
                </c:pt>
                <c:pt idx="45">
                  <c:v>0.60488798370672103</c:v>
                </c:pt>
                <c:pt idx="46">
                  <c:v>1.4079956188389924</c:v>
                </c:pt>
                <c:pt idx="47">
                  <c:v>1.1113460183227626</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fld id="{FA6B151E-7606-41FC-8A6B-9FFE392E235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fld id="{DBEF2D47-27F6-41B7-AE89-C230D45E6CA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fld id="{8A0016AB-4DC3-417E-9DA2-C0E1ED8804A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9BDAD398-B150-48CA-92B9-2212530C0DD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30DEFD9B-A9A2-4488-9598-689C83FC36F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17F3DD73-0271-4CD2-9C63-F6874019E77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88164200-206F-4F9B-8973-823C997961B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E8CF7BBE-30D4-4089-95B0-F8D49F8B551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B32374D3-8DEE-4A40-BF99-ABB6A3E6D8D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2C48D1C5-F089-4408-A0C2-C49BAD5236A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0EE931AE-FA51-4694-91AF-770991A62B5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E319D591-EBAA-4EA8-A86B-2CA4E8180D2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31FA7A68-03C4-455D-8D2E-AA3ED2389B6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F40EA5C3-FA7D-495C-BB20-908990EA682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DD30592D-D638-4B34-8325-DD71E0B55BA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CD959995-57B7-49F3-93C4-F9181AB6FB7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33ACE81F-4D55-4E5B-9666-8229C712DD7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20058F6A-A46B-44FC-A903-5EA66F5A611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1589CBEB-C7A8-42B6-953C-4939D7D844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202E04EE-0F95-440D-8A58-20D5AE5EB51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E42A4C9A-CABE-4535-8A3D-945EF5E5328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B69E0FC8-F8E7-408B-8C73-78F0B6ACB67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A5BF846A-875B-4E67-8714-D0246EF8342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9181A69E-22CB-4006-A0BE-A94579C8673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6548C733-3516-4681-B3BE-415B362C38E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31C52E81-B4CA-4E2D-BA2F-99232AD0120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A58A2F37-3D8E-4309-B2F7-7C6131ED46C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E946D70B-CEBE-4A1F-9080-EBC9CDF529C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9CD6EDB5-8275-4274-B413-D62D8376394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B1C1AE59-B68B-470B-AB6D-BB9DBA903AB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4724EE97-3118-4AF2-89F6-DFDC24E4A12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9057CA21-C0DA-423A-B0C1-E55A1F2A337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BCCA200E-64A1-494F-9EDE-A16C3D72B73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FC0A588E-A6FE-4D9A-99F9-9E576250042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D67E3A3D-C4B4-4760-8260-CA408C1937B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666DD06B-E2E6-443F-BDDC-455A49EA1BB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9108674C-B520-418D-B15E-00510AB1B52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24630AD8-34C3-492A-9753-9F2329280D6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74023F7E-D16E-4D31-BCBA-FDA99174DE4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3CDF411B-20F0-4FCD-9264-F54F401B548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EC72791C-E9B3-4B80-9A2A-7A1BACE0DA1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B14B463C-1AF9-453F-B7AB-0227045A317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613967AC-CA7C-471A-A1B5-58916AFC4E4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785FD1F5-EBF7-4A6F-BA99-491C9F6A5F8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685AF785-C544-46B1-A130-735F5F4B50B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6F4B1CA9-D5C6-4682-8CA3-D9D17F62E12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2F5316F0-14DF-4739-A021-93F874BC1B8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C570AF09-5DDA-4C0E-B0B3-43B4E32EDD7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1</c:f>
              <c:numCache>
                <c:formatCode>General</c:formatCode>
                <c:ptCount val="50"/>
                <c:pt idx="0">
                  <c:v>0.32614219606149664</c:v>
                </c:pt>
                <c:pt idx="1">
                  <c:v>0.31664875250254537</c:v>
                </c:pt>
                <c:pt idx="2">
                  <c:v>0.27346307041982199</c:v>
                </c:pt>
                <c:pt idx="3">
                  <c:v>0.2831646688619443</c:v>
                </c:pt>
                <c:pt idx="4">
                  <c:v>0.2586347262757685</c:v>
                </c:pt>
                <c:pt idx="5">
                  <c:v>0.33786738243552095</c:v>
                </c:pt>
                <c:pt idx="6">
                  <c:v>0.39199545326509833</c:v>
                </c:pt>
                <c:pt idx="7">
                  <c:v>0.24805723261987339</c:v>
                </c:pt>
                <c:pt idx="8">
                  <c:v>0.24785938764333104</c:v>
                </c:pt>
                <c:pt idx="9">
                  <c:v>0.37074721427752688</c:v>
                </c:pt>
                <c:pt idx="10">
                  <c:v>0.24301285130226527</c:v>
                </c:pt>
                <c:pt idx="11">
                  <c:v>0.29023901513577965</c:v>
                </c:pt>
                <c:pt idx="12">
                  <c:v>0.27408514093650493</c:v>
                </c:pt>
                <c:pt idx="13">
                  <c:v>0.38048884495186663</c:v>
                </c:pt>
                <c:pt idx="14">
                  <c:v>0.30308742272142136</c:v>
                </c:pt>
                <c:pt idx="15">
                  <c:v>0.25008655716680273</c:v>
                </c:pt>
                <c:pt idx="16">
                  <c:v>0.28089700180642357</c:v>
                </c:pt>
                <c:pt idx="17">
                  <c:v>0.27117632631945737</c:v>
                </c:pt>
                <c:pt idx="18">
                  <c:v>0.29870429613658334</c:v>
                </c:pt>
                <c:pt idx="19">
                  <c:v>0.28887143469924503</c:v>
                </c:pt>
                <c:pt idx="20">
                  <c:v>0.27333685261571355</c:v>
                </c:pt>
                <c:pt idx="21">
                  <c:v>0.2713669485206564</c:v>
                </c:pt>
                <c:pt idx="22">
                  <c:v>0.37674111408113636</c:v>
                </c:pt>
                <c:pt idx="23">
                  <c:v>0.34170217411726383</c:v>
                </c:pt>
                <c:pt idx="24">
                  <c:v>0.27953887621663237</c:v>
                </c:pt>
                <c:pt idx="25">
                  <c:v>0.26139863941217595</c:v>
                </c:pt>
                <c:pt idx="26">
                  <c:v>0.28515871070852677</c:v>
                </c:pt>
                <c:pt idx="27">
                  <c:v>0.31741391390991608</c:v>
                </c:pt>
                <c:pt idx="28">
                  <c:v>0.26620342419047666</c:v>
                </c:pt>
                <c:pt idx="29">
                  <c:v>0.27032392247178932</c:v>
                </c:pt>
                <c:pt idx="30">
                  <c:v>0.25398515744663003</c:v>
                </c:pt>
                <c:pt idx="31">
                  <c:v>0.28052802243816721</c:v>
                </c:pt>
                <c:pt idx="32">
                  <c:v>0.25420735412144679</c:v>
                </c:pt>
                <c:pt idx="33">
                  <c:v>0.34032241378886918</c:v>
                </c:pt>
                <c:pt idx="34">
                  <c:v>0.29260451481690342</c:v>
                </c:pt>
                <c:pt idx="35">
                  <c:v>0.27010707272762946</c:v>
                </c:pt>
                <c:pt idx="36">
                  <c:v>0.30239907256816745</c:v>
                </c:pt>
                <c:pt idx="37">
                  <c:v>0.32976074763129964</c:v>
                </c:pt>
                <c:pt idx="38">
                  <c:v>0.32883855339035062</c:v>
                </c:pt>
                <c:pt idx="39">
                  <c:v>0.27306037067424022</c:v>
                </c:pt>
                <c:pt idx="40">
                  <c:v>0.31776436198193048</c:v>
                </c:pt>
                <c:pt idx="41">
                  <c:v>0.239223188374001</c:v>
                </c:pt>
                <c:pt idx="42">
                  <c:v>0.3262179990104076</c:v>
                </c:pt>
                <c:pt idx="43">
                  <c:v>0.27599787245298646</c:v>
                </c:pt>
                <c:pt idx="44">
                  <c:v>0.23472836573018385</c:v>
                </c:pt>
                <c:pt idx="45">
                  <c:v>0.22448270645716939</c:v>
                </c:pt>
                <c:pt idx="46">
                  <c:v>0.24585381842019011</c:v>
                </c:pt>
                <c:pt idx="47">
                  <c:v>0.29945368378448511</c:v>
                </c:pt>
              </c:numCache>
            </c:numRef>
          </c:xVal>
          <c:yVal>
            <c:numRef>
              <c:f>Sheet1!$B$2:$B$51</c:f>
              <c:numCache>
                <c:formatCode>General</c:formatCode>
                <c:ptCount val="50"/>
                <c:pt idx="0">
                  <c:v>4.036642599277978</c:v>
                </c:pt>
                <c:pt idx="1">
                  <c:v>2.8052981048554435</c:v>
                </c:pt>
                <c:pt idx="2">
                  <c:v>2.3157631776167875</c:v>
                </c:pt>
                <c:pt idx="3">
                  <c:v>3.3874534581969988</c:v>
                </c:pt>
                <c:pt idx="4">
                  <c:v>2.1946284032376746</c:v>
                </c:pt>
                <c:pt idx="5">
                  <c:v>5.5104879160966709</c:v>
                </c:pt>
                <c:pt idx="6">
                  <c:v>5.8558732345849123</c:v>
                </c:pt>
                <c:pt idx="7">
                  <c:v>0.8575959403742468</c:v>
                </c:pt>
                <c:pt idx="8">
                  <c:v>0.91815809097688295</c:v>
                </c:pt>
                <c:pt idx="9">
                  <c:v>5.1425761271539852</c:v>
                </c:pt>
                <c:pt idx="10">
                  <c:v>1.949090909090909</c:v>
                </c:pt>
                <c:pt idx="11">
                  <c:v>2.15698407241893</c:v>
                </c:pt>
                <c:pt idx="12">
                  <c:v>2.1229696158991018</c:v>
                </c:pt>
                <c:pt idx="13">
                  <c:v>6.3531066822977724</c:v>
                </c:pt>
                <c:pt idx="14">
                  <c:v>3.45</c:v>
                </c:pt>
                <c:pt idx="15">
                  <c:v>1.1538200339558573</c:v>
                </c:pt>
                <c:pt idx="16">
                  <c:v>2.313090542152096</c:v>
                </c:pt>
                <c:pt idx="17">
                  <c:v>1.4464879237757589</c:v>
                </c:pt>
                <c:pt idx="18">
                  <c:v>1.9545373823477179</c:v>
                </c:pt>
                <c:pt idx="19">
                  <c:v>2.2469486531986531</c:v>
                </c:pt>
                <c:pt idx="20">
                  <c:v>2.035958124715521</c:v>
                </c:pt>
                <c:pt idx="21">
                  <c:v>2.1883473799926714</c:v>
                </c:pt>
                <c:pt idx="22">
                  <c:v>2.9860900354071824</c:v>
                </c:pt>
                <c:pt idx="23">
                  <c:v>1.6556822982678496</c:v>
                </c:pt>
                <c:pt idx="24">
                  <c:v>0.74406457739791076</c:v>
                </c:pt>
                <c:pt idx="25">
                  <c:v>1.9397372742200329</c:v>
                </c:pt>
                <c:pt idx="26">
                  <c:v>2.4108446298227322</c:v>
                </c:pt>
                <c:pt idx="27">
                  <c:v>1.1723356009070294</c:v>
                </c:pt>
                <c:pt idx="28">
                  <c:v>2.0220286885245899</c:v>
                </c:pt>
                <c:pt idx="29">
                  <c:v>2.4238369699464801</c:v>
                </c:pt>
                <c:pt idx="30">
                  <c:v>1.7869481765834934</c:v>
                </c:pt>
                <c:pt idx="31">
                  <c:v>2.4264361078546308</c:v>
                </c:pt>
                <c:pt idx="32">
                  <c:v>1.6909884158266888</c:v>
                </c:pt>
                <c:pt idx="33">
                  <c:v>1.3602050326188257</c:v>
                </c:pt>
                <c:pt idx="34">
                  <c:v>0.90998268897864976</c:v>
                </c:pt>
                <c:pt idx="35">
                  <c:v>1.7486426061961036</c:v>
                </c:pt>
                <c:pt idx="36">
                  <c:v>3.7153641207815276</c:v>
                </c:pt>
                <c:pt idx="37">
                  <c:v>0.63358208955223883</c:v>
                </c:pt>
                <c:pt idx="38">
                  <c:v>3.2248565965583174</c:v>
                </c:pt>
                <c:pt idx="39">
                  <c:v>0.36051693404634583</c:v>
                </c:pt>
                <c:pt idx="40">
                  <c:v>1.3776626367299942</c:v>
                </c:pt>
                <c:pt idx="41">
                  <c:v>1.8659543467702768</c:v>
                </c:pt>
                <c:pt idx="42">
                  <c:v>1.4394765539803707</c:v>
                </c:pt>
                <c:pt idx="43">
                  <c:v>1.628901239846088</c:v>
                </c:pt>
                <c:pt idx="44">
                  <c:v>1.3637426900584795</c:v>
                </c:pt>
                <c:pt idx="45">
                  <c:v>0.60488798370672103</c:v>
                </c:pt>
                <c:pt idx="46">
                  <c:v>1.4079956188389924</c:v>
                </c:pt>
                <c:pt idx="47">
                  <c:v>1.1113460183227626</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fld id="{42084C2E-2AC1-4688-BE1C-02C814500F6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fld id="{0B317A2A-A325-4AA5-BAB8-7B3E0EB4DD3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fld id="{37F0A8BE-CA0D-4B93-B854-631EE056696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1A04D2CB-6C85-4E9E-9720-2D18EDC3F26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C6C9BEEC-8EB6-4EA7-8F21-39197A413BF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B9BBDDD7-171E-437A-AF60-B47C25D9310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852B791C-6359-430C-ABC5-2ECA131029F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BFFBB785-7003-4890-86BD-4471C700A03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6F268F4F-F4E5-437F-8BCA-CB2CE4BA811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66577E6B-7A7D-42BD-97A1-3B9E873DEF6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FB3C80D8-9B18-429E-B210-C60E32894F1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E0845FDC-93B1-46D0-936E-B90C0FFE5D3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FD18585E-C8DD-458E-A438-1380F66A410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9DD1EAAD-D55E-45C7-ABDC-15A5CCE6E26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019A4048-9A58-464A-BC33-07A8C663888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A3C56D9C-E0F1-4E61-8AD7-D7960ECCB1B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EE3FED3F-263D-441E-91A1-27F2A68E96A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3588B26E-84DB-4BC8-82EA-71E27E5B757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05B8DA94-5CF0-480F-8977-ECFB3EB642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D4DBFDC4-2730-4B88-AE20-871F08D31D7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EDBB215D-29E4-4386-A32A-CDF2C607256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22714906-0385-4F20-8767-4AF9BE3A378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CE62012E-D362-4B9B-8162-35B85884561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F2E7B8F3-A589-42FB-A53A-3D88DFA2FC5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FAE5A48D-47D1-4BF9-842A-3A3CD051770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3B03A5A0-78DC-4BDB-B56D-9103DBE270B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C84C84A6-A1EE-4C96-BC83-2D2F8FC1020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0A5614C5-9A35-43D1-ABE4-0ED0F5A30CE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4EFE2A91-792D-4E7F-979C-68CA2588EA7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62E0B761-A800-4694-9A8A-FED5FECE128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DF69DBA2-4334-4D36-8353-647842D78C5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8DDE6851-9F64-4C45-8130-EDE98A151B3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295644A0-51F0-4CA0-9C18-1ECBED61B79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989ED67A-9E4F-4CD4-845C-B5998BECA89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FA4DA072-760A-45C3-B2CF-8A84644FFAC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A5D73DE4-4A50-400A-9644-63A4354D685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3CF42866-E711-4946-9A10-41A7F97F597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F7490517-FBD9-43AA-BDC7-583F77EF40B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07B02A98-E505-445F-BAF3-CBCDC8B31D6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F4634B2A-E83D-4E17-B755-BCA192C5910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3DEC44BE-E076-45E9-B087-51A7DDC19E4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A8ED26B4-DB2C-49DA-BC95-3EAE5D1841F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A3738ED8-E122-4675-B9D7-6219A285E0A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90C8EC7A-EF26-4773-9AB0-8B3C961080B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DE565139-9CFC-4574-AC3B-6896DCBB01D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011D8F25-0A2E-4259-A8DF-4B9397454E3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C2832932-E6DC-4710-B103-C64FD2A52EF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8D0D6041-7814-4C5D-840D-77606016B5B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1</c:f>
              <c:numCache>
                <c:formatCode>General</c:formatCode>
                <c:ptCount val="50"/>
                <c:pt idx="0">
                  <c:v>0.32614219606149664</c:v>
                </c:pt>
                <c:pt idx="1">
                  <c:v>0.31664875250254537</c:v>
                </c:pt>
                <c:pt idx="2">
                  <c:v>0.27346307041982199</c:v>
                </c:pt>
                <c:pt idx="3">
                  <c:v>0.2831646688619443</c:v>
                </c:pt>
                <c:pt idx="4">
                  <c:v>0.2586347262757685</c:v>
                </c:pt>
                <c:pt idx="5">
                  <c:v>0.33786738243552095</c:v>
                </c:pt>
                <c:pt idx="6">
                  <c:v>0.39199545326509833</c:v>
                </c:pt>
                <c:pt idx="7">
                  <c:v>0.24805723261987339</c:v>
                </c:pt>
                <c:pt idx="8">
                  <c:v>0.24785938764333104</c:v>
                </c:pt>
                <c:pt idx="9">
                  <c:v>0.37074721427752688</c:v>
                </c:pt>
                <c:pt idx="10">
                  <c:v>0.24301285130226527</c:v>
                </c:pt>
                <c:pt idx="11">
                  <c:v>0.29023901513577965</c:v>
                </c:pt>
                <c:pt idx="12">
                  <c:v>0.27408514093650493</c:v>
                </c:pt>
                <c:pt idx="13">
                  <c:v>0.38048884495186663</c:v>
                </c:pt>
                <c:pt idx="14">
                  <c:v>0.30308742272142136</c:v>
                </c:pt>
                <c:pt idx="15">
                  <c:v>0.25008655716680273</c:v>
                </c:pt>
                <c:pt idx="16">
                  <c:v>0.28089700180642357</c:v>
                </c:pt>
                <c:pt idx="17">
                  <c:v>0.27117632631945737</c:v>
                </c:pt>
                <c:pt idx="18">
                  <c:v>0.29870429613658334</c:v>
                </c:pt>
                <c:pt idx="19">
                  <c:v>0.28887143469924503</c:v>
                </c:pt>
                <c:pt idx="20">
                  <c:v>0.27333685261571355</c:v>
                </c:pt>
                <c:pt idx="21">
                  <c:v>0.2713669485206564</c:v>
                </c:pt>
                <c:pt idx="22">
                  <c:v>0.37674111408113636</c:v>
                </c:pt>
                <c:pt idx="23">
                  <c:v>0.34170217411726383</c:v>
                </c:pt>
                <c:pt idx="24">
                  <c:v>0.27953887621663237</c:v>
                </c:pt>
                <c:pt idx="25">
                  <c:v>0.26139863941217595</c:v>
                </c:pt>
                <c:pt idx="26">
                  <c:v>0.28515871070852677</c:v>
                </c:pt>
                <c:pt idx="27">
                  <c:v>0.31741391390991608</c:v>
                </c:pt>
                <c:pt idx="28">
                  <c:v>0.26620342419047666</c:v>
                </c:pt>
                <c:pt idx="29">
                  <c:v>0.27032392247178932</c:v>
                </c:pt>
                <c:pt idx="30">
                  <c:v>0.25398515744663003</c:v>
                </c:pt>
                <c:pt idx="31">
                  <c:v>0.28052802243816721</c:v>
                </c:pt>
                <c:pt idx="32">
                  <c:v>0.25420735412144679</c:v>
                </c:pt>
                <c:pt idx="33">
                  <c:v>0.34032241378886918</c:v>
                </c:pt>
                <c:pt idx="34">
                  <c:v>0.29260451481690342</c:v>
                </c:pt>
                <c:pt idx="35">
                  <c:v>0.27010707272762946</c:v>
                </c:pt>
                <c:pt idx="36">
                  <c:v>0.30239907256816745</c:v>
                </c:pt>
                <c:pt idx="37">
                  <c:v>0.32976074763129964</c:v>
                </c:pt>
                <c:pt idx="38">
                  <c:v>0.32883855339035062</c:v>
                </c:pt>
                <c:pt idx="39">
                  <c:v>0.27306037067424022</c:v>
                </c:pt>
                <c:pt idx="40">
                  <c:v>0.31776436198193048</c:v>
                </c:pt>
                <c:pt idx="41">
                  <c:v>0.239223188374001</c:v>
                </c:pt>
                <c:pt idx="42">
                  <c:v>0.3262179990104076</c:v>
                </c:pt>
                <c:pt idx="43">
                  <c:v>0.27599787245298646</c:v>
                </c:pt>
                <c:pt idx="44">
                  <c:v>0.23472836573018385</c:v>
                </c:pt>
                <c:pt idx="45">
                  <c:v>0.22448270645716939</c:v>
                </c:pt>
                <c:pt idx="46">
                  <c:v>0.24585381842019011</c:v>
                </c:pt>
                <c:pt idx="47">
                  <c:v>0.29945368378448511</c:v>
                </c:pt>
              </c:numCache>
            </c:numRef>
          </c:xVal>
          <c:yVal>
            <c:numRef>
              <c:f>Sheet1!$B$2:$B$51</c:f>
              <c:numCache>
                <c:formatCode>General</c:formatCode>
                <c:ptCount val="50"/>
                <c:pt idx="0">
                  <c:v>4.036642599277978</c:v>
                </c:pt>
                <c:pt idx="1">
                  <c:v>2.8052981048554435</c:v>
                </c:pt>
                <c:pt idx="2">
                  <c:v>2.3157631776167875</c:v>
                </c:pt>
                <c:pt idx="3">
                  <c:v>3.3874534581969988</c:v>
                </c:pt>
                <c:pt idx="4">
                  <c:v>2.1946284032376746</c:v>
                </c:pt>
                <c:pt idx="5">
                  <c:v>5.5104879160966709</c:v>
                </c:pt>
                <c:pt idx="6">
                  <c:v>5.8558732345849123</c:v>
                </c:pt>
                <c:pt idx="7">
                  <c:v>0.8575959403742468</c:v>
                </c:pt>
                <c:pt idx="8">
                  <c:v>0.91815809097688295</c:v>
                </c:pt>
                <c:pt idx="9">
                  <c:v>5.1425761271539852</c:v>
                </c:pt>
                <c:pt idx="10">
                  <c:v>1.949090909090909</c:v>
                </c:pt>
                <c:pt idx="11">
                  <c:v>2.15698407241893</c:v>
                </c:pt>
                <c:pt idx="12">
                  <c:v>2.1229696158991018</c:v>
                </c:pt>
                <c:pt idx="13">
                  <c:v>6.3531066822977724</c:v>
                </c:pt>
                <c:pt idx="14">
                  <c:v>3.45</c:v>
                </c:pt>
                <c:pt idx="15">
                  <c:v>1.1538200339558573</c:v>
                </c:pt>
                <c:pt idx="16">
                  <c:v>2.313090542152096</c:v>
                </c:pt>
                <c:pt idx="17">
                  <c:v>1.4464879237757589</c:v>
                </c:pt>
                <c:pt idx="18">
                  <c:v>1.9545373823477179</c:v>
                </c:pt>
                <c:pt idx="19">
                  <c:v>2.2469486531986531</c:v>
                </c:pt>
                <c:pt idx="20">
                  <c:v>2.035958124715521</c:v>
                </c:pt>
                <c:pt idx="21">
                  <c:v>2.1883473799926714</c:v>
                </c:pt>
                <c:pt idx="22">
                  <c:v>2.9860900354071824</c:v>
                </c:pt>
                <c:pt idx="23">
                  <c:v>1.6556822982678496</c:v>
                </c:pt>
                <c:pt idx="24">
                  <c:v>0.74406457739791076</c:v>
                </c:pt>
                <c:pt idx="25">
                  <c:v>1.9397372742200329</c:v>
                </c:pt>
                <c:pt idx="26">
                  <c:v>2.4108446298227322</c:v>
                </c:pt>
                <c:pt idx="27">
                  <c:v>1.1723356009070294</c:v>
                </c:pt>
                <c:pt idx="28">
                  <c:v>2.0220286885245899</c:v>
                </c:pt>
                <c:pt idx="29">
                  <c:v>2.4238369699464801</c:v>
                </c:pt>
                <c:pt idx="30">
                  <c:v>1.7869481765834934</c:v>
                </c:pt>
                <c:pt idx="31">
                  <c:v>2.4264361078546308</c:v>
                </c:pt>
                <c:pt idx="32">
                  <c:v>1.6909884158266888</c:v>
                </c:pt>
                <c:pt idx="33">
                  <c:v>1.3602050326188257</c:v>
                </c:pt>
                <c:pt idx="34">
                  <c:v>0.90998268897864976</c:v>
                </c:pt>
                <c:pt idx="35">
                  <c:v>1.7486426061961036</c:v>
                </c:pt>
                <c:pt idx="36">
                  <c:v>3.7153641207815276</c:v>
                </c:pt>
                <c:pt idx="37">
                  <c:v>0.63358208955223883</c:v>
                </c:pt>
                <c:pt idx="38">
                  <c:v>3.2248565965583174</c:v>
                </c:pt>
                <c:pt idx="39">
                  <c:v>0.36051693404634583</c:v>
                </c:pt>
                <c:pt idx="40">
                  <c:v>1.3776626367299942</c:v>
                </c:pt>
                <c:pt idx="41">
                  <c:v>1.8659543467702768</c:v>
                </c:pt>
                <c:pt idx="42">
                  <c:v>1.4394765539803707</c:v>
                </c:pt>
                <c:pt idx="43">
                  <c:v>1.628901239846088</c:v>
                </c:pt>
                <c:pt idx="44">
                  <c:v>1.3637426900584795</c:v>
                </c:pt>
                <c:pt idx="45">
                  <c:v>0.60488798370672103</c:v>
                </c:pt>
                <c:pt idx="46">
                  <c:v>1.4079956188389924</c:v>
                </c:pt>
                <c:pt idx="47">
                  <c:v>1.1113460183227626</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fld id="{F18DD3A7-B04B-4B12-9AB5-228DE80897D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fld id="{442278D7-0498-4B0C-9104-EA1584C16A3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fld id="{3EE24257-C19A-410D-B764-D1F905B0FF7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9C0E857B-B5E0-4D2F-9FE6-7560BD73E4D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61A28732-2ECD-4CCB-972F-E5FD7D6B680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D1D3694F-553D-4443-9DD4-8765462763C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8C0DDBB2-368A-4318-8A9E-F95504A9BAE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21ECC153-459B-4304-8B0F-37F46CF6E1F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DF46368A-FFFD-4934-B936-5AD24D7311E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F5EBDD14-84B2-4969-8244-25353C5A4F1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2772EE28-DA75-4872-925A-A98CC2FD3B8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7AAA00D5-2284-456A-948A-FAEF0F24B79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F55CE31E-435F-44B7-BF92-A84DBF8E0C6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993C1018-AC21-447B-90DE-491EC0F153D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CCEB156B-7DC6-457C-9DDC-B5EAD426A24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BB0D26FD-A6A0-46EA-A3C4-27EE98A0C59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BCAACC56-CB30-4433-B8B5-44532CDC334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338EF721-8B55-43AB-92D2-E98424855C5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1E31DE5E-0959-4136-B46D-60E775A070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6D952308-8806-4284-B589-303DABAF798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B5C93196-F498-49AE-A017-AE96CA2A886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0595BFEE-E5FC-420C-AA8D-AE4526E70B7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81505101-CC90-4FFA-8A24-6A2F75F9809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383E9A04-5109-4D35-AEC0-8D1908C8533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299526E5-3287-4ED9-BBDD-EBF90993814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4F3F77BF-C7F8-4529-BCCC-8C416EBA250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354C2057-567E-4654-B594-4ADAF3E2214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75E6CB67-B631-45C5-9094-01C96B93C67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CB95124D-0C01-4DDB-8DCA-26A4CAF1CB2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EB7C036B-7AC0-4F3A-8690-81CDB9D8F5F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2F33291D-0026-44A7-8C85-9A7269B0119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65D877A4-232A-487F-99D0-13D34B05F65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B7151F25-9F1F-4ECE-95DA-80FD841EF40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7F94585E-B69B-40E9-8C25-B62B1C286B9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2660990E-9303-47EA-ABE9-0B9EDF2E198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7974AEB1-C8A1-491E-A4D4-D1E3A5DD20F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64D91E49-5523-4CF0-9F23-5074CC11A4F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8E9800D0-C4F5-4AF7-B082-E503113B48D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52E17086-239C-4982-94FA-3122BBA7AD6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ADFFA0DD-F4EC-4026-8ADA-D9A0238A1C5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1C112F13-6679-4FCE-B799-7362311E972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AA06B4A9-3A8F-46E4-9053-35B44CD6F89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BAA63CD7-86C5-4055-838F-536F7444877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D3AAF1AD-7FE1-43B5-A3EE-2EF44333D94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7219F6AF-93E2-4E6D-9737-D120C48F03E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77D7D28F-818D-486F-96BE-A4680037ADE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77652195-D998-47F0-A0BA-74207E14E89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F66567AC-05BF-4DA4-B8AC-8BF4FA17D2D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1</c:f>
              <c:numCache>
                <c:formatCode>General</c:formatCode>
                <c:ptCount val="50"/>
                <c:pt idx="0">
                  <c:v>0.32614219606149664</c:v>
                </c:pt>
                <c:pt idx="1">
                  <c:v>0.31664875250254537</c:v>
                </c:pt>
                <c:pt idx="2">
                  <c:v>0.27346307041982199</c:v>
                </c:pt>
                <c:pt idx="3">
                  <c:v>0.2831646688619443</c:v>
                </c:pt>
                <c:pt idx="4">
                  <c:v>0.2586347262757685</c:v>
                </c:pt>
                <c:pt idx="5">
                  <c:v>0.33786738243552095</c:v>
                </c:pt>
                <c:pt idx="6">
                  <c:v>0.39199545326509833</c:v>
                </c:pt>
                <c:pt idx="7">
                  <c:v>0.24805723261987339</c:v>
                </c:pt>
                <c:pt idx="8">
                  <c:v>0.24785938764333104</c:v>
                </c:pt>
                <c:pt idx="9">
                  <c:v>0.37074721427752688</c:v>
                </c:pt>
                <c:pt idx="10">
                  <c:v>0.24301285130226527</c:v>
                </c:pt>
                <c:pt idx="11">
                  <c:v>0.29023901513577965</c:v>
                </c:pt>
                <c:pt idx="12">
                  <c:v>0.27408514093650493</c:v>
                </c:pt>
                <c:pt idx="13">
                  <c:v>0.38048884495186663</c:v>
                </c:pt>
                <c:pt idx="14">
                  <c:v>0.30308742272142136</c:v>
                </c:pt>
                <c:pt idx="15">
                  <c:v>0.25008655716680273</c:v>
                </c:pt>
                <c:pt idx="16">
                  <c:v>0.28089700180642357</c:v>
                </c:pt>
                <c:pt idx="17">
                  <c:v>0.27117632631945737</c:v>
                </c:pt>
                <c:pt idx="18">
                  <c:v>0.29870429613658334</c:v>
                </c:pt>
                <c:pt idx="19">
                  <c:v>0.28887143469924503</c:v>
                </c:pt>
                <c:pt idx="20">
                  <c:v>0.27333685261571355</c:v>
                </c:pt>
                <c:pt idx="21">
                  <c:v>0.2713669485206564</c:v>
                </c:pt>
                <c:pt idx="22">
                  <c:v>0.37674111408113636</c:v>
                </c:pt>
                <c:pt idx="23">
                  <c:v>0.34170217411726383</c:v>
                </c:pt>
                <c:pt idx="24">
                  <c:v>0.27953887621663237</c:v>
                </c:pt>
                <c:pt idx="25">
                  <c:v>0.26139863941217595</c:v>
                </c:pt>
                <c:pt idx="26">
                  <c:v>0.28515871070852677</c:v>
                </c:pt>
                <c:pt idx="27">
                  <c:v>0.31741391390991608</c:v>
                </c:pt>
                <c:pt idx="28">
                  <c:v>0.26620342419047666</c:v>
                </c:pt>
                <c:pt idx="29">
                  <c:v>0.27032392247178932</c:v>
                </c:pt>
                <c:pt idx="30">
                  <c:v>0.25398515744663003</c:v>
                </c:pt>
                <c:pt idx="31">
                  <c:v>0.28052802243816721</c:v>
                </c:pt>
                <c:pt idx="32">
                  <c:v>0.25420735412144679</c:v>
                </c:pt>
                <c:pt idx="33">
                  <c:v>0.34032241378886918</c:v>
                </c:pt>
                <c:pt idx="34">
                  <c:v>0.29260451481690342</c:v>
                </c:pt>
                <c:pt idx="35">
                  <c:v>0.27010707272762946</c:v>
                </c:pt>
                <c:pt idx="36">
                  <c:v>0.30239907256816745</c:v>
                </c:pt>
                <c:pt idx="37">
                  <c:v>0.32976074763129964</c:v>
                </c:pt>
                <c:pt idx="38">
                  <c:v>0.32883855339035062</c:v>
                </c:pt>
                <c:pt idx="39">
                  <c:v>0.27306037067424022</c:v>
                </c:pt>
                <c:pt idx="40">
                  <c:v>0.31776436198193048</c:v>
                </c:pt>
                <c:pt idx="41">
                  <c:v>0.239223188374001</c:v>
                </c:pt>
                <c:pt idx="42">
                  <c:v>0.3262179990104076</c:v>
                </c:pt>
                <c:pt idx="43">
                  <c:v>0.27599787245298646</c:v>
                </c:pt>
                <c:pt idx="44">
                  <c:v>0.23472836573018385</c:v>
                </c:pt>
                <c:pt idx="45">
                  <c:v>0.22448270645716939</c:v>
                </c:pt>
                <c:pt idx="46">
                  <c:v>0.24585381842019011</c:v>
                </c:pt>
                <c:pt idx="47">
                  <c:v>0.29945368378448511</c:v>
                </c:pt>
              </c:numCache>
            </c:numRef>
          </c:xVal>
          <c:yVal>
            <c:numRef>
              <c:f>Sheet1!$B$2:$B$51</c:f>
              <c:numCache>
                <c:formatCode>General</c:formatCode>
                <c:ptCount val="50"/>
                <c:pt idx="0">
                  <c:v>4.036642599277978</c:v>
                </c:pt>
                <c:pt idx="1">
                  <c:v>2.8052981048554435</c:v>
                </c:pt>
                <c:pt idx="2">
                  <c:v>2.3157631776167875</c:v>
                </c:pt>
                <c:pt idx="3">
                  <c:v>3.3874534581969988</c:v>
                </c:pt>
                <c:pt idx="4">
                  <c:v>2.1946284032376746</c:v>
                </c:pt>
                <c:pt idx="5">
                  <c:v>5.5104879160966709</c:v>
                </c:pt>
                <c:pt idx="6">
                  <c:v>5.8558732345849123</c:v>
                </c:pt>
                <c:pt idx="7">
                  <c:v>0.8575959403742468</c:v>
                </c:pt>
                <c:pt idx="8">
                  <c:v>0.91815809097688295</c:v>
                </c:pt>
                <c:pt idx="9">
                  <c:v>5.1425761271539852</c:v>
                </c:pt>
                <c:pt idx="10">
                  <c:v>1.949090909090909</c:v>
                </c:pt>
                <c:pt idx="11">
                  <c:v>2.15698407241893</c:v>
                </c:pt>
                <c:pt idx="12">
                  <c:v>2.1229696158991018</c:v>
                </c:pt>
                <c:pt idx="13">
                  <c:v>6.3531066822977724</c:v>
                </c:pt>
                <c:pt idx="14">
                  <c:v>3.45</c:v>
                </c:pt>
                <c:pt idx="15">
                  <c:v>1.1538200339558573</c:v>
                </c:pt>
                <c:pt idx="16">
                  <c:v>2.313090542152096</c:v>
                </c:pt>
                <c:pt idx="17">
                  <c:v>1.4464879237757589</c:v>
                </c:pt>
                <c:pt idx="18">
                  <c:v>1.9545373823477179</c:v>
                </c:pt>
                <c:pt idx="19">
                  <c:v>2.2469486531986531</c:v>
                </c:pt>
                <c:pt idx="20">
                  <c:v>2.035958124715521</c:v>
                </c:pt>
                <c:pt idx="21">
                  <c:v>2.1883473799926714</c:v>
                </c:pt>
                <c:pt idx="22">
                  <c:v>2.9860900354071824</c:v>
                </c:pt>
                <c:pt idx="23">
                  <c:v>1.6556822982678496</c:v>
                </c:pt>
                <c:pt idx="24">
                  <c:v>0.74406457739791076</c:v>
                </c:pt>
                <c:pt idx="25">
                  <c:v>1.9397372742200329</c:v>
                </c:pt>
                <c:pt idx="26">
                  <c:v>2.4108446298227322</c:v>
                </c:pt>
                <c:pt idx="27">
                  <c:v>1.1723356009070294</c:v>
                </c:pt>
                <c:pt idx="28">
                  <c:v>2.0220286885245899</c:v>
                </c:pt>
                <c:pt idx="29">
                  <c:v>2.4238369699464801</c:v>
                </c:pt>
                <c:pt idx="30">
                  <c:v>1.7869481765834934</c:v>
                </c:pt>
                <c:pt idx="31">
                  <c:v>2.4264361078546308</c:v>
                </c:pt>
                <c:pt idx="32">
                  <c:v>1.6909884158266888</c:v>
                </c:pt>
                <c:pt idx="33">
                  <c:v>1.3602050326188257</c:v>
                </c:pt>
                <c:pt idx="34">
                  <c:v>0.90998268897864976</c:v>
                </c:pt>
                <c:pt idx="35">
                  <c:v>1.7486426061961036</c:v>
                </c:pt>
                <c:pt idx="36">
                  <c:v>3.7153641207815276</c:v>
                </c:pt>
                <c:pt idx="37">
                  <c:v>0.63358208955223883</c:v>
                </c:pt>
                <c:pt idx="38">
                  <c:v>3.2248565965583174</c:v>
                </c:pt>
                <c:pt idx="39">
                  <c:v>0.36051693404634583</c:v>
                </c:pt>
                <c:pt idx="40">
                  <c:v>1.3776626367299942</c:v>
                </c:pt>
                <c:pt idx="41">
                  <c:v>1.8659543467702768</c:v>
                </c:pt>
                <c:pt idx="42">
                  <c:v>1.4394765539803707</c:v>
                </c:pt>
                <c:pt idx="43">
                  <c:v>1.628901239846088</c:v>
                </c:pt>
                <c:pt idx="44">
                  <c:v>1.3637426900584795</c:v>
                </c:pt>
                <c:pt idx="45">
                  <c:v>0.60488798370672103</c:v>
                </c:pt>
                <c:pt idx="46">
                  <c:v>1.4079956188389924</c:v>
                </c:pt>
                <c:pt idx="47">
                  <c:v>1.1113460183227626</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fld id="{95907329-8E30-47E5-B43E-85E8AB7121A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fld id="{B0A10F1F-1A13-4FB9-B0D0-45C5A894D36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fld id="{7607E255-5421-4471-A36F-59A6B028123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16EA1EB1-925A-4775-A8C5-4F86A40E42A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7130AC96-48DF-4507-B6DE-248985ECFF8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D348C656-9792-4A21-BD3E-5D8F1587677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467E3CAB-7088-42CC-BADB-79F7AB838D0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C06EFB82-21AB-4D82-B188-B11AF6D3010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A4674BB5-A331-4121-BDD3-8DFB34EC316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51AE1A93-E626-437D-BD35-7750AF282E2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ABDB0941-663D-4441-BF13-BBA9770F229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ED338B05-126C-4FA9-B8B5-AF603512BB6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29A701AE-6C57-4C7F-B9E6-B3A86DD3648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1E7B521B-7617-4F50-AEE7-563180EC24D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80919AEC-6FF9-404B-B2AA-B3349EBBE5D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431ED6EF-EA25-4E86-BA3B-82801773436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EC25DAB4-1739-4367-8F14-0D553785C2E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C2460734-5358-444C-9F57-0D90A2EDCA8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42B69387-A82C-4A1C-BF92-30205F5E65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305B7648-897A-4711-9530-6F1A06B9615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B4666FEC-E453-4A3F-B8D0-06609C1D6F9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4AD675F0-B0B7-459E-B125-1D7AF8DB29B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3580DEF3-A12C-43F5-BE49-1E51C58A399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EEF06377-60A7-44A7-BD80-7E683E20C9A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5B85906D-A20C-4691-94CF-FF3193EA6EC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47E95F8A-F1B0-47DD-BFDC-A291C7AA4CA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1B59F60D-B10C-49B1-83B0-EC31CFC89BC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7A142573-142F-4751-B60E-0B0159107C4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D6C77C41-69F2-4F19-908D-BB956E73DF0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6F93B3F6-5F50-4033-A999-5A8732C82EF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DA7FF36B-300A-49DA-982D-0B6BABC3F5C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D06477F2-C781-49FD-9793-CAFE3A176ED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E6244D24-C933-4A19-871F-C6BE9078CB8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97C9B305-AC70-4D35-8B4A-E03B6B02082A}"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D5801DEF-1197-4BCB-941A-3C44041D87D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6E15FAA6-5735-42FE-9C14-2314DB36A04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831D2AD9-A1FB-4F7A-90C0-0B5FFD76D66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CC979AA9-D604-4933-8417-EFA44CC7B1C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F69464AB-E6C4-4E5D-B0B7-A3D8B290C24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33003393-93F9-43B0-B9A0-D67374B54CD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8EEB1EF4-A122-48FC-8025-D6DB32217F4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65DB6A1A-FC32-4D0F-A1B3-EAECB0A990D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5BCF8FCB-BF05-4E56-B426-D80E456A00A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274B8672-959F-4D43-B56D-EAE5A4267A3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511BC4A7-A7EE-4002-B221-1D4938C1929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C4D5804E-2C3D-4678-B7F3-BAC44372849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D3CB365C-6B47-40D4-8010-E105F291208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B87567B4-FF65-4E3B-9F35-D32C4A2AC01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1</c:f>
              <c:numCache>
                <c:formatCode>General</c:formatCode>
                <c:ptCount val="50"/>
                <c:pt idx="0">
                  <c:v>0.32614219606149664</c:v>
                </c:pt>
                <c:pt idx="1">
                  <c:v>0.31664875250254537</c:v>
                </c:pt>
                <c:pt idx="2">
                  <c:v>0.27346307041982199</c:v>
                </c:pt>
                <c:pt idx="3">
                  <c:v>0.2831646688619443</c:v>
                </c:pt>
                <c:pt idx="4">
                  <c:v>0.2586347262757685</c:v>
                </c:pt>
                <c:pt idx="5">
                  <c:v>0.33786738243552095</c:v>
                </c:pt>
                <c:pt idx="6">
                  <c:v>0.39199545326509833</c:v>
                </c:pt>
                <c:pt idx="7">
                  <c:v>0.24805723261987339</c:v>
                </c:pt>
                <c:pt idx="8">
                  <c:v>0.24785938764333104</c:v>
                </c:pt>
                <c:pt idx="9">
                  <c:v>0.37074721427752688</c:v>
                </c:pt>
                <c:pt idx="10">
                  <c:v>0.24301285130226527</c:v>
                </c:pt>
                <c:pt idx="11">
                  <c:v>0.29023901513577965</c:v>
                </c:pt>
                <c:pt idx="12">
                  <c:v>0.27408514093650493</c:v>
                </c:pt>
                <c:pt idx="13">
                  <c:v>0.38048884495186663</c:v>
                </c:pt>
                <c:pt idx="14">
                  <c:v>0.30308742272142136</c:v>
                </c:pt>
                <c:pt idx="15">
                  <c:v>0.25008655716680273</c:v>
                </c:pt>
                <c:pt idx="16">
                  <c:v>0.28089700180642357</c:v>
                </c:pt>
                <c:pt idx="17">
                  <c:v>0.27117632631945737</c:v>
                </c:pt>
                <c:pt idx="18">
                  <c:v>0.29870429613658334</c:v>
                </c:pt>
                <c:pt idx="19">
                  <c:v>0.28887143469924503</c:v>
                </c:pt>
                <c:pt idx="20">
                  <c:v>0.27333685261571355</c:v>
                </c:pt>
                <c:pt idx="21">
                  <c:v>0.2713669485206564</c:v>
                </c:pt>
                <c:pt idx="22">
                  <c:v>0.37674111408113636</c:v>
                </c:pt>
                <c:pt idx="23">
                  <c:v>0.34170217411726383</c:v>
                </c:pt>
                <c:pt idx="24">
                  <c:v>0.27953887621663237</c:v>
                </c:pt>
                <c:pt idx="25">
                  <c:v>0.26139863941217595</c:v>
                </c:pt>
                <c:pt idx="26">
                  <c:v>0.28515871070852677</c:v>
                </c:pt>
                <c:pt idx="27">
                  <c:v>0.31741391390991608</c:v>
                </c:pt>
                <c:pt idx="28">
                  <c:v>0.26620342419047666</c:v>
                </c:pt>
                <c:pt idx="29">
                  <c:v>0.27032392247178932</c:v>
                </c:pt>
                <c:pt idx="30">
                  <c:v>0.25398515744663003</c:v>
                </c:pt>
                <c:pt idx="31">
                  <c:v>0.28052802243816721</c:v>
                </c:pt>
                <c:pt idx="32">
                  <c:v>0.25420735412144679</c:v>
                </c:pt>
                <c:pt idx="33">
                  <c:v>0.34032241378886918</c:v>
                </c:pt>
                <c:pt idx="34">
                  <c:v>0.29260451481690342</c:v>
                </c:pt>
                <c:pt idx="35">
                  <c:v>0.27010707272762946</c:v>
                </c:pt>
                <c:pt idx="36">
                  <c:v>0.30239907256816745</c:v>
                </c:pt>
                <c:pt idx="37">
                  <c:v>0.32976074763129964</c:v>
                </c:pt>
                <c:pt idx="38">
                  <c:v>0.32883855339035062</c:v>
                </c:pt>
                <c:pt idx="39">
                  <c:v>0.27306037067424022</c:v>
                </c:pt>
                <c:pt idx="40">
                  <c:v>0.31776436198193048</c:v>
                </c:pt>
                <c:pt idx="41">
                  <c:v>0.239223188374001</c:v>
                </c:pt>
                <c:pt idx="42">
                  <c:v>0.3262179990104076</c:v>
                </c:pt>
                <c:pt idx="43">
                  <c:v>0.27599787245298646</c:v>
                </c:pt>
                <c:pt idx="44">
                  <c:v>0.23472836573018385</c:v>
                </c:pt>
                <c:pt idx="45">
                  <c:v>0.22448270645716939</c:v>
                </c:pt>
                <c:pt idx="46">
                  <c:v>0.24585381842019011</c:v>
                </c:pt>
                <c:pt idx="47">
                  <c:v>0.29945368378448511</c:v>
                </c:pt>
              </c:numCache>
            </c:numRef>
          </c:xVal>
          <c:yVal>
            <c:numRef>
              <c:f>Sheet1!$B$2:$B$51</c:f>
              <c:numCache>
                <c:formatCode>General</c:formatCode>
                <c:ptCount val="50"/>
                <c:pt idx="0">
                  <c:v>4.036642599277978</c:v>
                </c:pt>
                <c:pt idx="1">
                  <c:v>2.8052981048554435</c:v>
                </c:pt>
                <c:pt idx="2">
                  <c:v>2.3157631776167875</c:v>
                </c:pt>
                <c:pt idx="3">
                  <c:v>3.3874534581969988</c:v>
                </c:pt>
                <c:pt idx="4">
                  <c:v>2.1946284032376746</c:v>
                </c:pt>
                <c:pt idx="5">
                  <c:v>5.5104879160966709</c:v>
                </c:pt>
                <c:pt idx="6">
                  <c:v>5.8558732345849123</c:v>
                </c:pt>
                <c:pt idx="7">
                  <c:v>0.8575959403742468</c:v>
                </c:pt>
                <c:pt idx="8">
                  <c:v>0.91815809097688295</c:v>
                </c:pt>
                <c:pt idx="9">
                  <c:v>5.1425761271539852</c:v>
                </c:pt>
                <c:pt idx="10">
                  <c:v>1.949090909090909</c:v>
                </c:pt>
                <c:pt idx="11">
                  <c:v>2.15698407241893</c:v>
                </c:pt>
                <c:pt idx="12">
                  <c:v>2.1229696158991018</c:v>
                </c:pt>
                <c:pt idx="13">
                  <c:v>6.3531066822977724</c:v>
                </c:pt>
                <c:pt idx="14">
                  <c:v>3.45</c:v>
                </c:pt>
                <c:pt idx="15">
                  <c:v>1.1538200339558573</c:v>
                </c:pt>
                <c:pt idx="16">
                  <c:v>2.313090542152096</c:v>
                </c:pt>
                <c:pt idx="17">
                  <c:v>1.4464879237757589</c:v>
                </c:pt>
                <c:pt idx="18">
                  <c:v>1.9545373823477179</c:v>
                </c:pt>
                <c:pt idx="19">
                  <c:v>2.2469486531986531</c:v>
                </c:pt>
                <c:pt idx="20">
                  <c:v>2.035958124715521</c:v>
                </c:pt>
                <c:pt idx="21">
                  <c:v>2.1883473799926714</c:v>
                </c:pt>
                <c:pt idx="22">
                  <c:v>2.9860900354071824</c:v>
                </c:pt>
                <c:pt idx="23">
                  <c:v>1.6556822982678496</c:v>
                </c:pt>
                <c:pt idx="24">
                  <c:v>0.74406457739791076</c:v>
                </c:pt>
                <c:pt idx="25">
                  <c:v>1.9397372742200329</c:v>
                </c:pt>
                <c:pt idx="26">
                  <c:v>2.4108446298227322</c:v>
                </c:pt>
                <c:pt idx="27">
                  <c:v>1.1723356009070294</c:v>
                </c:pt>
                <c:pt idx="28">
                  <c:v>2.0220286885245899</c:v>
                </c:pt>
                <c:pt idx="29">
                  <c:v>2.4238369699464801</c:v>
                </c:pt>
                <c:pt idx="30">
                  <c:v>1.7869481765834934</c:v>
                </c:pt>
                <c:pt idx="31">
                  <c:v>2.4264361078546308</c:v>
                </c:pt>
                <c:pt idx="32">
                  <c:v>1.6909884158266888</c:v>
                </c:pt>
                <c:pt idx="33">
                  <c:v>1.3602050326188257</c:v>
                </c:pt>
                <c:pt idx="34">
                  <c:v>0.90998268897864976</c:v>
                </c:pt>
                <c:pt idx="35">
                  <c:v>1.7486426061961036</c:v>
                </c:pt>
                <c:pt idx="36">
                  <c:v>3.7153641207815276</c:v>
                </c:pt>
                <c:pt idx="37">
                  <c:v>0.63358208955223883</c:v>
                </c:pt>
                <c:pt idx="38">
                  <c:v>3.2248565965583174</c:v>
                </c:pt>
                <c:pt idx="39">
                  <c:v>0.36051693404634583</c:v>
                </c:pt>
                <c:pt idx="40">
                  <c:v>1.3776626367299942</c:v>
                </c:pt>
                <c:pt idx="41">
                  <c:v>1.8659543467702768</c:v>
                </c:pt>
                <c:pt idx="42">
                  <c:v>1.4394765539803707</c:v>
                </c:pt>
                <c:pt idx="43">
                  <c:v>1.628901239846088</c:v>
                </c:pt>
                <c:pt idx="44">
                  <c:v>1.3637426900584795</c:v>
                </c:pt>
                <c:pt idx="45">
                  <c:v>0.60488798370672103</c:v>
                </c:pt>
                <c:pt idx="46">
                  <c:v>1.4079956188389924</c:v>
                </c:pt>
                <c:pt idx="47">
                  <c:v>1.1113460183227626</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01146377674956"/>
          <c:y val="4.0109389243391066E-2"/>
          <c:w val="0.85180034385156966"/>
          <c:h val="0.78810068978387726"/>
        </c:manualLayout>
      </c:layout>
      <c:scatterChart>
        <c:scatterStyle val="lineMarker"/>
        <c:varyColors val="0"/>
        <c:ser>
          <c:idx val="0"/>
          <c:order val="0"/>
          <c:tx>
            <c:strRef>
              <c:f>Sheet1!$B$1</c:f>
              <c:strCache>
                <c:ptCount val="1"/>
                <c:pt idx="0">
                  <c:v>Volume Uplift (v. Base )</c:v>
                </c:pt>
              </c:strCache>
            </c:strRef>
          </c:tx>
          <c:spPr>
            <a:ln w="19050" cap="rnd">
              <a:noFill/>
              <a:round/>
            </a:ln>
            <a:effectLst/>
          </c:spPr>
          <c:marker>
            <c:symbol val="circle"/>
            <c:size val="5"/>
            <c:spPr>
              <a:solidFill>
                <a:schemeClr val="accent1"/>
              </a:solidFill>
              <a:ln w="9525">
                <a:solidFill>
                  <a:schemeClr val="accent1"/>
                </a:solidFill>
              </a:ln>
              <a:effectLst/>
            </c:spPr>
          </c:marker>
          <c:dLbls>
            <c:dLbl>
              <c:idx val="0"/>
              <c:tx>
                <c:rich>
                  <a:bodyPr/>
                  <a:lstStyle/>
                  <a:p>
                    <a:fld id="{3701A89D-CAA0-42D0-BE34-DD86F6E6673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99F-4374-933C-119751F7B1D3}"/>
                </c:ext>
              </c:extLst>
            </c:dLbl>
            <c:dLbl>
              <c:idx val="1"/>
              <c:tx>
                <c:rich>
                  <a:bodyPr/>
                  <a:lstStyle/>
                  <a:p>
                    <a:fld id="{87B662D8-08F9-4548-A103-66B8817FA43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9F-4374-933C-119751F7B1D3}"/>
                </c:ext>
              </c:extLst>
            </c:dLbl>
            <c:dLbl>
              <c:idx val="2"/>
              <c:tx>
                <c:rich>
                  <a:bodyPr/>
                  <a:lstStyle/>
                  <a:p>
                    <a:fld id="{6A56D980-B5A6-4394-A99E-4BBF0757964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F-4374-933C-119751F7B1D3}"/>
                </c:ext>
              </c:extLst>
            </c:dLbl>
            <c:dLbl>
              <c:idx val="3"/>
              <c:tx>
                <c:rich>
                  <a:bodyPr/>
                  <a:lstStyle/>
                  <a:p>
                    <a:fld id="{42713E84-D9D3-43B9-BAAF-FF23464B9F0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F-4374-933C-119751F7B1D3}"/>
                </c:ext>
              </c:extLst>
            </c:dLbl>
            <c:dLbl>
              <c:idx val="4"/>
              <c:tx>
                <c:rich>
                  <a:bodyPr/>
                  <a:lstStyle/>
                  <a:p>
                    <a:fld id="{A35C829B-6465-4859-A682-EAB44D729D5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F-4374-933C-119751F7B1D3}"/>
                </c:ext>
              </c:extLst>
            </c:dLbl>
            <c:dLbl>
              <c:idx val="5"/>
              <c:tx>
                <c:rich>
                  <a:bodyPr/>
                  <a:lstStyle/>
                  <a:p>
                    <a:fld id="{B9EA75B9-39D7-4EC5-8960-6D05DE6DA77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F-4374-933C-119751F7B1D3}"/>
                </c:ext>
              </c:extLst>
            </c:dLbl>
            <c:dLbl>
              <c:idx val="6"/>
              <c:tx>
                <c:rich>
                  <a:bodyPr/>
                  <a:lstStyle/>
                  <a:p>
                    <a:fld id="{2C611657-0DE1-43DD-B0C4-7DA4466D35C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F-4374-933C-119751F7B1D3}"/>
                </c:ext>
              </c:extLst>
            </c:dLbl>
            <c:dLbl>
              <c:idx val="7"/>
              <c:tx>
                <c:rich>
                  <a:bodyPr/>
                  <a:lstStyle/>
                  <a:p>
                    <a:fld id="{FEE05E79-E86C-4F1D-A596-99797076065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F-4374-933C-119751F7B1D3}"/>
                </c:ext>
              </c:extLst>
            </c:dLbl>
            <c:dLbl>
              <c:idx val="8"/>
              <c:tx>
                <c:rich>
                  <a:bodyPr/>
                  <a:lstStyle/>
                  <a:p>
                    <a:fld id="{F8A1C7B3-8751-42BD-95B6-7564E148943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F-4374-933C-119751F7B1D3}"/>
                </c:ext>
              </c:extLst>
            </c:dLbl>
            <c:dLbl>
              <c:idx val="9"/>
              <c:tx>
                <c:rich>
                  <a:bodyPr/>
                  <a:lstStyle/>
                  <a:p>
                    <a:fld id="{AEB29E29-67E6-46E6-BFA0-104A23A71BC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F-4374-933C-119751F7B1D3}"/>
                </c:ext>
              </c:extLst>
            </c:dLbl>
            <c:dLbl>
              <c:idx val="10"/>
              <c:tx>
                <c:rich>
                  <a:bodyPr/>
                  <a:lstStyle/>
                  <a:p>
                    <a:fld id="{3E91733B-B68D-435F-9911-9E7EC4029E9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F-4374-933C-119751F7B1D3}"/>
                </c:ext>
              </c:extLst>
            </c:dLbl>
            <c:dLbl>
              <c:idx val="11"/>
              <c:tx>
                <c:rich>
                  <a:bodyPr/>
                  <a:lstStyle/>
                  <a:p>
                    <a:fld id="{8A8AA7D7-5406-4BD2-890E-E4181DE5C1B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F-4374-933C-119751F7B1D3}"/>
                </c:ext>
              </c:extLst>
            </c:dLbl>
            <c:dLbl>
              <c:idx val="12"/>
              <c:tx>
                <c:rich>
                  <a:bodyPr/>
                  <a:lstStyle/>
                  <a:p>
                    <a:fld id="{F75510D2-E2BD-4EDD-8EC1-D0817822825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F-4374-933C-119751F7B1D3}"/>
                </c:ext>
              </c:extLst>
            </c:dLbl>
            <c:dLbl>
              <c:idx val="13"/>
              <c:tx>
                <c:rich>
                  <a:bodyPr/>
                  <a:lstStyle/>
                  <a:p>
                    <a:fld id="{5C18062A-8B6D-43EE-978C-2129998327D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F-4374-933C-119751F7B1D3}"/>
                </c:ext>
              </c:extLst>
            </c:dLbl>
            <c:dLbl>
              <c:idx val="14"/>
              <c:tx>
                <c:rich>
                  <a:bodyPr/>
                  <a:lstStyle/>
                  <a:p>
                    <a:fld id="{B9C8F149-0E86-46B1-87BE-CC66D028F25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F-4374-933C-119751F7B1D3}"/>
                </c:ext>
              </c:extLst>
            </c:dLbl>
            <c:dLbl>
              <c:idx val="15"/>
              <c:tx>
                <c:rich>
                  <a:bodyPr/>
                  <a:lstStyle/>
                  <a:p>
                    <a:fld id="{471E54EE-46DE-46B9-BCF2-E75FFCFE598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F-4374-933C-119751F7B1D3}"/>
                </c:ext>
              </c:extLst>
            </c:dLbl>
            <c:dLbl>
              <c:idx val="16"/>
              <c:tx>
                <c:rich>
                  <a:bodyPr/>
                  <a:lstStyle/>
                  <a:p>
                    <a:fld id="{F214BC4D-6C30-4538-B168-F312CAE558E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7EC-4EE8-A064-668E05F5E5BB}"/>
                </c:ext>
              </c:extLst>
            </c:dLbl>
            <c:dLbl>
              <c:idx val="17"/>
              <c:tx>
                <c:rich>
                  <a:bodyPr/>
                  <a:lstStyle/>
                  <a:p>
                    <a:fld id="{816A7B53-0ED3-4961-91F7-85985817E49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F-4374-933C-119751F7B1D3}"/>
                </c:ext>
              </c:extLst>
            </c:dLbl>
            <c:dLbl>
              <c:idx val="18"/>
              <c:tx>
                <c:rich>
                  <a:bodyPr/>
                  <a:lstStyle/>
                  <a:p>
                    <a:fld id="{D73FF1AC-9D55-46A4-9B14-8519699E34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05C-4186-8239-DC3766495C90}"/>
                </c:ext>
              </c:extLst>
            </c:dLbl>
            <c:dLbl>
              <c:idx val="19"/>
              <c:tx>
                <c:rich>
                  <a:bodyPr/>
                  <a:lstStyle/>
                  <a:p>
                    <a:fld id="{021930BC-943E-458D-9815-C3F5A5BCE56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F-4374-933C-119751F7B1D3}"/>
                </c:ext>
              </c:extLst>
            </c:dLbl>
            <c:dLbl>
              <c:idx val="20"/>
              <c:tx>
                <c:rich>
                  <a:bodyPr/>
                  <a:lstStyle/>
                  <a:p>
                    <a:fld id="{D452AC65-8271-4DEB-928C-26F86A97031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F-4374-933C-119751F7B1D3}"/>
                </c:ext>
              </c:extLst>
            </c:dLbl>
            <c:dLbl>
              <c:idx val="21"/>
              <c:tx>
                <c:rich>
                  <a:bodyPr/>
                  <a:lstStyle/>
                  <a:p>
                    <a:fld id="{CC1F3D3E-3A54-468E-848F-CC780CCE8B9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F-4374-933C-119751F7B1D3}"/>
                </c:ext>
              </c:extLst>
            </c:dLbl>
            <c:dLbl>
              <c:idx val="22"/>
              <c:tx>
                <c:rich>
                  <a:bodyPr/>
                  <a:lstStyle/>
                  <a:p>
                    <a:fld id="{159DAF58-1232-44E0-BA0F-FB3685DBA68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9F-4374-933C-119751F7B1D3}"/>
                </c:ext>
              </c:extLst>
            </c:dLbl>
            <c:dLbl>
              <c:idx val="23"/>
              <c:tx>
                <c:rich>
                  <a:bodyPr/>
                  <a:lstStyle/>
                  <a:p>
                    <a:fld id="{7B40047A-7CE9-42DE-A5CA-40F91FD67D7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9F-4374-933C-119751F7B1D3}"/>
                </c:ext>
              </c:extLst>
            </c:dLbl>
            <c:dLbl>
              <c:idx val="24"/>
              <c:tx>
                <c:rich>
                  <a:bodyPr/>
                  <a:lstStyle/>
                  <a:p>
                    <a:fld id="{3FC6F3D8-38DA-4EF9-AD77-B6DF344C21D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9F-4374-933C-119751F7B1D3}"/>
                </c:ext>
              </c:extLst>
            </c:dLbl>
            <c:dLbl>
              <c:idx val="25"/>
              <c:tx>
                <c:rich>
                  <a:bodyPr/>
                  <a:lstStyle/>
                  <a:p>
                    <a:fld id="{A40DB187-FB13-41FA-A331-B1124941C4D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99F-4374-933C-119751F7B1D3}"/>
                </c:ext>
              </c:extLst>
            </c:dLbl>
            <c:dLbl>
              <c:idx val="26"/>
              <c:tx>
                <c:rich>
                  <a:bodyPr/>
                  <a:lstStyle/>
                  <a:p>
                    <a:fld id="{92877770-8306-4438-B732-9DAB7782303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9F-4374-933C-119751F7B1D3}"/>
                </c:ext>
              </c:extLst>
            </c:dLbl>
            <c:dLbl>
              <c:idx val="27"/>
              <c:tx>
                <c:rich>
                  <a:bodyPr/>
                  <a:lstStyle/>
                  <a:p>
                    <a:fld id="{327D685E-35D0-4E4D-B87A-C4232D4C93D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9F-4374-933C-119751F7B1D3}"/>
                </c:ext>
              </c:extLst>
            </c:dLbl>
            <c:dLbl>
              <c:idx val="28"/>
              <c:tx>
                <c:rich>
                  <a:bodyPr/>
                  <a:lstStyle/>
                  <a:p>
                    <a:fld id="{8EC116EB-11EC-4CD7-A953-912726CA12F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9F-4374-933C-119751F7B1D3}"/>
                </c:ext>
              </c:extLst>
            </c:dLbl>
            <c:dLbl>
              <c:idx val="29"/>
              <c:tx>
                <c:rich>
                  <a:bodyPr/>
                  <a:lstStyle/>
                  <a:p>
                    <a:fld id="{B9C9A5D0-6499-4074-B136-0D7341BA9332}"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9F-4374-933C-119751F7B1D3}"/>
                </c:ext>
              </c:extLst>
            </c:dLbl>
            <c:dLbl>
              <c:idx val="30"/>
              <c:tx>
                <c:rich>
                  <a:bodyPr/>
                  <a:lstStyle/>
                  <a:p>
                    <a:fld id="{B4488422-3CED-4537-A90B-A5AC961572E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9F-4374-933C-119751F7B1D3}"/>
                </c:ext>
              </c:extLst>
            </c:dLbl>
            <c:dLbl>
              <c:idx val="31"/>
              <c:tx>
                <c:rich>
                  <a:bodyPr/>
                  <a:lstStyle/>
                  <a:p>
                    <a:fld id="{86C26664-CC42-4E3D-AA21-93141C57A20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9F-4374-933C-119751F7B1D3}"/>
                </c:ext>
              </c:extLst>
            </c:dLbl>
            <c:dLbl>
              <c:idx val="32"/>
              <c:tx>
                <c:rich>
                  <a:bodyPr/>
                  <a:lstStyle/>
                  <a:p>
                    <a:fld id="{EC1B4C78-5EAF-4307-A1DA-91E17BBB04F6}"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9F-4374-933C-119751F7B1D3}"/>
                </c:ext>
              </c:extLst>
            </c:dLbl>
            <c:dLbl>
              <c:idx val="33"/>
              <c:tx>
                <c:rich>
                  <a:bodyPr/>
                  <a:lstStyle/>
                  <a:p>
                    <a:fld id="{48A5E05F-26E1-4752-A836-5E7490160F5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99F-4374-933C-119751F7B1D3}"/>
                </c:ext>
              </c:extLst>
            </c:dLbl>
            <c:dLbl>
              <c:idx val="34"/>
              <c:tx>
                <c:rich>
                  <a:bodyPr/>
                  <a:lstStyle/>
                  <a:p>
                    <a:fld id="{802E4059-C901-4456-B326-A196D89355C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99F-4374-933C-119751F7B1D3}"/>
                </c:ext>
              </c:extLst>
            </c:dLbl>
            <c:dLbl>
              <c:idx val="35"/>
              <c:tx>
                <c:rich>
                  <a:bodyPr/>
                  <a:lstStyle/>
                  <a:p>
                    <a:fld id="{7A0CB6A4-462C-4F36-97B9-EE2BE7217D9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99F-4374-933C-119751F7B1D3}"/>
                </c:ext>
              </c:extLst>
            </c:dLbl>
            <c:dLbl>
              <c:idx val="36"/>
              <c:tx>
                <c:rich>
                  <a:bodyPr/>
                  <a:lstStyle/>
                  <a:p>
                    <a:fld id="{D04AA2AE-250E-45FD-A1B6-64767688C32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99F-4374-933C-119751F7B1D3}"/>
                </c:ext>
              </c:extLst>
            </c:dLbl>
            <c:dLbl>
              <c:idx val="37"/>
              <c:tx>
                <c:rich>
                  <a:bodyPr/>
                  <a:lstStyle/>
                  <a:p>
                    <a:fld id="{18AA2F24-87B9-47A8-AC47-64EFCF38234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99F-4374-933C-119751F7B1D3}"/>
                </c:ext>
              </c:extLst>
            </c:dLbl>
            <c:dLbl>
              <c:idx val="38"/>
              <c:tx>
                <c:rich>
                  <a:bodyPr/>
                  <a:lstStyle/>
                  <a:p>
                    <a:fld id="{DEF127B7-E65E-46E7-96CD-6F2D3F76C03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99F-4374-933C-119751F7B1D3}"/>
                </c:ext>
              </c:extLst>
            </c:dLbl>
            <c:dLbl>
              <c:idx val="39"/>
              <c:tx>
                <c:rich>
                  <a:bodyPr/>
                  <a:lstStyle/>
                  <a:p>
                    <a:fld id="{B75E2624-E0C2-4811-B50B-D6EB98131DD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99F-4374-933C-119751F7B1D3}"/>
                </c:ext>
              </c:extLst>
            </c:dLbl>
            <c:dLbl>
              <c:idx val="40"/>
              <c:tx>
                <c:rich>
                  <a:bodyPr/>
                  <a:lstStyle/>
                  <a:p>
                    <a:fld id="{C5A95D58-AF2C-4A19-BD6B-1A7E08019D8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499F-4374-933C-119751F7B1D3}"/>
                </c:ext>
              </c:extLst>
            </c:dLbl>
            <c:dLbl>
              <c:idx val="41"/>
              <c:tx>
                <c:rich>
                  <a:bodyPr/>
                  <a:lstStyle/>
                  <a:p>
                    <a:fld id="{EC674038-6BD4-4DF8-9C0A-60F3CBE293F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99F-4374-933C-119751F7B1D3}"/>
                </c:ext>
              </c:extLst>
            </c:dLbl>
            <c:dLbl>
              <c:idx val="42"/>
              <c:tx>
                <c:rich>
                  <a:bodyPr/>
                  <a:lstStyle/>
                  <a:p>
                    <a:fld id="{BAC0D187-A9DF-471F-9146-75AF9888FF0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499F-4374-933C-119751F7B1D3}"/>
                </c:ext>
              </c:extLst>
            </c:dLbl>
            <c:dLbl>
              <c:idx val="43"/>
              <c:tx>
                <c:rich>
                  <a:bodyPr/>
                  <a:lstStyle/>
                  <a:p>
                    <a:fld id="{E9E38DE5-ADE3-4104-A9F0-DF46F91656C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99F-4374-933C-119751F7B1D3}"/>
                </c:ext>
              </c:extLst>
            </c:dLbl>
            <c:dLbl>
              <c:idx val="44"/>
              <c:tx>
                <c:rich>
                  <a:bodyPr/>
                  <a:lstStyle/>
                  <a:p>
                    <a:fld id="{621A11A4-522B-4213-8C5D-9987FB6A30B3}"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499F-4374-933C-119751F7B1D3}"/>
                </c:ext>
              </c:extLst>
            </c:dLbl>
            <c:dLbl>
              <c:idx val="45"/>
              <c:tx>
                <c:rich>
                  <a:bodyPr/>
                  <a:lstStyle/>
                  <a:p>
                    <a:fld id="{8E3382EB-E889-4449-94AE-C85F3C0D930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99F-4374-933C-119751F7B1D3}"/>
                </c:ext>
              </c:extLst>
            </c:dLbl>
            <c:dLbl>
              <c:idx val="46"/>
              <c:tx>
                <c:rich>
                  <a:bodyPr/>
                  <a:lstStyle/>
                  <a:p>
                    <a:fld id="{1615C41A-5573-4CAB-902E-98787F45889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499F-4374-933C-119751F7B1D3}"/>
                </c:ext>
              </c:extLst>
            </c:dLbl>
            <c:dLbl>
              <c:idx val="47"/>
              <c:tx>
                <c:rich>
                  <a:bodyPr/>
                  <a:lstStyle/>
                  <a:p>
                    <a:fld id="{3CBE1FD5-D49D-49B3-B0D4-C064E94B376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99F-4374-933C-119751F7B1D3}"/>
                </c:ext>
              </c:extLst>
            </c:dLbl>
            <c:dLbl>
              <c:idx val="4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499F-4374-933C-119751F7B1D3}"/>
                </c:ext>
              </c:extLst>
            </c:dLbl>
            <c:dLbl>
              <c:idx val="4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499F-4374-933C-119751F7B1D3}"/>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51</c:f>
              <c:numCache>
                <c:formatCode>General</c:formatCode>
                <c:ptCount val="50"/>
                <c:pt idx="0">
                  <c:v>0.32614219606149664</c:v>
                </c:pt>
                <c:pt idx="1">
                  <c:v>0.31664875250254537</c:v>
                </c:pt>
                <c:pt idx="2">
                  <c:v>0.27346307041982199</c:v>
                </c:pt>
                <c:pt idx="3">
                  <c:v>0.2831646688619443</c:v>
                </c:pt>
                <c:pt idx="4">
                  <c:v>0.2586347262757685</c:v>
                </c:pt>
                <c:pt idx="5">
                  <c:v>0.33786738243552095</c:v>
                </c:pt>
                <c:pt idx="6">
                  <c:v>0.39199545326509833</c:v>
                </c:pt>
                <c:pt idx="7">
                  <c:v>0.24805723261987339</c:v>
                </c:pt>
                <c:pt idx="8">
                  <c:v>0.24785938764333104</c:v>
                </c:pt>
                <c:pt idx="9">
                  <c:v>0.37074721427752688</c:v>
                </c:pt>
                <c:pt idx="10">
                  <c:v>0.24301285130226527</c:v>
                </c:pt>
                <c:pt idx="11">
                  <c:v>0.29023901513577965</c:v>
                </c:pt>
                <c:pt idx="12">
                  <c:v>0.27408514093650493</c:v>
                </c:pt>
                <c:pt idx="13">
                  <c:v>0.38048884495186663</c:v>
                </c:pt>
                <c:pt idx="14">
                  <c:v>0.30308742272142136</c:v>
                </c:pt>
                <c:pt idx="15">
                  <c:v>0.25008655716680273</c:v>
                </c:pt>
                <c:pt idx="16">
                  <c:v>0.28089700180642357</c:v>
                </c:pt>
                <c:pt idx="17">
                  <c:v>0.27117632631945737</c:v>
                </c:pt>
                <c:pt idx="18">
                  <c:v>0.29870429613658334</c:v>
                </c:pt>
                <c:pt idx="19">
                  <c:v>0.28887143469924503</c:v>
                </c:pt>
                <c:pt idx="20">
                  <c:v>0.27333685261571355</c:v>
                </c:pt>
                <c:pt idx="21">
                  <c:v>0.2713669485206564</c:v>
                </c:pt>
                <c:pt idx="22">
                  <c:v>0.37674111408113636</c:v>
                </c:pt>
                <c:pt idx="23">
                  <c:v>0.34170217411726383</c:v>
                </c:pt>
                <c:pt idx="24">
                  <c:v>0.27953887621663237</c:v>
                </c:pt>
                <c:pt idx="25">
                  <c:v>0.26139863941217595</c:v>
                </c:pt>
                <c:pt idx="26">
                  <c:v>0.28515871070852677</c:v>
                </c:pt>
                <c:pt idx="27">
                  <c:v>0.31741391390991608</c:v>
                </c:pt>
                <c:pt idx="28">
                  <c:v>0.26620342419047666</c:v>
                </c:pt>
                <c:pt idx="29">
                  <c:v>0.27032392247178932</c:v>
                </c:pt>
                <c:pt idx="30">
                  <c:v>0.25398515744663003</c:v>
                </c:pt>
                <c:pt idx="31">
                  <c:v>0.28052802243816721</c:v>
                </c:pt>
                <c:pt idx="32">
                  <c:v>0.25420735412144679</c:v>
                </c:pt>
                <c:pt idx="33">
                  <c:v>0.34032241378886918</c:v>
                </c:pt>
                <c:pt idx="34">
                  <c:v>0.29260451481690342</c:v>
                </c:pt>
                <c:pt idx="35">
                  <c:v>0.27010707272762946</c:v>
                </c:pt>
                <c:pt idx="36">
                  <c:v>0.30239907256816745</c:v>
                </c:pt>
                <c:pt idx="37">
                  <c:v>0.32976074763129964</c:v>
                </c:pt>
                <c:pt idx="38">
                  <c:v>0.32883855339035062</c:v>
                </c:pt>
                <c:pt idx="39">
                  <c:v>0.27306037067424022</c:v>
                </c:pt>
                <c:pt idx="40">
                  <c:v>0.31776436198193048</c:v>
                </c:pt>
                <c:pt idx="41">
                  <c:v>0.239223188374001</c:v>
                </c:pt>
                <c:pt idx="42">
                  <c:v>0.3262179990104076</c:v>
                </c:pt>
                <c:pt idx="43">
                  <c:v>0.27599787245298646</c:v>
                </c:pt>
                <c:pt idx="44">
                  <c:v>0.23472836573018385</c:v>
                </c:pt>
                <c:pt idx="45">
                  <c:v>0.22448270645716939</c:v>
                </c:pt>
                <c:pt idx="46">
                  <c:v>0.24585381842019011</c:v>
                </c:pt>
                <c:pt idx="47">
                  <c:v>0.29945368378448511</c:v>
                </c:pt>
              </c:numCache>
            </c:numRef>
          </c:xVal>
          <c:yVal>
            <c:numRef>
              <c:f>Sheet1!$B$2:$B$51</c:f>
              <c:numCache>
                <c:formatCode>General</c:formatCode>
                <c:ptCount val="50"/>
                <c:pt idx="0">
                  <c:v>4.036642599277978</c:v>
                </c:pt>
                <c:pt idx="1">
                  <c:v>2.8052981048554435</c:v>
                </c:pt>
                <c:pt idx="2">
                  <c:v>2.3157631776167875</c:v>
                </c:pt>
                <c:pt idx="3">
                  <c:v>3.3874534581969988</c:v>
                </c:pt>
                <c:pt idx="4">
                  <c:v>2.1946284032376746</c:v>
                </c:pt>
                <c:pt idx="5">
                  <c:v>5.5104879160966709</c:v>
                </c:pt>
                <c:pt idx="6">
                  <c:v>5.8558732345849123</c:v>
                </c:pt>
                <c:pt idx="7">
                  <c:v>0.8575959403742468</c:v>
                </c:pt>
                <c:pt idx="8">
                  <c:v>0.91815809097688295</c:v>
                </c:pt>
                <c:pt idx="9">
                  <c:v>5.1425761271539852</c:v>
                </c:pt>
                <c:pt idx="10">
                  <c:v>1.949090909090909</c:v>
                </c:pt>
                <c:pt idx="11">
                  <c:v>2.15698407241893</c:v>
                </c:pt>
                <c:pt idx="12">
                  <c:v>2.1229696158991018</c:v>
                </c:pt>
                <c:pt idx="13">
                  <c:v>6.3531066822977724</c:v>
                </c:pt>
                <c:pt idx="14">
                  <c:v>3.45</c:v>
                </c:pt>
                <c:pt idx="15">
                  <c:v>1.1538200339558573</c:v>
                </c:pt>
                <c:pt idx="16">
                  <c:v>2.313090542152096</c:v>
                </c:pt>
                <c:pt idx="17">
                  <c:v>1.4464879237757589</c:v>
                </c:pt>
                <c:pt idx="18">
                  <c:v>1.9545373823477179</c:v>
                </c:pt>
                <c:pt idx="19">
                  <c:v>2.2469486531986531</c:v>
                </c:pt>
                <c:pt idx="20">
                  <c:v>2.035958124715521</c:v>
                </c:pt>
                <c:pt idx="21">
                  <c:v>2.1883473799926714</c:v>
                </c:pt>
                <c:pt idx="22">
                  <c:v>2.9860900354071824</c:v>
                </c:pt>
                <c:pt idx="23">
                  <c:v>1.6556822982678496</c:v>
                </c:pt>
                <c:pt idx="24">
                  <c:v>0.74406457739791076</c:v>
                </c:pt>
                <c:pt idx="25">
                  <c:v>1.9397372742200329</c:v>
                </c:pt>
                <c:pt idx="26">
                  <c:v>2.4108446298227322</c:v>
                </c:pt>
                <c:pt idx="27">
                  <c:v>1.1723356009070294</c:v>
                </c:pt>
                <c:pt idx="28">
                  <c:v>2.0220286885245899</c:v>
                </c:pt>
                <c:pt idx="29">
                  <c:v>2.4238369699464801</c:v>
                </c:pt>
                <c:pt idx="30">
                  <c:v>1.7869481765834934</c:v>
                </c:pt>
                <c:pt idx="31">
                  <c:v>2.4264361078546308</c:v>
                </c:pt>
                <c:pt idx="32">
                  <c:v>1.6909884158266888</c:v>
                </c:pt>
                <c:pt idx="33">
                  <c:v>1.3602050326188257</c:v>
                </c:pt>
                <c:pt idx="34">
                  <c:v>0.90998268897864976</c:v>
                </c:pt>
                <c:pt idx="35">
                  <c:v>1.7486426061961036</c:v>
                </c:pt>
                <c:pt idx="36">
                  <c:v>3.7153641207815276</c:v>
                </c:pt>
                <c:pt idx="37">
                  <c:v>0.63358208955223883</c:v>
                </c:pt>
                <c:pt idx="38">
                  <c:v>3.2248565965583174</c:v>
                </c:pt>
                <c:pt idx="39">
                  <c:v>0.36051693404634583</c:v>
                </c:pt>
                <c:pt idx="40">
                  <c:v>1.3776626367299942</c:v>
                </c:pt>
                <c:pt idx="41">
                  <c:v>1.8659543467702768</c:v>
                </c:pt>
                <c:pt idx="42">
                  <c:v>1.4394765539803707</c:v>
                </c:pt>
                <c:pt idx="43">
                  <c:v>1.628901239846088</c:v>
                </c:pt>
                <c:pt idx="44">
                  <c:v>1.3637426900584795</c:v>
                </c:pt>
                <c:pt idx="45">
                  <c:v>0.60488798370672103</c:v>
                </c:pt>
                <c:pt idx="46">
                  <c:v>1.4079956188389924</c:v>
                </c:pt>
                <c:pt idx="47">
                  <c:v>1.1113460183227626</c:v>
                </c:pt>
              </c:numCache>
            </c:numRef>
          </c:yVal>
          <c:smooth val="0"/>
          <c:extLst>
            <c:ext xmlns:c15="http://schemas.microsoft.com/office/drawing/2012/chart" uri="{02D57815-91ED-43cb-92C2-25804820EDAC}">
              <c15:datalabelsRange>
                <c15:f>Sheet1!$E$2:$E$51</c15:f>
                <c15:dlblRangeCache>
                  <c:ptCount val="50"/>
                  <c:pt idx="0">
                    <c:v>Fish Fingers 450g</c:v>
                  </c:pt>
                  <c:pt idx="1">
                    <c:v>Fillets Merluzzo 360g</c:v>
                  </c:pt>
                  <c:pt idx="2">
                    <c:v>Fish Fingers 300g</c:v>
                  </c:pt>
                  <c:pt idx="3">
                    <c:v>Croccole 300g</c:v>
                  </c:pt>
                  <c:pt idx="4">
                    <c:v>Fillets Merluzzo 300g</c:v>
                  </c:pt>
                  <c:pt idx="5">
                    <c:v>Fillets Nasello 250g</c:v>
                  </c:pt>
                  <c:pt idx="6">
                    <c:v>Seafood Misto 400g</c:v>
                  </c:pt>
                  <c:pt idx="7">
                    <c:v>Fillets Branzino 200g</c:v>
                  </c:pt>
                  <c:pt idx="8">
                    <c:v>Fillets Orata 200g</c:v>
                  </c:pt>
                  <c:pt idx="9">
                    <c:v>Seafood Misto 400g</c:v>
                  </c:pt>
                  <c:pt idx="10">
                    <c:v>Fish Fingers Platessa 250g</c:v>
                  </c:pt>
                  <c:pt idx="11">
                    <c:v>Fish Bar Merluzzo 245g</c:v>
                  </c:pt>
                  <c:pt idx="12">
                    <c:v>Croccole Spinaci 300g</c:v>
                  </c:pt>
                  <c:pt idx="13">
                    <c:v>Fillets Nasello 500g</c:v>
                  </c:pt>
                  <c:pt idx="14">
                    <c:v>Fish Fingers 750g</c:v>
                  </c:pt>
                  <c:pt idx="15">
                    <c:v>Fillets Salmone 200g</c:v>
                  </c:pt>
                  <c:pt idx="16">
                    <c:v>Gratinati Pomodoro 380g</c:v>
                  </c:pt>
                  <c:pt idx="17">
                    <c:v>Mugnaia 250g</c:v>
                  </c:pt>
                  <c:pt idx="18">
                    <c:v>Fish &amp; Crock 250g</c:v>
                  </c:pt>
                  <c:pt idx="19">
                    <c:v>Gratinati Erbe 380g</c:v>
                  </c:pt>
                  <c:pt idx="20">
                    <c:v>Fish Burger Salmone 170g</c:v>
                  </c:pt>
                  <c:pt idx="21">
                    <c:v>Gratinati Patate 380g</c:v>
                  </c:pt>
                  <c:pt idx="22">
                    <c:v>Seafood Misto 400g</c:v>
                  </c:pt>
                  <c:pt idx="23">
                    <c:v>Fillets Orata 500g</c:v>
                  </c:pt>
                  <c:pt idx="24">
                    <c:v>Fillets Platessa 230g</c:v>
                  </c:pt>
                  <c:pt idx="25">
                    <c:v>Croccole Semi 300g</c:v>
                  </c:pt>
                  <c:pt idx="26">
                    <c:v>Fish Bar Salmone 220g</c:v>
                  </c:pt>
                  <c:pt idx="27">
                    <c:v>Fish Fingers Salmone 200g</c:v>
                  </c:pt>
                  <c:pt idx="28">
                    <c:v>Fish Burger Pollack 170g</c:v>
                  </c:pt>
                  <c:pt idx="29">
                    <c:v>Gratinati Salmone 280g</c:v>
                  </c:pt>
                  <c:pt idx="30">
                    <c:v>Gratinati Funghi 380g</c:v>
                  </c:pt>
                  <c:pt idx="31">
                    <c:v>Fish Bar Merluzzo 240g</c:v>
                  </c:pt>
                  <c:pt idx="32">
                    <c:v>Gratinati Zucchine 380g</c:v>
                  </c:pt>
                  <c:pt idx="33">
                    <c:v>Fish Fingers Pastella 224g</c:v>
                  </c:pt>
                  <c:pt idx="34">
                    <c:v>Croccole Senza 250g</c:v>
                  </c:pt>
                  <c:pt idx="35">
                    <c:v>Coated Totani 225g</c:v>
                  </c:pt>
                  <c:pt idx="36">
                    <c:v>Croccole 600g</c:v>
                  </c:pt>
                  <c:pt idx="37">
                    <c:v>Fish Fingers Senza 300g</c:v>
                  </c:pt>
                  <c:pt idx="38">
                    <c:v>Fish Burger Chips 227g</c:v>
                  </c:pt>
                  <c:pt idx="39">
                    <c:v>Fish Fingers Omega 3 250g</c:v>
                  </c:pt>
                  <c:pt idx="40">
                    <c:v>Fillets Tonno 230g</c:v>
                  </c:pt>
                  <c:pt idx="41">
                    <c:v>Delizie Limone 250g</c:v>
                  </c:pt>
                  <c:pt idx="42">
                    <c:v>Natural Vongola 400g</c:v>
                  </c:pt>
                  <c:pt idx="43">
                    <c:v>Fish Bar Merluzzo 240g</c:v>
                  </c:pt>
                  <c:pt idx="44">
                    <c:v>Fillets Trota 200g</c:v>
                  </c:pt>
                  <c:pt idx="45">
                    <c:v>Fillets Nordico 240g</c:v>
                  </c:pt>
                  <c:pt idx="46">
                    <c:v>Delizie Pomodoro 250g</c:v>
                  </c:pt>
                  <c:pt idx="47">
                    <c:v>Fillets Eglefino 230g</c:v>
                  </c:pt>
                  <c:pt idx="48">
                    <c:v>Pepite Salmone 180g</c:v>
                  </c:pt>
                  <c:pt idx="49">
                    <c:v>Pepite Merluzzo 200g</c:v>
                  </c:pt>
                </c15:dlblRangeCache>
              </c15:datalabelsRange>
            </c:ext>
            <c:ext xmlns:c16="http://schemas.microsoft.com/office/drawing/2014/chart" uri="{C3380CC4-5D6E-409C-BE32-E72D297353CC}">
              <c16:uniqueId val="{00000000-E05C-4186-8239-DC3766495C90}"/>
            </c:ext>
          </c:extLst>
        </c:ser>
        <c:dLbls>
          <c:showLegendKey val="0"/>
          <c:showVal val="1"/>
          <c:showCatName val="0"/>
          <c:showSerName val="0"/>
          <c:showPercent val="0"/>
          <c:showBubbleSize val="0"/>
        </c:dLbls>
        <c:axId val="1270850016"/>
        <c:axId val="168101215"/>
      </c:scatterChart>
      <c:valAx>
        <c:axId val="1270850016"/>
        <c:scaling>
          <c:orientation val="minMax"/>
        </c:scaling>
        <c:delete val="0"/>
        <c:axPos val="b"/>
        <c:title>
          <c:tx>
            <c:rich>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rPr>
                  <a:t>Discount Depth</a:t>
                </a:r>
              </a:p>
            </c:rich>
          </c:tx>
          <c:layout>
            <c:manualLayout>
              <c:xMode val="edge"/>
              <c:yMode val="edge"/>
              <c:x val="0.86793420520592512"/>
              <c:y val="0.93418364566686574"/>
            </c:manualLayout>
          </c:layout>
          <c:overlay val="0"/>
          <c:spPr>
            <a:noFill/>
            <a:ln>
              <a:noFill/>
            </a:ln>
            <a:effectLst/>
          </c:spPr>
          <c:txPr>
            <a:bodyPr rot="0" spcFirstLastPara="1" vertOverflow="ellipsis" vert="horz" wrap="square" anchor="ctr" anchorCtr="1"/>
            <a:lstStyle/>
            <a:p>
              <a:pPr algn="ctr" rtl="0">
                <a:defRPr lang="fr-CH" sz="800" b="0" i="0" u="none" strike="noStrike" kern="1200" baseline="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68101215"/>
        <c:crosses val="autoZero"/>
        <c:crossBetween val="midCat"/>
      </c:valAx>
      <c:valAx>
        <c:axId val="168101215"/>
        <c:scaling>
          <c:orientation val="minMax"/>
        </c:scaling>
        <c:delete val="0"/>
        <c:axPos val="l"/>
        <c:title>
          <c:tx>
            <c:rich>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Volume </a:t>
                </a:r>
              </a:p>
              <a:p>
                <a:pPr algn="ctr" rtl="0">
                  <a:defRPr lang="fr-CH" dirty="0">
                    <a:latin typeface="Nexa Bold" panose="00000800000000000000" pitchFamily="2" charset="0"/>
                    <a:ea typeface="Open Sans" panose="020B0606030504020204" pitchFamily="34" charset="0"/>
                    <a:cs typeface="Open Sans" panose="020B0606030504020204" pitchFamily="34" charset="0"/>
                  </a:defRPr>
                </a:pPr>
                <a:r>
                  <a: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rPr>
                  <a:t>Uplift</a:t>
                </a:r>
              </a:p>
            </c:rich>
          </c:tx>
          <c:layout>
            <c:manualLayout>
              <c:xMode val="edge"/>
              <c:yMode val="edge"/>
              <c:x val="0"/>
              <c:y val="5.969293491914239E-2"/>
            </c:manualLayout>
          </c:layout>
          <c:overlay val="0"/>
          <c:spPr>
            <a:noFill/>
            <a:ln>
              <a:noFill/>
            </a:ln>
            <a:effectLst/>
          </c:spPr>
          <c:txPr>
            <a:bodyPr rot="0" spcFirstLastPara="1" vertOverflow="ellipsis" wrap="square" anchor="ctr" anchorCtr="1"/>
            <a:lstStyle/>
            <a:p>
              <a:pPr algn="ctr" rtl="0">
                <a:defRPr lang="fr-CH" sz="800" b="0" i="0" u="none" strike="noStrike" kern="1200" baseline="0" dirty="0">
                  <a:solidFill>
                    <a:schemeClr val="tx1"/>
                  </a:solidFill>
                  <a:latin typeface="Nexa Bold" panose="00000800000000000000" pitchFamily="2"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US"/>
          </a:p>
        </c:txPr>
        <c:crossAx val="127085001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solidFill>
            <a:schemeClr val="tx1"/>
          </a:solidFill>
          <a:latin typeface="Nexa Book" panose="00000400000000000000" pitchFamily="2" charset="0"/>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59F68949-0E00-4A2E-A4E1-AAD15E842C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527F0C9D-7B44-41F6-B860-40BFD56C44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A79A74F0-D16F-4A24-AF2C-28544A2F99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600B5F15-BE76-42D8-AE3F-B5950F4F99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04631DC2-3039-45CB-B42D-C9E14888FA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FA935DE5-6F85-4745-8B36-6D634D16DA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8A88F37A-1C80-443A-ADE8-76CD9FC663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8E5FDD29-2B15-4DCF-85D1-40E99D6AD5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84D0FD88-A9D8-4813-8BDB-28A46DFA24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89BDB0AF-B21C-4060-978A-7F03964A10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70570FD1-4B2A-40E9-8D5A-EE61C69B76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56CF0F85-FBA7-4515-A8A9-680820DBAF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9E195A6A-DFF3-4036-AF14-B6DA23386A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077BE7C2-A3F8-4D9E-97CD-54ECEBE6BE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F6F5019B-233F-41E2-8EE6-269B39D2EF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AD9D6404-2356-4922-B68F-0A61625319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DB747D2F-51C4-43C0-A65A-5F1ECAAEFC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2ECB557A-E854-40BD-B4BF-E4E7AEA666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7C9878C2-7138-49CA-9144-A409BC9488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84D922F2-F957-4B1C-9293-735D5B9875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5455C9A4-1ECB-4603-A532-ECCC0D6801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5CEF4CF4-C7C4-4AE3-9F52-71F14AD6A2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3D357D06-38C0-4AD5-AB09-4DCAF86393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FB11A482-37B1-406C-94A3-7FEF96017B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C1E49B0E-1A1E-4CD8-B6CA-DAB917662C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32239515-4124-41E8-82A3-6414749ACB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3329A385-17B1-453D-9188-14790D0504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674B550E-AB67-4329-A333-A3B04E221A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5E9838DE-5B8D-43A3-898A-E52838DFD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0A737F5F-1101-48A3-8020-EA67B9E192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21526B07-E198-41A8-BE6E-9ABDF1B6C7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0DB18CB4-7800-43D4-A58A-B250347AA6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961AE933-C40A-4467-96CE-9F0F0AA5F3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8AC84C0E-7ABE-4EC4-90BC-E64E854880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A4952558-EC6A-470E-B3C4-FBAB7F8D5B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D8651275-F590-4485-B788-8FF417A7A1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D2EFE718-7534-42E0-9E26-507E860E8C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CC13139E-D1CF-4518-818F-809AC3772C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E56815E2-2894-475D-B15B-929BAB04EF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081A50DF-56BC-4E00-BC97-739D13C62B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398B388B-377D-4BD4-8329-4E57AB57A2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0967C291-98C3-4588-BE62-D1949C7ECE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B03D2370-65F5-4357-9557-8C71264A73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F0C07D62-47B7-4FF9-BE10-B384DF6A0E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F8B95F83-4BEA-41EC-9AED-262D057C6B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2420CAF5-91A7-47A0-98FE-0F8DE61E03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0037EFFB-0B34-4120-84B6-3101F96280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93</c:f>
              <c:numCache>
                <c:formatCode>0%;\-0%;0%</c:formatCode>
                <c:ptCount val="192"/>
                <c:pt idx="0">
                  <c:v>1.5205511183945923</c:v>
                </c:pt>
                <c:pt idx="1">
                  <c:v>1.8242651617431078</c:v>
                </c:pt>
                <c:pt idx="2">
                  <c:v>1.9446931641299241</c:v>
                </c:pt>
                <c:pt idx="3">
                  <c:v>1.3743785971181046</c:v>
                </c:pt>
                <c:pt idx="4">
                  <c:v>1.2133568327506097</c:v>
                </c:pt>
                <c:pt idx="5">
                  <c:v>0.68122302644792165</c:v>
                </c:pt>
                <c:pt idx="6">
                  <c:v>1.0735788830195876</c:v>
                </c:pt>
                <c:pt idx="7">
                  <c:v>1.0906105466517351</c:v>
                </c:pt>
                <c:pt idx="8">
                  <c:v>1.2464638055208919</c:v>
                </c:pt>
                <c:pt idx="9">
                  <c:v>2.6276289831452044</c:v>
                </c:pt>
                <c:pt idx="10">
                  <c:v>1.1064322357610548</c:v>
                </c:pt>
                <c:pt idx="11">
                  <c:v>0.85319501532146991</c:v>
                </c:pt>
                <c:pt idx="12">
                  <c:v>0.7743464365328111</c:v>
                </c:pt>
                <c:pt idx="13">
                  <c:v>1.7014605140802144</c:v>
                </c:pt>
                <c:pt idx="14">
                  <c:v>1.4722455858567116</c:v>
                </c:pt>
                <c:pt idx="15">
                  <c:v>1.2982462605289533</c:v>
                </c:pt>
                <c:pt idx="16">
                  <c:v>1.3833514134065645</c:v>
                </c:pt>
                <c:pt idx="17">
                  <c:v>0.87671584289444737</c:v>
                </c:pt>
                <c:pt idx="18">
                  <c:v>1.1442919103466598</c:v>
                </c:pt>
                <c:pt idx="19">
                  <c:v>0.79278754093426607</c:v>
                </c:pt>
                <c:pt idx="20">
                  <c:v>1.6966959176020961</c:v>
                </c:pt>
                <c:pt idx="21">
                  <c:v>1.231432894928175</c:v>
                </c:pt>
                <c:pt idx="22">
                  <c:v>1.4886670138358096</c:v>
                </c:pt>
                <c:pt idx="23">
                  <c:v>1.6014416623709915</c:v>
                </c:pt>
                <c:pt idx="24">
                  <c:v>2.0187991019872009</c:v>
                </c:pt>
                <c:pt idx="25">
                  <c:v>1.8173400102591124</c:v>
                </c:pt>
                <c:pt idx="26">
                  <c:v>2.3074631452968113</c:v>
                </c:pt>
                <c:pt idx="27">
                  <c:v>1.4051910373355561</c:v>
                </c:pt>
                <c:pt idx="28">
                  <c:v>3.2238078809443409</c:v>
                </c:pt>
                <c:pt idx="29">
                  <c:v>0.78758341953843303</c:v>
                </c:pt>
                <c:pt idx="30">
                  <c:v>0.62550976209801934</c:v>
                </c:pt>
                <c:pt idx="31">
                  <c:v>1.7096874502164956</c:v>
                </c:pt>
                <c:pt idx="32">
                  <c:v>1</c:v>
                </c:pt>
                <c:pt idx="33">
                  <c:v>2.3040084400169341</c:v>
                </c:pt>
                <c:pt idx="34">
                  <c:v>0.68754051217467449</c:v>
                </c:pt>
                <c:pt idx="35">
                  <c:v>2.6452578918511045</c:v>
                </c:pt>
                <c:pt idx="36">
                  <c:v>0.52526659449291513</c:v>
                </c:pt>
                <c:pt idx="37">
                  <c:v>0.65993703164042705</c:v>
                </c:pt>
                <c:pt idx="38">
                  <c:v>0.50485076417579766</c:v>
                </c:pt>
                <c:pt idx="39">
                  <c:v>1</c:v>
                </c:pt>
                <c:pt idx="40">
                  <c:v>1.0027843737478033</c:v>
                </c:pt>
                <c:pt idx="41">
                  <c:v>1.6500602169225536</c:v>
                </c:pt>
                <c:pt idx="42">
                  <c:v>0.98129234530269194</c:v>
                </c:pt>
                <c:pt idx="43">
                  <c:v>1.1139156627145779</c:v>
                </c:pt>
                <c:pt idx="44">
                  <c:v>1.211772687997315</c:v>
                </c:pt>
                <c:pt idx="45">
                  <c:v>0.8728761061157565</c:v>
                </c:pt>
                <c:pt idx="46">
                  <c:v>0.69652258972513958</c:v>
                </c:pt>
                <c:pt idx="47">
                  <c:v>0.66347532612180282</c:v>
                </c:pt>
                <c:pt idx="48">
                  <c:v>1.0499788078097323</c:v>
                </c:pt>
                <c:pt idx="49">
                  <c:v>0.44820220564430002</c:v>
                </c:pt>
              </c:numCache>
            </c:numRef>
          </c:xVal>
          <c:yVal>
            <c:numRef>
              <c:f>Sheet1!$B$2:$B$193</c:f>
              <c:numCache>
                <c:formatCode>0%;\-0%;0%</c:formatCode>
                <c:ptCount val="192"/>
                <c:pt idx="0">
                  <c:v>3.0852903728151539</c:v>
                </c:pt>
                <c:pt idx="1">
                  <c:v>3.3319547573296573</c:v>
                </c:pt>
                <c:pt idx="2">
                  <c:v>3.4403458842562884</c:v>
                </c:pt>
                <c:pt idx="3">
                  <c:v>1.5287924854883865</c:v>
                </c:pt>
                <c:pt idx="4">
                  <c:v>1.0281931200653487</c:v>
                </c:pt>
                <c:pt idx="5">
                  <c:v>0.80216040420533041</c:v>
                </c:pt>
                <c:pt idx="6">
                  <c:v>1.0004182203335177</c:v>
                </c:pt>
                <c:pt idx="7">
                  <c:v>0.42735580118324085</c:v>
                </c:pt>
                <c:pt idx="8">
                  <c:v>0.85158534101607519</c:v>
                </c:pt>
                <c:pt idx="9">
                  <c:v>0.98590635708915209</c:v>
                </c:pt>
                <c:pt idx="10">
                  <c:v>0.56316464505129971</c:v>
                </c:pt>
                <c:pt idx="11">
                  <c:v>0.59547063172185266</c:v>
                </c:pt>
                <c:pt idx="12">
                  <c:v>0.5666869203661371</c:v>
                </c:pt>
                <c:pt idx="13">
                  <c:v>0.50080532012183276</c:v>
                </c:pt>
                <c:pt idx="14">
                  <c:v>0.64882474401897816</c:v>
                </c:pt>
                <c:pt idx="15">
                  <c:v>0.62737513851065263</c:v>
                </c:pt>
                <c:pt idx="16">
                  <c:v>0.64468847464704893</c:v>
                </c:pt>
                <c:pt idx="17">
                  <c:v>0.54959610943104897</c:v>
                </c:pt>
                <c:pt idx="18">
                  <c:v>0.26642288750889204</c:v>
                </c:pt>
                <c:pt idx="19">
                  <c:v>9.8232312167382554E-2</c:v>
                </c:pt>
                <c:pt idx="20">
                  <c:v>0.58825737819616963</c:v>
                </c:pt>
                <c:pt idx="21">
                  <c:v>0.30530457107260101</c:v>
                </c:pt>
                <c:pt idx="22">
                  <c:v>0.29903245850592219</c:v>
                </c:pt>
                <c:pt idx="23">
                  <c:v>0.50269799152392924</c:v>
                </c:pt>
                <c:pt idx="24">
                  <c:v>0.27852463526594817</c:v>
                </c:pt>
                <c:pt idx="25">
                  <c:v>0.91021387605544057</c:v>
                </c:pt>
                <c:pt idx="26">
                  <c:v>0.44946294600052783</c:v>
                </c:pt>
                <c:pt idx="27">
                  <c:v>0.23963358203836602</c:v>
                </c:pt>
                <c:pt idx="28">
                  <c:v>0.32805851065036734</c:v>
                </c:pt>
                <c:pt idx="29">
                  <c:v>0.16125522710408016</c:v>
                </c:pt>
                <c:pt idx="30">
                  <c:v>0.2712074289350726</c:v>
                </c:pt>
                <c:pt idx="31">
                  <c:v>0.30457712372256124</c:v>
                </c:pt>
                <c:pt idx="32">
                  <c:v>0.8957411183421421</c:v>
                </c:pt>
                <c:pt idx="33">
                  <c:v>0.73658558525695261</c:v>
                </c:pt>
                <c:pt idx="34">
                  <c:v>0.28331041236079657</c:v>
                </c:pt>
                <c:pt idx="35">
                  <c:v>0.29822959771310809</c:v>
                </c:pt>
                <c:pt idx="36">
                  <c:v>0.30112180993370002</c:v>
                </c:pt>
                <c:pt idx="37">
                  <c:v>0.16279631085592983</c:v>
                </c:pt>
                <c:pt idx="38">
                  <c:v>0.18164490301460515</c:v>
                </c:pt>
                <c:pt idx="39">
                  <c:v>1.1598967694917872</c:v>
                </c:pt>
                <c:pt idx="40">
                  <c:v>0.42800851475208684</c:v>
                </c:pt>
                <c:pt idx="41">
                  <c:v>0.384857602622315</c:v>
                </c:pt>
                <c:pt idx="42">
                  <c:v>0.15585437107477212</c:v>
                </c:pt>
                <c:pt idx="43">
                  <c:v>0.34535029295477387</c:v>
                </c:pt>
                <c:pt idx="44">
                  <c:v>0.10687510530248268</c:v>
                </c:pt>
                <c:pt idx="45">
                  <c:v>0.18731455224010704</c:v>
                </c:pt>
                <c:pt idx="46">
                  <c:v>0.14349766624950283</c:v>
                </c:pt>
                <c:pt idx="47">
                  <c:v>0.18016866701039758</c:v>
                </c:pt>
                <c:pt idx="48">
                  <c:v>0.30253809162884954</c:v>
                </c:pt>
                <c:pt idx="49">
                  <c:v>0.14733777182516844</c:v>
                </c:pt>
              </c:numCache>
            </c:numRef>
          </c:yVal>
          <c:bubbleSize>
            <c:numRef>
              <c:f>Sheet1!$C$2:$C$193</c:f>
              <c:numCache>
                <c:formatCode>#,##0</c:formatCode>
                <c:ptCount val="192"/>
                <c:pt idx="0">
                  <c:v>54118301</c:v>
                </c:pt>
                <c:pt idx="1">
                  <c:v>32935073</c:v>
                </c:pt>
                <c:pt idx="2">
                  <c:v>24165302</c:v>
                </c:pt>
                <c:pt idx="3">
                  <c:v>12921557</c:v>
                </c:pt>
                <c:pt idx="4">
                  <c:v>2213063</c:v>
                </c:pt>
                <c:pt idx="5">
                  <c:v>4003471</c:v>
                </c:pt>
                <c:pt idx="6">
                  <c:v>1746436</c:v>
                </c:pt>
                <c:pt idx="7">
                  <c:v>1611725</c:v>
                </c:pt>
                <c:pt idx="8">
                  <c:v>936992</c:v>
                </c:pt>
                <c:pt idx="9">
                  <c:v>1213432</c:v>
                </c:pt>
                <c:pt idx="10">
                  <c:v>1106331</c:v>
                </c:pt>
                <c:pt idx="11">
                  <c:v>1156061</c:v>
                </c:pt>
                <c:pt idx="12">
                  <c:v>1776521</c:v>
                </c:pt>
                <c:pt idx="13">
                  <c:v>555825</c:v>
                </c:pt>
                <c:pt idx="14">
                  <c:v>441536</c:v>
                </c:pt>
                <c:pt idx="15">
                  <c:v>528501</c:v>
                </c:pt>
                <c:pt idx="16">
                  <c:v>432075</c:v>
                </c:pt>
                <c:pt idx="17">
                  <c:v>435435</c:v>
                </c:pt>
                <c:pt idx="18">
                  <c:v>433735</c:v>
                </c:pt>
                <c:pt idx="19">
                  <c:v>1448636</c:v>
                </c:pt>
                <c:pt idx="20">
                  <c:v>327005</c:v>
                </c:pt>
                <c:pt idx="21">
                  <c:v>384930</c:v>
                </c:pt>
                <c:pt idx="22">
                  <c:v>393461</c:v>
                </c:pt>
                <c:pt idx="23">
                  <c:v>148308</c:v>
                </c:pt>
                <c:pt idx="24">
                  <c:v>256628</c:v>
                </c:pt>
                <c:pt idx="25">
                  <c:v>152820</c:v>
                </c:pt>
                <c:pt idx="26">
                  <c:v>187258</c:v>
                </c:pt>
                <c:pt idx="27">
                  <c:v>272760</c:v>
                </c:pt>
                <c:pt idx="28">
                  <c:v>225000</c:v>
                </c:pt>
                <c:pt idx="29">
                  <c:v>230746</c:v>
                </c:pt>
                <c:pt idx="30">
                  <c:v>180456</c:v>
                </c:pt>
                <c:pt idx="31">
                  <c:v>116036</c:v>
                </c:pt>
                <c:pt idx="32">
                  <c:v>25925</c:v>
                </c:pt>
                <c:pt idx="33">
                  <c:v>98858</c:v>
                </c:pt>
                <c:pt idx="34">
                  <c:v>195885</c:v>
                </c:pt>
                <c:pt idx="35">
                  <c:v>98518</c:v>
                </c:pt>
                <c:pt idx="36">
                  <c:v>117104</c:v>
                </c:pt>
                <c:pt idx="37">
                  <c:v>235127</c:v>
                </c:pt>
                <c:pt idx="38">
                  <c:v>123978</c:v>
                </c:pt>
                <c:pt idx="39">
                  <c:v>15126</c:v>
                </c:pt>
                <c:pt idx="40">
                  <c:v>63236</c:v>
                </c:pt>
                <c:pt idx="41">
                  <c:v>50563</c:v>
                </c:pt>
                <c:pt idx="42">
                  <c:v>87509</c:v>
                </c:pt>
                <c:pt idx="43">
                  <c:v>41835</c:v>
                </c:pt>
                <c:pt idx="44">
                  <c:v>43864</c:v>
                </c:pt>
                <c:pt idx="45">
                  <c:v>146671</c:v>
                </c:pt>
                <c:pt idx="46">
                  <c:v>149196</c:v>
                </c:pt>
                <c:pt idx="47">
                  <c:v>44755</c:v>
                </c:pt>
                <c:pt idx="48">
                  <c:v>34853</c:v>
                </c:pt>
                <c:pt idx="49">
                  <c:v>33557</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 val="autoZero"/>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9CBC3A88-D2F1-4E24-90A4-E07A791140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D9532D85-ECF1-4AD3-A8F1-9BE209E50D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2F22B389-EB93-4D03-AE34-DB76CFDE6B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D2DFC30F-DDB8-4854-A947-687B7C9BE7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4F592F1F-1828-4A7B-B371-1DD6ED24A5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675B390B-0488-4F89-8F34-BCEFF817CE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F2A2E582-732F-4BA1-A3BE-D2774A750A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732E6DF0-B4D0-4DEB-8490-FBF0684D34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43E22DEF-2915-4B80-959A-BBF7095B93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C5FFFFF2-1D93-4CA9-BCA3-FB5090E85F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C32D1F4D-790F-468A-BF18-88D4DEC635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8B106E43-6459-4EE4-B16A-0A7304DA3B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9DF74D4C-A0DC-4211-A6D1-B63198B188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B801767D-AD8E-46B4-8103-1B878CC079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ECD64D47-68E2-4727-9CBA-4BE30126F9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361031ED-18EA-43BF-932E-685A61992D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5B2DA605-59FE-464D-8318-86A4E603CD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6BF95617-5A11-44EB-9B8C-59F7D5F53D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0A67AD17-4D69-4F75-9E9C-3082D5D46C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F981425D-DCAB-43C1-BFF0-6FBACCBD4F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3AFE1CF7-C55D-4556-8D6C-2133D3765B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1A1768DB-8F01-4F2E-BAFA-A479C26D29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6BA7696D-AFC2-42C1-9BA1-004E8FFA13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01535A01-C9A1-4265-B84A-326381272B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119E6467-5248-4DDC-8946-2E8C2E0BBB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BFB6228E-32DC-4598-9D6D-50CF7EF2EC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C4BE2A21-0847-4710-9A97-72BD5CC356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63E79A8A-61A8-4141-9ECD-268346B1A7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C9B7D51C-7164-4728-AAB0-8883FA8711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8197CE59-6C4E-432B-890D-B8AA0C9DE8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0FC1CDAA-CC04-404A-BD61-0C51AB3199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ED270FFD-A51E-48D2-A1EF-44AB2196B1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46EB9629-E944-4427-A0E1-C952EA249A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9F30C477-4E3E-458C-981B-C8A13B2917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C3E60362-DA2B-4901-B974-4DC3BF9401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27C447B3-E810-4EA0-92B4-C7D47264A0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883B5154-8DE1-420D-8B20-7CFDF8B1BC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2A163D96-6A1D-4B2F-A60B-F3217B6962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61E3026E-9565-4F0A-B0D6-541FF2656E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C42E05A5-4389-48DF-A5EE-4F7EAF4706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A381B859-EBA3-4C65-B1A7-FE412DE400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844BFEB8-AF8F-44A4-BE6A-EF59D51792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5B8FE6DD-6A35-4882-905A-5F0FC131FD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0320E8AE-FF9F-418D-841A-03D39EF619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E281B3E2-2DEC-4E41-B8D8-3883CE4C2C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BB16C745-3405-46B5-83E4-11F96B7826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F14EE59C-9D15-4467-B2D5-F37F30A601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93</c:f>
              <c:numCache>
                <c:formatCode>0%;\-0%;0%</c:formatCode>
                <c:ptCount val="192"/>
                <c:pt idx="0">
                  <c:v>1.5205511183945923</c:v>
                </c:pt>
                <c:pt idx="1">
                  <c:v>1.8242651617431078</c:v>
                </c:pt>
                <c:pt idx="2">
                  <c:v>1.9446931641299241</c:v>
                </c:pt>
                <c:pt idx="3">
                  <c:v>1.3743785971181046</c:v>
                </c:pt>
                <c:pt idx="4">
                  <c:v>1.2133568327506097</c:v>
                </c:pt>
                <c:pt idx="5">
                  <c:v>0.68122302644792165</c:v>
                </c:pt>
                <c:pt idx="6">
                  <c:v>1.0735788830195876</c:v>
                </c:pt>
                <c:pt idx="7">
                  <c:v>1.0906105466517351</c:v>
                </c:pt>
                <c:pt idx="8">
                  <c:v>1.2464638055208919</c:v>
                </c:pt>
                <c:pt idx="9">
                  <c:v>2.6276289831452044</c:v>
                </c:pt>
                <c:pt idx="10">
                  <c:v>1.1064322357610548</c:v>
                </c:pt>
                <c:pt idx="11">
                  <c:v>0.85319501532146991</c:v>
                </c:pt>
                <c:pt idx="12">
                  <c:v>0.7743464365328111</c:v>
                </c:pt>
                <c:pt idx="13">
                  <c:v>1.7014605140802144</c:v>
                </c:pt>
                <c:pt idx="14">
                  <c:v>1.4722455858567116</c:v>
                </c:pt>
                <c:pt idx="15">
                  <c:v>1.2982462605289533</c:v>
                </c:pt>
                <c:pt idx="16">
                  <c:v>1.3833514134065645</c:v>
                </c:pt>
                <c:pt idx="17">
                  <c:v>0.87671584289444737</c:v>
                </c:pt>
                <c:pt idx="18">
                  <c:v>1.1442919103466598</c:v>
                </c:pt>
                <c:pt idx="19">
                  <c:v>0.79278754093426607</c:v>
                </c:pt>
                <c:pt idx="20">
                  <c:v>1.6966959176020961</c:v>
                </c:pt>
                <c:pt idx="21">
                  <c:v>1.231432894928175</c:v>
                </c:pt>
                <c:pt idx="22">
                  <c:v>1.4886670138358096</c:v>
                </c:pt>
                <c:pt idx="23">
                  <c:v>1.6014416623709915</c:v>
                </c:pt>
                <c:pt idx="24">
                  <c:v>2.0187991019872009</c:v>
                </c:pt>
                <c:pt idx="25">
                  <c:v>1.8173400102591124</c:v>
                </c:pt>
                <c:pt idx="26">
                  <c:v>2.3074631452968113</c:v>
                </c:pt>
                <c:pt idx="27">
                  <c:v>1.4051910373355561</c:v>
                </c:pt>
                <c:pt idx="28">
                  <c:v>3.2238078809443409</c:v>
                </c:pt>
                <c:pt idx="29">
                  <c:v>0.78758341953843303</c:v>
                </c:pt>
                <c:pt idx="30">
                  <c:v>0.62550976209801934</c:v>
                </c:pt>
                <c:pt idx="31">
                  <c:v>1.7096874502164956</c:v>
                </c:pt>
                <c:pt idx="32">
                  <c:v>1</c:v>
                </c:pt>
                <c:pt idx="33">
                  <c:v>2.3040084400169341</c:v>
                </c:pt>
                <c:pt idx="34">
                  <c:v>0.68754051217467449</c:v>
                </c:pt>
                <c:pt idx="35">
                  <c:v>2.6452578918511045</c:v>
                </c:pt>
                <c:pt idx="36">
                  <c:v>0.52526659449291513</c:v>
                </c:pt>
                <c:pt idx="37">
                  <c:v>0.65993703164042705</c:v>
                </c:pt>
                <c:pt idx="38">
                  <c:v>0.50485076417579766</c:v>
                </c:pt>
                <c:pt idx="39">
                  <c:v>1</c:v>
                </c:pt>
                <c:pt idx="40">
                  <c:v>1.0027843737478033</c:v>
                </c:pt>
                <c:pt idx="41">
                  <c:v>1.6500602169225536</c:v>
                </c:pt>
                <c:pt idx="42">
                  <c:v>0.98129234530269194</c:v>
                </c:pt>
                <c:pt idx="43">
                  <c:v>1.1139156627145779</c:v>
                </c:pt>
                <c:pt idx="44">
                  <c:v>1.211772687997315</c:v>
                </c:pt>
                <c:pt idx="45">
                  <c:v>0.8728761061157565</c:v>
                </c:pt>
                <c:pt idx="46">
                  <c:v>0.69652258972513958</c:v>
                </c:pt>
                <c:pt idx="47">
                  <c:v>0.66347532612180282</c:v>
                </c:pt>
                <c:pt idx="48">
                  <c:v>1.0499788078097323</c:v>
                </c:pt>
                <c:pt idx="49">
                  <c:v>0.44820220564430002</c:v>
                </c:pt>
              </c:numCache>
            </c:numRef>
          </c:xVal>
          <c:yVal>
            <c:numRef>
              <c:f>Sheet1!$B$2:$B$193</c:f>
              <c:numCache>
                <c:formatCode>0%;\-0%;0%</c:formatCode>
                <c:ptCount val="192"/>
                <c:pt idx="0">
                  <c:v>3.0852903728151539</c:v>
                </c:pt>
                <c:pt idx="1">
                  <c:v>3.3319547573296573</c:v>
                </c:pt>
                <c:pt idx="2">
                  <c:v>3.4403458842562884</c:v>
                </c:pt>
                <c:pt idx="3">
                  <c:v>1.5287924854883865</c:v>
                </c:pt>
                <c:pt idx="4">
                  <c:v>1.0281931200653487</c:v>
                </c:pt>
                <c:pt idx="5">
                  <c:v>0.80216040420533041</c:v>
                </c:pt>
                <c:pt idx="6">
                  <c:v>1.0004182203335177</c:v>
                </c:pt>
                <c:pt idx="7">
                  <c:v>0.42735580118324085</c:v>
                </c:pt>
                <c:pt idx="8">
                  <c:v>0.85158534101607519</c:v>
                </c:pt>
                <c:pt idx="9">
                  <c:v>0.98590635708915209</c:v>
                </c:pt>
                <c:pt idx="10">
                  <c:v>0.56316464505129971</c:v>
                </c:pt>
                <c:pt idx="11">
                  <c:v>0.59547063172185266</c:v>
                </c:pt>
                <c:pt idx="12">
                  <c:v>0.5666869203661371</c:v>
                </c:pt>
                <c:pt idx="13">
                  <c:v>0.50080532012183276</c:v>
                </c:pt>
                <c:pt idx="14">
                  <c:v>0.64882474401897816</c:v>
                </c:pt>
                <c:pt idx="15">
                  <c:v>0.62737513851065263</c:v>
                </c:pt>
                <c:pt idx="16">
                  <c:v>0.64468847464704893</c:v>
                </c:pt>
                <c:pt idx="17">
                  <c:v>0.54959610943104897</c:v>
                </c:pt>
                <c:pt idx="18">
                  <c:v>0.26642288750889204</c:v>
                </c:pt>
                <c:pt idx="19">
                  <c:v>9.8232312167382554E-2</c:v>
                </c:pt>
                <c:pt idx="20">
                  <c:v>0.58825737819616963</c:v>
                </c:pt>
                <c:pt idx="21">
                  <c:v>0.30530457107260101</c:v>
                </c:pt>
                <c:pt idx="22">
                  <c:v>0.29903245850592219</c:v>
                </c:pt>
                <c:pt idx="23">
                  <c:v>0.50269799152392924</c:v>
                </c:pt>
                <c:pt idx="24">
                  <c:v>0.27852463526594817</c:v>
                </c:pt>
                <c:pt idx="25">
                  <c:v>0.91021387605544057</c:v>
                </c:pt>
                <c:pt idx="26">
                  <c:v>0.44946294600052783</c:v>
                </c:pt>
                <c:pt idx="27">
                  <c:v>0.23963358203836602</c:v>
                </c:pt>
                <c:pt idx="28">
                  <c:v>0.32805851065036734</c:v>
                </c:pt>
                <c:pt idx="29">
                  <c:v>0.16125522710408016</c:v>
                </c:pt>
                <c:pt idx="30">
                  <c:v>0.2712074289350726</c:v>
                </c:pt>
                <c:pt idx="31">
                  <c:v>0.30457712372256124</c:v>
                </c:pt>
                <c:pt idx="32">
                  <c:v>0.8957411183421421</c:v>
                </c:pt>
                <c:pt idx="33">
                  <c:v>0.73658558525695261</c:v>
                </c:pt>
                <c:pt idx="34">
                  <c:v>0.28331041236079657</c:v>
                </c:pt>
                <c:pt idx="35">
                  <c:v>0.29822959771310809</c:v>
                </c:pt>
                <c:pt idx="36">
                  <c:v>0.30112180993370002</c:v>
                </c:pt>
                <c:pt idx="37">
                  <c:v>0.16279631085592983</c:v>
                </c:pt>
                <c:pt idx="38">
                  <c:v>0.18164490301460515</c:v>
                </c:pt>
                <c:pt idx="39">
                  <c:v>1.1598967694917872</c:v>
                </c:pt>
                <c:pt idx="40">
                  <c:v>0.42800851475208684</c:v>
                </c:pt>
                <c:pt idx="41">
                  <c:v>0.384857602622315</c:v>
                </c:pt>
                <c:pt idx="42">
                  <c:v>0.15585437107477212</c:v>
                </c:pt>
                <c:pt idx="43">
                  <c:v>0.34535029295477387</c:v>
                </c:pt>
                <c:pt idx="44">
                  <c:v>0.10687510530248268</c:v>
                </c:pt>
                <c:pt idx="45">
                  <c:v>0.18731455224010704</c:v>
                </c:pt>
                <c:pt idx="46">
                  <c:v>0.14349766624950283</c:v>
                </c:pt>
                <c:pt idx="47">
                  <c:v>0.18016866701039758</c:v>
                </c:pt>
                <c:pt idx="48">
                  <c:v>0.30253809162884954</c:v>
                </c:pt>
                <c:pt idx="49">
                  <c:v>0.14733777182516844</c:v>
                </c:pt>
              </c:numCache>
            </c:numRef>
          </c:yVal>
          <c:bubbleSize>
            <c:numRef>
              <c:f>Sheet1!$C$2:$C$193</c:f>
              <c:numCache>
                <c:formatCode>#,##0</c:formatCode>
                <c:ptCount val="192"/>
                <c:pt idx="0">
                  <c:v>54118301</c:v>
                </c:pt>
                <c:pt idx="1">
                  <c:v>32935073</c:v>
                </c:pt>
                <c:pt idx="2">
                  <c:v>24165302</c:v>
                </c:pt>
                <c:pt idx="3">
                  <c:v>12921557</c:v>
                </c:pt>
                <c:pt idx="4">
                  <c:v>2213063</c:v>
                </c:pt>
                <c:pt idx="5">
                  <c:v>4003471</c:v>
                </c:pt>
                <c:pt idx="6">
                  <c:v>1746436</c:v>
                </c:pt>
                <c:pt idx="7">
                  <c:v>1611725</c:v>
                </c:pt>
                <c:pt idx="8">
                  <c:v>936992</c:v>
                </c:pt>
                <c:pt idx="9">
                  <c:v>1213432</c:v>
                </c:pt>
                <c:pt idx="10">
                  <c:v>1106331</c:v>
                </c:pt>
                <c:pt idx="11">
                  <c:v>1156061</c:v>
                </c:pt>
                <c:pt idx="12">
                  <c:v>1776521</c:v>
                </c:pt>
                <c:pt idx="13">
                  <c:v>555825</c:v>
                </c:pt>
                <c:pt idx="14">
                  <c:v>441536</c:v>
                </c:pt>
                <c:pt idx="15">
                  <c:v>528501</c:v>
                </c:pt>
                <c:pt idx="16">
                  <c:v>432075</c:v>
                </c:pt>
                <c:pt idx="17">
                  <c:v>435435</c:v>
                </c:pt>
                <c:pt idx="18">
                  <c:v>433735</c:v>
                </c:pt>
                <c:pt idx="19">
                  <c:v>1448636</c:v>
                </c:pt>
                <c:pt idx="20">
                  <c:v>327005</c:v>
                </c:pt>
                <c:pt idx="21">
                  <c:v>384930</c:v>
                </c:pt>
                <c:pt idx="22">
                  <c:v>393461</c:v>
                </c:pt>
                <c:pt idx="23">
                  <c:v>148308</c:v>
                </c:pt>
                <c:pt idx="24">
                  <c:v>256628</c:v>
                </c:pt>
                <c:pt idx="25">
                  <c:v>152820</c:v>
                </c:pt>
                <c:pt idx="26">
                  <c:v>187258</c:v>
                </c:pt>
                <c:pt idx="27">
                  <c:v>272760</c:v>
                </c:pt>
                <c:pt idx="28">
                  <c:v>225000</c:v>
                </c:pt>
                <c:pt idx="29">
                  <c:v>230746</c:v>
                </c:pt>
                <c:pt idx="30">
                  <c:v>180456</c:v>
                </c:pt>
                <c:pt idx="31">
                  <c:v>116036</c:v>
                </c:pt>
                <c:pt idx="32">
                  <c:v>25925</c:v>
                </c:pt>
                <c:pt idx="33">
                  <c:v>98858</c:v>
                </c:pt>
                <c:pt idx="34">
                  <c:v>195885</c:v>
                </c:pt>
                <c:pt idx="35">
                  <c:v>98518</c:v>
                </c:pt>
                <c:pt idx="36">
                  <c:v>117104</c:v>
                </c:pt>
                <c:pt idx="37">
                  <c:v>235127</c:v>
                </c:pt>
                <c:pt idx="38">
                  <c:v>123978</c:v>
                </c:pt>
                <c:pt idx="39">
                  <c:v>15126</c:v>
                </c:pt>
                <c:pt idx="40">
                  <c:v>63236</c:v>
                </c:pt>
                <c:pt idx="41">
                  <c:v>50563</c:v>
                </c:pt>
                <c:pt idx="42">
                  <c:v>87509</c:v>
                </c:pt>
                <c:pt idx="43">
                  <c:v>41835</c:v>
                </c:pt>
                <c:pt idx="44">
                  <c:v>43864</c:v>
                </c:pt>
                <c:pt idx="45">
                  <c:v>146671</c:v>
                </c:pt>
                <c:pt idx="46">
                  <c:v>149196</c:v>
                </c:pt>
                <c:pt idx="47">
                  <c:v>44755</c:v>
                </c:pt>
                <c:pt idx="48">
                  <c:v>34853</c:v>
                </c:pt>
                <c:pt idx="49">
                  <c:v>33557</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 val="autoZero"/>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2A56BB78-CF81-4B06-87B9-D90B7E1B35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14F5B11F-DABB-4771-8DC7-A91DBACEED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B22DFD2E-2977-4BD9-BE70-1CFFA6C560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3C70A9CA-A79A-466C-95FB-671D3BCFB8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482AF4E6-5744-4206-9836-4E5A3196D3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29F0F80C-70F0-492E-8012-DF17472B18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41065F22-6C13-43DE-B887-E2ABBE785F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19235281-0622-4741-98D9-1DF4AFC454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F2B91409-8B34-4AED-8050-331C85B653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049104A3-CB69-427F-A5C6-B61D5D3A8C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FCE0C875-D414-4B17-83FC-26A6E8E765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B4003829-ED93-4765-AA5F-791863AFE9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7A9826F1-BCBE-4B17-95AF-ED43CE92C2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2A9771E8-96FE-4122-B0B0-ADCA62E02F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ACA76BD0-D666-41FA-8C17-495ECD875B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0C11D274-5441-46F0-A875-9BEC9E37B5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AA9408EC-5CD9-453D-9709-EC0530182D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FE480FA5-7032-4B72-A7DF-E94C2DABD3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80831AE2-762A-460F-B743-01AF664A77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7543352E-3FC4-4949-B05D-80C08B6810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A2A0C55D-EBEF-4C22-9C09-233B572B18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72A1991D-0C22-43BE-9BE5-D82AB5C630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0C947844-E035-44AC-B5C1-F550F10068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3702B293-80D6-4063-AD07-4920D2BFD7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33798F1A-E3F5-4A85-B993-0C69C8B1F8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CA7907B2-EB68-4351-9CCB-7A18B9DE00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00F1AC87-7E63-4324-BAC6-5AC2EE4AF8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77A03A11-26DA-49DC-A0F1-B645E3F4E3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6A968E15-38F4-43C6-A9DF-0E83FE6D3E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13667A9C-AFF4-43DC-91F9-BB7ACE166E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57F99280-3783-4F71-8413-4D08D55D68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F548E74F-522C-488A-B8CA-2661A01A5A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8B5327E5-C76D-4F47-9A0E-1A2DF99DB0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A9B51E96-A8F9-4744-84EB-DE69C45805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D9B2BA06-F7E8-4DF8-AE14-49B888328A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D64B559D-916F-4A47-AA99-8F2ED5D615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7552E9FC-B133-4B99-ACDC-7B18037F3C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47B7E352-F10F-4E1F-8141-7F88E723AB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3C34DD49-1B4C-4000-9882-A65E10694E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A1612BFF-026D-4DB1-B7F4-65ED865BE7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5CAFE272-74E6-45BC-8E97-F0275ED90A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7742DA04-8F3E-4299-B0C1-51FACFD927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0E1C0034-AF2F-49D7-BF8C-C3A6D976C4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187A356C-6D40-46BD-80F9-37BF3E5656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B65EB394-3DAA-4422-ACEF-41DE4D782A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AB915BEF-3C84-4F50-8D8D-D99894ACEE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9C04954E-4A19-4EA4-AF2F-7971459443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93</c:f>
              <c:numCache>
                <c:formatCode>0%;\-0%;0%</c:formatCode>
                <c:ptCount val="192"/>
                <c:pt idx="0">
                  <c:v>1.5205511183945923</c:v>
                </c:pt>
                <c:pt idx="1">
                  <c:v>1.8242651617431078</c:v>
                </c:pt>
                <c:pt idx="2">
                  <c:v>1.9446931641299241</c:v>
                </c:pt>
                <c:pt idx="3">
                  <c:v>1.3743785971181046</c:v>
                </c:pt>
                <c:pt idx="4">
                  <c:v>1.2133568327506097</c:v>
                </c:pt>
                <c:pt idx="5">
                  <c:v>0.68122302644792165</c:v>
                </c:pt>
                <c:pt idx="6">
                  <c:v>1.0735788830195876</c:v>
                </c:pt>
                <c:pt idx="7">
                  <c:v>1.0906105466517351</c:v>
                </c:pt>
                <c:pt idx="8">
                  <c:v>1.2464638055208919</c:v>
                </c:pt>
                <c:pt idx="9">
                  <c:v>2.6276289831452044</c:v>
                </c:pt>
                <c:pt idx="10">
                  <c:v>1.1064322357610548</c:v>
                </c:pt>
                <c:pt idx="11">
                  <c:v>0.85319501532146991</c:v>
                </c:pt>
                <c:pt idx="12">
                  <c:v>0.7743464365328111</c:v>
                </c:pt>
                <c:pt idx="13">
                  <c:v>1.7014605140802144</c:v>
                </c:pt>
                <c:pt idx="14">
                  <c:v>1.4722455858567116</c:v>
                </c:pt>
                <c:pt idx="15">
                  <c:v>1.2982462605289533</c:v>
                </c:pt>
                <c:pt idx="16">
                  <c:v>1.3833514134065645</c:v>
                </c:pt>
                <c:pt idx="17">
                  <c:v>0.87671584289444737</c:v>
                </c:pt>
                <c:pt idx="18">
                  <c:v>1.1442919103466598</c:v>
                </c:pt>
                <c:pt idx="19">
                  <c:v>0.79278754093426607</c:v>
                </c:pt>
                <c:pt idx="20">
                  <c:v>1.6966959176020961</c:v>
                </c:pt>
                <c:pt idx="21">
                  <c:v>1.231432894928175</c:v>
                </c:pt>
                <c:pt idx="22">
                  <c:v>1.4886670138358096</c:v>
                </c:pt>
                <c:pt idx="23">
                  <c:v>1.6014416623709915</c:v>
                </c:pt>
                <c:pt idx="24">
                  <c:v>2.0187991019872009</c:v>
                </c:pt>
                <c:pt idx="25">
                  <c:v>1.8173400102591124</c:v>
                </c:pt>
                <c:pt idx="26">
                  <c:v>2.3074631452968113</c:v>
                </c:pt>
                <c:pt idx="27">
                  <c:v>1.4051910373355561</c:v>
                </c:pt>
                <c:pt idx="28">
                  <c:v>3.2238078809443409</c:v>
                </c:pt>
                <c:pt idx="29">
                  <c:v>0.78758341953843303</c:v>
                </c:pt>
                <c:pt idx="30">
                  <c:v>0.62550976209801934</c:v>
                </c:pt>
                <c:pt idx="31">
                  <c:v>1.7096874502164956</c:v>
                </c:pt>
                <c:pt idx="32">
                  <c:v>1</c:v>
                </c:pt>
                <c:pt idx="33">
                  <c:v>2.3040084400169341</c:v>
                </c:pt>
                <c:pt idx="34">
                  <c:v>0.68754051217467449</c:v>
                </c:pt>
                <c:pt idx="35">
                  <c:v>2.6452578918511045</c:v>
                </c:pt>
                <c:pt idx="36">
                  <c:v>0.52526659449291513</c:v>
                </c:pt>
                <c:pt idx="37">
                  <c:v>0.65993703164042705</c:v>
                </c:pt>
                <c:pt idx="38">
                  <c:v>0.50485076417579766</c:v>
                </c:pt>
                <c:pt idx="39">
                  <c:v>1</c:v>
                </c:pt>
                <c:pt idx="40">
                  <c:v>1.0027843737478033</c:v>
                </c:pt>
                <c:pt idx="41">
                  <c:v>1.6500602169225536</c:v>
                </c:pt>
                <c:pt idx="42">
                  <c:v>0.98129234530269194</c:v>
                </c:pt>
                <c:pt idx="43">
                  <c:v>1.1139156627145779</c:v>
                </c:pt>
                <c:pt idx="44">
                  <c:v>1.211772687997315</c:v>
                </c:pt>
                <c:pt idx="45">
                  <c:v>0.8728761061157565</c:v>
                </c:pt>
                <c:pt idx="46">
                  <c:v>0.69652258972513958</c:v>
                </c:pt>
                <c:pt idx="47">
                  <c:v>0.66347532612180282</c:v>
                </c:pt>
                <c:pt idx="48">
                  <c:v>1.0499788078097323</c:v>
                </c:pt>
                <c:pt idx="49">
                  <c:v>0.44820220564430002</c:v>
                </c:pt>
              </c:numCache>
            </c:numRef>
          </c:xVal>
          <c:yVal>
            <c:numRef>
              <c:f>Sheet1!$B$2:$B$193</c:f>
              <c:numCache>
                <c:formatCode>0%;\-0%;0%</c:formatCode>
                <c:ptCount val="192"/>
                <c:pt idx="0">
                  <c:v>3.0852903728151539</c:v>
                </c:pt>
                <c:pt idx="1">
                  <c:v>3.3319547573296573</c:v>
                </c:pt>
                <c:pt idx="2">
                  <c:v>3.4403458842562884</c:v>
                </c:pt>
                <c:pt idx="3">
                  <c:v>1.5287924854883865</c:v>
                </c:pt>
                <c:pt idx="4">
                  <c:v>1.0281931200653487</c:v>
                </c:pt>
                <c:pt idx="5">
                  <c:v>0.80216040420533041</c:v>
                </c:pt>
                <c:pt idx="6">
                  <c:v>1.0004182203335177</c:v>
                </c:pt>
                <c:pt idx="7">
                  <c:v>0.42735580118324085</c:v>
                </c:pt>
                <c:pt idx="8">
                  <c:v>0.85158534101607519</c:v>
                </c:pt>
                <c:pt idx="9">
                  <c:v>0.98590635708915209</c:v>
                </c:pt>
                <c:pt idx="10">
                  <c:v>0.56316464505129971</c:v>
                </c:pt>
                <c:pt idx="11">
                  <c:v>0.59547063172185266</c:v>
                </c:pt>
                <c:pt idx="12">
                  <c:v>0.5666869203661371</c:v>
                </c:pt>
                <c:pt idx="13">
                  <c:v>0.50080532012183276</c:v>
                </c:pt>
                <c:pt idx="14">
                  <c:v>0.64882474401897816</c:v>
                </c:pt>
                <c:pt idx="15">
                  <c:v>0.62737513851065263</c:v>
                </c:pt>
                <c:pt idx="16">
                  <c:v>0.64468847464704893</c:v>
                </c:pt>
                <c:pt idx="17">
                  <c:v>0.54959610943104897</c:v>
                </c:pt>
                <c:pt idx="18">
                  <c:v>0.26642288750889204</c:v>
                </c:pt>
                <c:pt idx="19">
                  <c:v>9.8232312167382554E-2</c:v>
                </c:pt>
                <c:pt idx="20">
                  <c:v>0.58825737819616963</c:v>
                </c:pt>
                <c:pt idx="21">
                  <c:v>0.30530457107260101</c:v>
                </c:pt>
                <c:pt idx="22">
                  <c:v>0.29903245850592219</c:v>
                </c:pt>
                <c:pt idx="23">
                  <c:v>0.50269799152392924</c:v>
                </c:pt>
                <c:pt idx="24">
                  <c:v>0.27852463526594817</c:v>
                </c:pt>
                <c:pt idx="25">
                  <c:v>0.91021387605544057</c:v>
                </c:pt>
                <c:pt idx="26">
                  <c:v>0.44946294600052783</c:v>
                </c:pt>
                <c:pt idx="27">
                  <c:v>0.23963358203836602</c:v>
                </c:pt>
                <c:pt idx="28">
                  <c:v>0.32805851065036734</c:v>
                </c:pt>
                <c:pt idx="29">
                  <c:v>0.16125522710408016</c:v>
                </c:pt>
                <c:pt idx="30">
                  <c:v>0.2712074289350726</c:v>
                </c:pt>
                <c:pt idx="31">
                  <c:v>0.30457712372256124</c:v>
                </c:pt>
                <c:pt idx="32">
                  <c:v>0.8957411183421421</c:v>
                </c:pt>
                <c:pt idx="33">
                  <c:v>0.73658558525695261</c:v>
                </c:pt>
                <c:pt idx="34">
                  <c:v>0.28331041236079657</c:v>
                </c:pt>
                <c:pt idx="35">
                  <c:v>0.29822959771310809</c:v>
                </c:pt>
                <c:pt idx="36">
                  <c:v>0.30112180993370002</c:v>
                </c:pt>
                <c:pt idx="37">
                  <c:v>0.16279631085592983</c:v>
                </c:pt>
                <c:pt idx="38">
                  <c:v>0.18164490301460515</c:v>
                </c:pt>
                <c:pt idx="39">
                  <c:v>1.1598967694917872</c:v>
                </c:pt>
                <c:pt idx="40">
                  <c:v>0.42800851475208684</c:v>
                </c:pt>
                <c:pt idx="41">
                  <c:v>0.384857602622315</c:v>
                </c:pt>
                <c:pt idx="42">
                  <c:v>0.15585437107477212</c:v>
                </c:pt>
                <c:pt idx="43">
                  <c:v>0.34535029295477387</c:v>
                </c:pt>
                <c:pt idx="44">
                  <c:v>0.10687510530248268</c:v>
                </c:pt>
                <c:pt idx="45">
                  <c:v>0.18731455224010704</c:v>
                </c:pt>
                <c:pt idx="46">
                  <c:v>0.14349766624950283</c:v>
                </c:pt>
                <c:pt idx="47">
                  <c:v>0.18016866701039758</c:v>
                </c:pt>
                <c:pt idx="48">
                  <c:v>0.30253809162884954</c:v>
                </c:pt>
                <c:pt idx="49">
                  <c:v>0.14733777182516844</c:v>
                </c:pt>
              </c:numCache>
            </c:numRef>
          </c:yVal>
          <c:bubbleSize>
            <c:numRef>
              <c:f>Sheet1!$C$2:$C$193</c:f>
              <c:numCache>
                <c:formatCode>#,##0</c:formatCode>
                <c:ptCount val="192"/>
                <c:pt idx="0">
                  <c:v>54118301</c:v>
                </c:pt>
                <c:pt idx="1">
                  <c:v>32935073</c:v>
                </c:pt>
                <c:pt idx="2">
                  <c:v>24165302</c:v>
                </c:pt>
                <c:pt idx="3">
                  <c:v>12921557</c:v>
                </c:pt>
                <c:pt idx="4">
                  <c:v>2213063</c:v>
                </c:pt>
                <c:pt idx="5">
                  <c:v>4003471</c:v>
                </c:pt>
                <c:pt idx="6">
                  <c:v>1746436</c:v>
                </c:pt>
                <c:pt idx="7">
                  <c:v>1611725</c:v>
                </c:pt>
                <c:pt idx="8">
                  <c:v>936992</c:v>
                </c:pt>
                <c:pt idx="9">
                  <c:v>1213432</c:v>
                </c:pt>
                <c:pt idx="10">
                  <c:v>1106331</c:v>
                </c:pt>
                <c:pt idx="11">
                  <c:v>1156061</c:v>
                </c:pt>
                <c:pt idx="12">
                  <c:v>1776521</c:v>
                </c:pt>
                <c:pt idx="13">
                  <c:v>555825</c:v>
                </c:pt>
                <c:pt idx="14">
                  <c:v>441536</c:v>
                </c:pt>
                <c:pt idx="15">
                  <c:v>528501</c:v>
                </c:pt>
                <c:pt idx="16">
                  <c:v>432075</c:v>
                </c:pt>
                <c:pt idx="17">
                  <c:v>435435</c:v>
                </c:pt>
                <c:pt idx="18">
                  <c:v>433735</c:v>
                </c:pt>
                <c:pt idx="19">
                  <c:v>1448636</c:v>
                </c:pt>
                <c:pt idx="20">
                  <c:v>327005</c:v>
                </c:pt>
                <c:pt idx="21">
                  <c:v>384930</c:v>
                </c:pt>
                <c:pt idx="22">
                  <c:v>393461</c:v>
                </c:pt>
                <c:pt idx="23">
                  <c:v>148308</c:v>
                </c:pt>
                <c:pt idx="24">
                  <c:v>256628</c:v>
                </c:pt>
                <c:pt idx="25">
                  <c:v>152820</c:v>
                </c:pt>
                <c:pt idx="26">
                  <c:v>187258</c:v>
                </c:pt>
                <c:pt idx="27">
                  <c:v>272760</c:v>
                </c:pt>
                <c:pt idx="28">
                  <c:v>225000</c:v>
                </c:pt>
                <c:pt idx="29">
                  <c:v>230746</c:v>
                </c:pt>
                <c:pt idx="30">
                  <c:v>180456</c:v>
                </c:pt>
                <c:pt idx="31">
                  <c:v>116036</c:v>
                </c:pt>
                <c:pt idx="32">
                  <c:v>25925</c:v>
                </c:pt>
                <c:pt idx="33">
                  <c:v>98858</c:v>
                </c:pt>
                <c:pt idx="34">
                  <c:v>195885</c:v>
                </c:pt>
                <c:pt idx="35">
                  <c:v>98518</c:v>
                </c:pt>
                <c:pt idx="36">
                  <c:v>117104</c:v>
                </c:pt>
                <c:pt idx="37">
                  <c:v>235127</c:v>
                </c:pt>
                <c:pt idx="38">
                  <c:v>123978</c:v>
                </c:pt>
                <c:pt idx="39">
                  <c:v>15126</c:v>
                </c:pt>
                <c:pt idx="40">
                  <c:v>63236</c:v>
                </c:pt>
                <c:pt idx="41">
                  <c:v>50563</c:v>
                </c:pt>
                <c:pt idx="42">
                  <c:v>87509</c:v>
                </c:pt>
                <c:pt idx="43">
                  <c:v>41835</c:v>
                </c:pt>
                <c:pt idx="44">
                  <c:v>43864</c:v>
                </c:pt>
                <c:pt idx="45">
                  <c:v>146671</c:v>
                </c:pt>
                <c:pt idx="46">
                  <c:v>149196</c:v>
                </c:pt>
                <c:pt idx="47">
                  <c:v>44755</c:v>
                </c:pt>
                <c:pt idx="48">
                  <c:v>34853</c:v>
                </c:pt>
                <c:pt idx="49">
                  <c:v>33557</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 val="autoZero"/>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9E99F82D-A422-47D6-82EC-A0C074522D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262B7CEC-B6A1-4A95-9297-2EBF098E15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EEFA4E62-4AD0-49BB-80BE-95D9C4FC41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23758BEA-FE62-405B-88E7-029FF4C002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1CB116F0-73DA-431A-ABA0-EEE76D5758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EEFB6794-2A10-4878-9333-8AEEF9B70F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AACC602B-ADF1-4D71-9408-B9039D9B34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6087EDEE-F6F7-43C2-8ABE-BAA84CAB7E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677F90A2-05E2-42BC-8266-2CD855F86E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718D08CF-D5AC-4C50-AC71-498471792F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B55D2CB5-3382-43B5-9D87-BAA1B4D0BF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3D7E9A76-A6AA-43EE-8518-166F48D903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5434E391-6D8D-4F1B-9AD7-2F68E3E7CB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EFFF048F-159F-44AF-A58F-2F28EED96F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4FEEC384-24AB-4A40-88EA-A6A7A12210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B046F325-DC8B-41D5-92D8-FA6659ACFB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CB651C26-FA7F-498A-BAB2-67EFDDABFC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945A4B0A-47E8-48D1-ACAE-3D38F99F1A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6D9C964F-FE53-46F4-B2CA-6E0E333022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01EE201A-0EAB-4B41-8168-B0EC07D898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31D55AC0-21DD-4736-8F7D-96B9BCECB7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2225BBA4-1DB2-472D-BD58-1B7D4E324E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B6C99528-95DA-48BE-94F0-4913074DAC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F43E3565-6213-4F84-81DA-581A667D02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C6759BC5-9D5A-4737-A786-E64C48ADDD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98AA5B46-7C28-48D4-B7B7-61BA862F7E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37BF277A-0392-4272-8D23-551C7BA69C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D8D9A656-24E2-4EF2-85BF-1CA7CA1C9F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FDF35C2F-AB41-4AAE-8E05-B4535A570D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F9ABB57D-E75A-44E7-9BD6-40F443ED52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EEF65B59-3A61-4B81-9244-B86878415B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F92228FA-86F4-4913-84F3-5DFE30028E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D893849B-099E-410E-84F2-14F9D5CA39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498C4ABF-2469-4CAB-A49C-B845612051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BCA43BA9-231D-4759-A21A-1BD959DABA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E963F641-1AA9-4A96-8F8D-B1CC638DAB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E9090DC4-6108-42D1-A3CF-F489119638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BD602755-66A1-4F78-B9BB-2578F2C00F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12503F70-FDD4-470F-813A-A107929904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528FA915-5D95-4E56-9253-AFB0F96537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3F5E6749-D74D-4325-9F78-CE78576655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C1A89A0D-C916-44F9-8EC8-F720371420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5A2200F8-5A04-4E9C-99AB-4DF02C958F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7A5C0EB1-95C5-415B-857D-AFCF2596A3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AA144812-F8F5-4FB8-88E9-C2DAF9A59D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CF8298BE-AC7D-4697-9DCA-0DC943CFF1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287A29C5-C193-43E3-9A9F-16150211B5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93</c:f>
              <c:numCache>
                <c:formatCode>0%;\-0%;0%</c:formatCode>
                <c:ptCount val="192"/>
                <c:pt idx="0">
                  <c:v>1.5205511183945923</c:v>
                </c:pt>
                <c:pt idx="1">
                  <c:v>1.8242651617431078</c:v>
                </c:pt>
                <c:pt idx="2">
                  <c:v>1.9446931641299241</c:v>
                </c:pt>
                <c:pt idx="3">
                  <c:v>1.3743785971181046</c:v>
                </c:pt>
                <c:pt idx="4">
                  <c:v>1.2133568327506097</c:v>
                </c:pt>
                <c:pt idx="5">
                  <c:v>0.68122302644792165</c:v>
                </c:pt>
                <c:pt idx="6">
                  <c:v>1.0735788830195876</c:v>
                </c:pt>
                <c:pt idx="7">
                  <c:v>1.0906105466517351</c:v>
                </c:pt>
                <c:pt idx="8">
                  <c:v>1.2464638055208919</c:v>
                </c:pt>
                <c:pt idx="9">
                  <c:v>2.6276289831452044</c:v>
                </c:pt>
                <c:pt idx="10">
                  <c:v>1.1064322357610548</c:v>
                </c:pt>
                <c:pt idx="11">
                  <c:v>0.85319501532146991</c:v>
                </c:pt>
                <c:pt idx="12">
                  <c:v>0.7743464365328111</c:v>
                </c:pt>
                <c:pt idx="13">
                  <c:v>1.7014605140802144</c:v>
                </c:pt>
                <c:pt idx="14">
                  <c:v>1.4722455858567116</c:v>
                </c:pt>
                <c:pt idx="15">
                  <c:v>1.2982462605289533</c:v>
                </c:pt>
                <c:pt idx="16">
                  <c:v>1.3833514134065645</c:v>
                </c:pt>
                <c:pt idx="17">
                  <c:v>0.87671584289444737</c:v>
                </c:pt>
                <c:pt idx="18">
                  <c:v>1.1442919103466598</c:v>
                </c:pt>
                <c:pt idx="19">
                  <c:v>0.79278754093426607</c:v>
                </c:pt>
                <c:pt idx="20">
                  <c:v>1.6966959176020961</c:v>
                </c:pt>
                <c:pt idx="21">
                  <c:v>1.231432894928175</c:v>
                </c:pt>
                <c:pt idx="22">
                  <c:v>1.4886670138358096</c:v>
                </c:pt>
                <c:pt idx="23">
                  <c:v>1.6014416623709915</c:v>
                </c:pt>
                <c:pt idx="24">
                  <c:v>2.0187991019872009</c:v>
                </c:pt>
                <c:pt idx="25">
                  <c:v>1.8173400102591124</c:v>
                </c:pt>
                <c:pt idx="26">
                  <c:v>2.3074631452968113</c:v>
                </c:pt>
                <c:pt idx="27">
                  <c:v>1.4051910373355561</c:v>
                </c:pt>
                <c:pt idx="28">
                  <c:v>3.2238078809443409</c:v>
                </c:pt>
                <c:pt idx="29">
                  <c:v>0.78758341953843303</c:v>
                </c:pt>
                <c:pt idx="30">
                  <c:v>0.62550976209801934</c:v>
                </c:pt>
                <c:pt idx="31">
                  <c:v>1.7096874502164956</c:v>
                </c:pt>
                <c:pt idx="32">
                  <c:v>1</c:v>
                </c:pt>
                <c:pt idx="33">
                  <c:v>2.3040084400169341</c:v>
                </c:pt>
                <c:pt idx="34">
                  <c:v>0.68754051217467449</c:v>
                </c:pt>
                <c:pt idx="35">
                  <c:v>2.6452578918511045</c:v>
                </c:pt>
                <c:pt idx="36">
                  <c:v>0.52526659449291513</c:v>
                </c:pt>
                <c:pt idx="37">
                  <c:v>0.65993703164042705</c:v>
                </c:pt>
                <c:pt idx="38">
                  <c:v>0.50485076417579766</c:v>
                </c:pt>
                <c:pt idx="39">
                  <c:v>1</c:v>
                </c:pt>
                <c:pt idx="40">
                  <c:v>1.0027843737478033</c:v>
                </c:pt>
                <c:pt idx="41">
                  <c:v>1.6500602169225536</c:v>
                </c:pt>
                <c:pt idx="42">
                  <c:v>0.98129234530269194</c:v>
                </c:pt>
                <c:pt idx="43">
                  <c:v>1.1139156627145779</c:v>
                </c:pt>
                <c:pt idx="44">
                  <c:v>1.211772687997315</c:v>
                </c:pt>
                <c:pt idx="45">
                  <c:v>0.8728761061157565</c:v>
                </c:pt>
                <c:pt idx="46">
                  <c:v>0.69652258972513958</c:v>
                </c:pt>
                <c:pt idx="47">
                  <c:v>0.66347532612180282</c:v>
                </c:pt>
                <c:pt idx="48">
                  <c:v>1.0499788078097323</c:v>
                </c:pt>
                <c:pt idx="49">
                  <c:v>0.44820220564430002</c:v>
                </c:pt>
              </c:numCache>
            </c:numRef>
          </c:xVal>
          <c:yVal>
            <c:numRef>
              <c:f>Sheet1!$B$2:$B$193</c:f>
              <c:numCache>
                <c:formatCode>0%;\-0%;0%</c:formatCode>
                <c:ptCount val="192"/>
                <c:pt idx="0">
                  <c:v>3.0852903728151539</c:v>
                </c:pt>
                <c:pt idx="1">
                  <c:v>3.3319547573296573</c:v>
                </c:pt>
                <c:pt idx="2">
                  <c:v>3.4403458842562884</c:v>
                </c:pt>
                <c:pt idx="3">
                  <c:v>1.5287924854883865</c:v>
                </c:pt>
                <c:pt idx="4">
                  <c:v>1.0281931200653487</c:v>
                </c:pt>
                <c:pt idx="5">
                  <c:v>0.80216040420533041</c:v>
                </c:pt>
                <c:pt idx="6">
                  <c:v>1.0004182203335177</c:v>
                </c:pt>
                <c:pt idx="7">
                  <c:v>0.42735580118324085</c:v>
                </c:pt>
                <c:pt idx="8">
                  <c:v>0.85158534101607519</c:v>
                </c:pt>
                <c:pt idx="9">
                  <c:v>0.98590635708915209</c:v>
                </c:pt>
                <c:pt idx="10">
                  <c:v>0.56316464505129971</c:v>
                </c:pt>
                <c:pt idx="11">
                  <c:v>0.59547063172185266</c:v>
                </c:pt>
                <c:pt idx="12">
                  <c:v>0.5666869203661371</c:v>
                </c:pt>
                <c:pt idx="13">
                  <c:v>0.50080532012183276</c:v>
                </c:pt>
                <c:pt idx="14">
                  <c:v>0.64882474401897816</c:v>
                </c:pt>
                <c:pt idx="15">
                  <c:v>0.62737513851065263</c:v>
                </c:pt>
                <c:pt idx="16">
                  <c:v>0.64468847464704893</c:v>
                </c:pt>
                <c:pt idx="17">
                  <c:v>0.54959610943104897</c:v>
                </c:pt>
                <c:pt idx="18">
                  <c:v>0.26642288750889204</c:v>
                </c:pt>
                <c:pt idx="19">
                  <c:v>9.8232312167382554E-2</c:v>
                </c:pt>
                <c:pt idx="20">
                  <c:v>0.58825737819616963</c:v>
                </c:pt>
                <c:pt idx="21">
                  <c:v>0.30530457107260101</c:v>
                </c:pt>
                <c:pt idx="22">
                  <c:v>0.29903245850592219</c:v>
                </c:pt>
                <c:pt idx="23">
                  <c:v>0.50269799152392924</c:v>
                </c:pt>
                <c:pt idx="24">
                  <c:v>0.27852463526594817</c:v>
                </c:pt>
                <c:pt idx="25">
                  <c:v>0.91021387605544057</c:v>
                </c:pt>
                <c:pt idx="26">
                  <c:v>0.44946294600052783</c:v>
                </c:pt>
                <c:pt idx="27">
                  <c:v>0.23963358203836602</c:v>
                </c:pt>
                <c:pt idx="28">
                  <c:v>0.32805851065036734</c:v>
                </c:pt>
                <c:pt idx="29">
                  <c:v>0.16125522710408016</c:v>
                </c:pt>
                <c:pt idx="30">
                  <c:v>0.2712074289350726</c:v>
                </c:pt>
                <c:pt idx="31">
                  <c:v>0.30457712372256124</c:v>
                </c:pt>
                <c:pt idx="32">
                  <c:v>0.8957411183421421</c:v>
                </c:pt>
                <c:pt idx="33">
                  <c:v>0.73658558525695261</c:v>
                </c:pt>
                <c:pt idx="34">
                  <c:v>0.28331041236079657</c:v>
                </c:pt>
                <c:pt idx="35">
                  <c:v>0.29822959771310809</c:v>
                </c:pt>
                <c:pt idx="36">
                  <c:v>0.30112180993370002</c:v>
                </c:pt>
                <c:pt idx="37">
                  <c:v>0.16279631085592983</c:v>
                </c:pt>
                <c:pt idx="38">
                  <c:v>0.18164490301460515</c:v>
                </c:pt>
                <c:pt idx="39">
                  <c:v>1.1598967694917872</c:v>
                </c:pt>
                <c:pt idx="40">
                  <c:v>0.42800851475208684</c:v>
                </c:pt>
                <c:pt idx="41">
                  <c:v>0.384857602622315</c:v>
                </c:pt>
                <c:pt idx="42">
                  <c:v>0.15585437107477212</c:v>
                </c:pt>
                <c:pt idx="43">
                  <c:v>0.34535029295477387</c:v>
                </c:pt>
                <c:pt idx="44">
                  <c:v>0.10687510530248268</c:v>
                </c:pt>
                <c:pt idx="45">
                  <c:v>0.18731455224010704</c:v>
                </c:pt>
                <c:pt idx="46">
                  <c:v>0.14349766624950283</c:v>
                </c:pt>
                <c:pt idx="47">
                  <c:v>0.18016866701039758</c:v>
                </c:pt>
                <c:pt idx="48">
                  <c:v>0.30253809162884954</c:v>
                </c:pt>
                <c:pt idx="49">
                  <c:v>0.14733777182516844</c:v>
                </c:pt>
              </c:numCache>
            </c:numRef>
          </c:yVal>
          <c:bubbleSize>
            <c:numRef>
              <c:f>Sheet1!$C$2:$C$193</c:f>
              <c:numCache>
                <c:formatCode>#,##0</c:formatCode>
                <c:ptCount val="192"/>
                <c:pt idx="0">
                  <c:v>54118301</c:v>
                </c:pt>
                <c:pt idx="1">
                  <c:v>32935073</c:v>
                </c:pt>
                <c:pt idx="2">
                  <c:v>24165302</c:v>
                </c:pt>
                <c:pt idx="3">
                  <c:v>12921557</c:v>
                </c:pt>
                <c:pt idx="4">
                  <c:v>2213063</c:v>
                </c:pt>
                <c:pt idx="5">
                  <c:v>4003471</c:v>
                </c:pt>
                <c:pt idx="6">
                  <c:v>1746436</c:v>
                </c:pt>
                <c:pt idx="7">
                  <c:v>1611725</c:v>
                </c:pt>
                <c:pt idx="8">
                  <c:v>936992</c:v>
                </c:pt>
                <c:pt idx="9">
                  <c:v>1213432</c:v>
                </c:pt>
                <c:pt idx="10">
                  <c:v>1106331</c:v>
                </c:pt>
                <c:pt idx="11">
                  <c:v>1156061</c:v>
                </c:pt>
                <c:pt idx="12">
                  <c:v>1776521</c:v>
                </c:pt>
                <c:pt idx="13">
                  <c:v>555825</c:v>
                </c:pt>
                <c:pt idx="14">
                  <c:v>441536</c:v>
                </c:pt>
                <c:pt idx="15">
                  <c:v>528501</c:v>
                </c:pt>
                <c:pt idx="16">
                  <c:v>432075</c:v>
                </c:pt>
                <c:pt idx="17">
                  <c:v>435435</c:v>
                </c:pt>
                <c:pt idx="18">
                  <c:v>433735</c:v>
                </c:pt>
                <c:pt idx="19">
                  <c:v>1448636</c:v>
                </c:pt>
                <c:pt idx="20">
                  <c:v>327005</c:v>
                </c:pt>
                <c:pt idx="21">
                  <c:v>384930</c:v>
                </c:pt>
                <c:pt idx="22">
                  <c:v>393461</c:v>
                </c:pt>
                <c:pt idx="23">
                  <c:v>148308</c:v>
                </c:pt>
                <c:pt idx="24">
                  <c:v>256628</c:v>
                </c:pt>
                <c:pt idx="25">
                  <c:v>152820</c:v>
                </c:pt>
                <c:pt idx="26">
                  <c:v>187258</c:v>
                </c:pt>
                <c:pt idx="27">
                  <c:v>272760</c:v>
                </c:pt>
                <c:pt idx="28">
                  <c:v>225000</c:v>
                </c:pt>
                <c:pt idx="29">
                  <c:v>230746</c:v>
                </c:pt>
                <c:pt idx="30">
                  <c:v>180456</c:v>
                </c:pt>
                <c:pt idx="31">
                  <c:v>116036</c:v>
                </c:pt>
                <c:pt idx="32">
                  <c:v>25925</c:v>
                </c:pt>
                <c:pt idx="33">
                  <c:v>98858</c:v>
                </c:pt>
                <c:pt idx="34">
                  <c:v>195885</c:v>
                </c:pt>
                <c:pt idx="35">
                  <c:v>98518</c:v>
                </c:pt>
                <c:pt idx="36">
                  <c:v>117104</c:v>
                </c:pt>
                <c:pt idx="37">
                  <c:v>235127</c:v>
                </c:pt>
                <c:pt idx="38">
                  <c:v>123978</c:v>
                </c:pt>
                <c:pt idx="39">
                  <c:v>15126</c:v>
                </c:pt>
                <c:pt idx="40">
                  <c:v>63236</c:v>
                </c:pt>
                <c:pt idx="41">
                  <c:v>50563</c:v>
                </c:pt>
                <c:pt idx="42">
                  <c:v>87509</c:v>
                </c:pt>
                <c:pt idx="43">
                  <c:v>41835</c:v>
                </c:pt>
                <c:pt idx="44">
                  <c:v>43864</c:v>
                </c:pt>
                <c:pt idx="45">
                  <c:v>146671</c:v>
                </c:pt>
                <c:pt idx="46">
                  <c:v>149196</c:v>
                </c:pt>
                <c:pt idx="47">
                  <c:v>44755</c:v>
                </c:pt>
                <c:pt idx="48">
                  <c:v>34853</c:v>
                </c:pt>
                <c:pt idx="49">
                  <c:v>33557</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 val="autoZero"/>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7D49FA9A-BE9E-4309-BC1C-0FA49852D0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2F033AD5-C12D-4845-B6CE-4E014D69FE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206A7CAC-0280-42E1-B54C-067E8C0A05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C0B00210-F1E1-4D7F-940C-9CEF244498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788D6309-CDF4-4E96-9263-9D85B46171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4628D8BC-F964-4F52-90E3-9B9FA79C79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DF04D99A-90E9-4142-B494-F00F3509F9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32F641DF-9CCC-4219-97B4-0124DD05F6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12007048-313A-4C9C-B048-6A2807375E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A01552C2-751C-4F16-8E89-129B20B26A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4CD57C3C-A5E4-4300-B482-C9AF180450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B299C6F0-6A33-49B0-99FB-1A06C94EA0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0B4850FF-410E-4504-978E-B8A525D849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51933BC5-3B8B-4F13-A701-ED7C88094E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2490B95F-7E6D-4C61-97AD-C10CF3E35B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792FA413-B949-4DBF-B686-3C69304178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D40AAECA-D267-4B00-917B-8F28B9B649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6F8C2213-05FD-45B7-B588-3876ABA6C8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FD910941-148D-4C23-968F-38152EF5E2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C3CEC257-12E5-41CE-BEA9-137BF8E169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5E662FEA-7A72-4974-ACB2-B7F4F96623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23B531E5-6C87-4006-9DE7-49B2E20A30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D02BC256-6518-4C0B-B947-307184C3BA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E0E489D2-EBA8-4602-86A5-827AC47F70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BD5AC95F-8195-4105-A36F-0997EA6BB4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F52C8FA8-818F-4B5F-BD80-4B23FBB660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4DB578FE-8F63-4A96-86E7-883EA068FB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DA56FAB8-6496-4747-AE02-7BDB673BE6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0EAD05F3-EB82-45BD-8749-C20339F93D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3BCF8A5A-D40E-4AAF-B41A-BAA822DE05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F198F5DE-769B-4829-B908-4CA8D4439E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EEC25B70-CF75-4668-AF88-6DCC09FBFD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7C205679-7D57-4592-A811-C7F6FB01AA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781955AB-3E8C-4A27-910A-54D98449E0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15838D67-9A07-40FE-B23A-D4A5862AD7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2496EB56-91D0-4524-885E-0725795687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463D975F-2E24-4281-8720-C7282A0680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C69FB1E4-6702-4FA5-8BD0-BF2F64AC1A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16621642-BD9A-4BAF-ABCD-FFA078C562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61E1A3BB-FA05-4785-AE50-B7A7492AAC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290CE6E6-F904-4E5F-880A-027ECA6E01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F7C8894E-B326-434A-8A19-5B8C4E65B5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A60FF204-41CF-424F-96EB-B9905741B1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7BCA3053-0943-4FD5-B024-DA875D7B26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29BE5A76-B6E1-4149-AC38-63FACF9F34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18456D23-B4EE-4588-BB63-B78879F880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DF8654EF-EFE6-44A8-83E9-E23B81876D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93</c:f>
              <c:numCache>
                <c:formatCode>0%;\-0%;0%</c:formatCode>
                <c:ptCount val="192"/>
                <c:pt idx="0">
                  <c:v>1.5205511183945923</c:v>
                </c:pt>
                <c:pt idx="1">
                  <c:v>1.8242651617431078</c:v>
                </c:pt>
                <c:pt idx="2">
                  <c:v>1.9446931641299241</c:v>
                </c:pt>
                <c:pt idx="3">
                  <c:v>1.3743785971181046</c:v>
                </c:pt>
                <c:pt idx="4">
                  <c:v>1.2133568327506097</c:v>
                </c:pt>
                <c:pt idx="5">
                  <c:v>0.68122302644792165</c:v>
                </c:pt>
                <c:pt idx="6">
                  <c:v>1.0735788830195876</c:v>
                </c:pt>
                <c:pt idx="7">
                  <c:v>1.0906105466517351</c:v>
                </c:pt>
                <c:pt idx="8">
                  <c:v>1.2464638055208919</c:v>
                </c:pt>
                <c:pt idx="9">
                  <c:v>2.6276289831452044</c:v>
                </c:pt>
                <c:pt idx="10">
                  <c:v>1.1064322357610548</c:v>
                </c:pt>
                <c:pt idx="11">
                  <c:v>0.85319501532146991</c:v>
                </c:pt>
                <c:pt idx="12">
                  <c:v>0.7743464365328111</c:v>
                </c:pt>
                <c:pt idx="13">
                  <c:v>1.7014605140802144</c:v>
                </c:pt>
                <c:pt idx="14">
                  <c:v>1.4722455858567116</c:v>
                </c:pt>
                <c:pt idx="15">
                  <c:v>1.2982462605289533</c:v>
                </c:pt>
                <c:pt idx="16">
                  <c:v>1.3833514134065645</c:v>
                </c:pt>
                <c:pt idx="17">
                  <c:v>0.87671584289444737</c:v>
                </c:pt>
                <c:pt idx="18">
                  <c:v>1.1442919103466598</c:v>
                </c:pt>
                <c:pt idx="19">
                  <c:v>0.79278754093426607</c:v>
                </c:pt>
                <c:pt idx="20">
                  <c:v>1.6966959176020961</c:v>
                </c:pt>
                <c:pt idx="21">
                  <c:v>1.231432894928175</c:v>
                </c:pt>
                <c:pt idx="22">
                  <c:v>1.4886670138358096</c:v>
                </c:pt>
                <c:pt idx="23">
                  <c:v>1.6014416623709915</c:v>
                </c:pt>
                <c:pt idx="24">
                  <c:v>2.0187991019872009</c:v>
                </c:pt>
                <c:pt idx="25">
                  <c:v>1.8173400102591124</c:v>
                </c:pt>
                <c:pt idx="26">
                  <c:v>2.3074631452968113</c:v>
                </c:pt>
                <c:pt idx="27">
                  <c:v>1.4051910373355561</c:v>
                </c:pt>
                <c:pt idx="28">
                  <c:v>3.2238078809443409</c:v>
                </c:pt>
                <c:pt idx="29">
                  <c:v>0.78758341953843303</c:v>
                </c:pt>
                <c:pt idx="30">
                  <c:v>0.62550976209801934</c:v>
                </c:pt>
                <c:pt idx="31">
                  <c:v>1.7096874502164956</c:v>
                </c:pt>
                <c:pt idx="32">
                  <c:v>1</c:v>
                </c:pt>
                <c:pt idx="33">
                  <c:v>2.3040084400169341</c:v>
                </c:pt>
                <c:pt idx="34">
                  <c:v>0.68754051217467449</c:v>
                </c:pt>
                <c:pt idx="35">
                  <c:v>2.6452578918511045</c:v>
                </c:pt>
                <c:pt idx="36">
                  <c:v>0.52526659449291513</c:v>
                </c:pt>
                <c:pt idx="37">
                  <c:v>0.65993703164042705</c:v>
                </c:pt>
                <c:pt idx="38">
                  <c:v>0.50485076417579766</c:v>
                </c:pt>
                <c:pt idx="39">
                  <c:v>1</c:v>
                </c:pt>
                <c:pt idx="40">
                  <c:v>1.0027843737478033</c:v>
                </c:pt>
                <c:pt idx="41">
                  <c:v>1.6500602169225536</c:v>
                </c:pt>
                <c:pt idx="42">
                  <c:v>0.98129234530269194</c:v>
                </c:pt>
                <c:pt idx="43">
                  <c:v>1.1139156627145779</c:v>
                </c:pt>
                <c:pt idx="44">
                  <c:v>1.211772687997315</c:v>
                </c:pt>
                <c:pt idx="45">
                  <c:v>0.8728761061157565</c:v>
                </c:pt>
                <c:pt idx="46">
                  <c:v>0.69652258972513958</c:v>
                </c:pt>
                <c:pt idx="47">
                  <c:v>0.66347532612180282</c:v>
                </c:pt>
                <c:pt idx="48">
                  <c:v>1.0499788078097323</c:v>
                </c:pt>
                <c:pt idx="49">
                  <c:v>0.44820220564430002</c:v>
                </c:pt>
              </c:numCache>
            </c:numRef>
          </c:xVal>
          <c:yVal>
            <c:numRef>
              <c:f>Sheet1!$B$2:$B$193</c:f>
              <c:numCache>
                <c:formatCode>0%;\-0%;0%</c:formatCode>
                <c:ptCount val="192"/>
                <c:pt idx="0">
                  <c:v>3.0852903728151539</c:v>
                </c:pt>
                <c:pt idx="1">
                  <c:v>3.3319547573296573</c:v>
                </c:pt>
                <c:pt idx="2">
                  <c:v>3.4403458842562884</c:v>
                </c:pt>
                <c:pt idx="3">
                  <c:v>1.5287924854883865</c:v>
                </c:pt>
                <c:pt idx="4">
                  <c:v>1.0281931200653487</c:v>
                </c:pt>
                <c:pt idx="5">
                  <c:v>0.80216040420533041</c:v>
                </c:pt>
                <c:pt idx="6">
                  <c:v>1.0004182203335177</c:v>
                </c:pt>
                <c:pt idx="7">
                  <c:v>0.42735580118324085</c:v>
                </c:pt>
                <c:pt idx="8">
                  <c:v>0.85158534101607519</c:v>
                </c:pt>
                <c:pt idx="9">
                  <c:v>0.98590635708915209</c:v>
                </c:pt>
                <c:pt idx="10">
                  <c:v>0.56316464505129971</c:v>
                </c:pt>
                <c:pt idx="11">
                  <c:v>0.59547063172185266</c:v>
                </c:pt>
                <c:pt idx="12">
                  <c:v>0.5666869203661371</c:v>
                </c:pt>
                <c:pt idx="13">
                  <c:v>0.50080532012183276</c:v>
                </c:pt>
                <c:pt idx="14">
                  <c:v>0.64882474401897816</c:v>
                </c:pt>
                <c:pt idx="15">
                  <c:v>0.62737513851065263</c:v>
                </c:pt>
                <c:pt idx="16">
                  <c:v>0.64468847464704893</c:v>
                </c:pt>
                <c:pt idx="17">
                  <c:v>0.54959610943104897</c:v>
                </c:pt>
                <c:pt idx="18">
                  <c:v>0.26642288750889204</c:v>
                </c:pt>
                <c:pt idx="19">
                  <c:v>9.8232312167382554E-2</c:v>
                </c:pt>
                <c:pt idx="20">
                  <c:v>0.58825737819616963</c:v>
                </c:pt>
                <c:pt idx="21">
                  <c:v>0.30530457107260101</c:v>
                </c:pt>
                <c:pt idx="22">
                  <c:v>0.29903245850592219</c:v>
                </c:pt>
                <c:pt idx="23">
                  <c:v>0.50269799152392924</c:v>
                </c:pt>
                <c:pt idx="24">
                  <c:v>0.27852463526594817</c:v>
                </c:pt>
                <c:pt idx="25">
                  <c:v>0.91021387605544057</c:v>
                </c:pt>
                <c:pt idx="26">
                  <c:v>0.44946294600052783</c:v>
                </c:pt>
                <c:pt idx="27">
                  <c:v>0.23963358203836602</c:v>
                </c:pt>
                <c:pt idx="28">
                  <c:v>0.32805851065036734</c:v>
                </c:pt>
                <c:pt idx="29">
                  <c:v>0.16125522710408016</c:v>
                </c:pt>
                <c:pt idx="30">
                  <c:v>0.2712074289350726</c:v>
                </c:pt>
                <c:pt idx="31">
                  <c:v>0.30457712372256124</c:v>
                </c:pt>
                <c:pt idx="32">
                  <c:v>0.8957411183421421</c:v>
                </c:pt>
                <c:pt idx="33">
                  <c:v>0.73658558525695261</c:v>
                </c:pt>
                <c:pt idx="34">
                  <c:v>0.28331041236079657</c:v>
                </c:pt>
                <c:pt idx="35">
                  <c:v>0.29822959771310809</c:v>
                </c:pt>
                <c:pt idx="36">
                  <c:v>0.30112180993370002</c:v>
                </c:pt>
                <c:pt idx="37">
                  <c:v>0.16279631085592983</c:v>
                </c:pt>
                <c:pt idx="38">
                  <c:v>0.18164490301460515</c:v>
                </c:pt>
                <c:pt idx="39">
                  <c:v>1.1598967694917872</c:v>
                </c:pt>
                <c:pt idx="40">
                  <c:v>0.42800851475208684</c:v>
                </c:pt>
                <c:pt idx="41">
                  <c:v>0.384857602622315</c:v>
                </c:pt>
                <c:pt idx="42">
                  <c:v>0.15585437107477212</c:v>
                </c:pt>
                <c:pt idx="43">
                  <c:v>0.34535029295477387</c:v>
                </c:pt>
                <c:pt idx="44">
                  <c:v>0.10687510530248268</c:v>
                </c:pt>
                <c:pt idx="45">
                  <c:v>0.18731455224010704</c:v>
                </c:pt>
                <c:pt idx="46">
                  <c:v>0.14349766624950283</c:v>
                </c:pt>
                <c:pt idx="47">
                  <c:v>0.18016866701039758</c:v>
                </c:pt>
                <c:pt idx="48">
                  <c:v>0.30253809162884954</c:v>
                </c:pt>
                <c:pt idx="49">
                  <c:v>0.14733777182516844</c:v>
                </c:pt>
              </c:numCache>
            </c:numRef>
          </c:yVal>
          <c:bubbleSize>
            <c:numRef>
              <c:f>Sheet1!$C$2:$C$193</c:f>
              <c:numCache>
                <c:formatCode>#,##0</c:formatCode>
                <c:ptCount val="192"/>
                <c:pt idx="0">
                  <c:v>54118301</c:v>
                </c:pt>
                <c:pt idx="1">
                  <c:v>32935073</c:v>
                </c:pt>
                <c:pt idx="2">
                  <c:v>24165302</c:v>
                </c:pt>
                <c:pt idx="3">
                  <c:v>12921557</c:v>
                </c:pt>
                <c:pt idx="4">
                  <c:v>2213063</c:v>
                </c:pt>
                <c:pt idx="5">
                  <c:v>4003471</c:v>
                </c:pt>
                <c:pt idx="6">
                  <c:v>1746436</c:v>
                </c:pt>
                <c:pt idx="7">
                  <c:v>1611725</c:v>
                </c:pt>
                <c:pt idx="8">
                  <c:v>936992</c:v>
                </c:pt>
                <c:pt idx="9">
                  <c:v>1213432</c:v>
                </c:pt>
                <c:pt idx="10">
                  <c:v>1106331</c:v>
                </c:pt>
                <c:pt idx="11">
                  <c:v>1156061</c:v>
                </c:pt>
                <c:pt idx="12">
                  <c:v>1776521</c:v>
                </c:pt>
                <c:pt idx="13">
                  <c:v>555825</c:v>
                </c:pt>
                <c:pt idx="14">
                  <c:v>441536</c:v>
                </c:pt>
                <c:pt idx="15">
                  <c:v>528501</c:v>
                </c:pt>
                <c:pt idx="16">
                  <c:v>432075</c:v>
                </c:pt>
                <c:pt idx="17">
                  <c:v>435435</c:v>
                </c:pt>
                <c:pt idx="18">
                  <c:v>433735</c:v>
                </c:pt>
                <c:pt idx="19">
                  <c:v>1448636</c:v>
                </c:pt>
                <c:pt idx="20">
                  <c:v>327005</c:v>
                </c:pt>
                <c:pt idx="21">
                  <c:v>384930</c:v>
                </c:pt>
                <c:pt idx="22">
                  <c:v>393461</c:v>
                </c:pt>
                <c:pt idx="23">
                  <c:v>148308</c:v>
                </c:pt>
                <c:pt idx="24">
                  <c:v>256628</c:v>
                </c:pt>
                <c:pt idx="25">
                  <c:v>152820</c:v>
                </c:pt>
                <c:pt idx="26">
                  <c:v>187258</c:v>
                </c:pt>
                <c:pt idx="27">
                  <c:v>272760</c:v>
                </c:pt>
                <c:pt idx="28">
                  <c:v>225000</c:v>
                </c:pt>
                <c:pt idx="29">
                  <c:v>230746</c:v>
                </c:pt>
                <c:pt idx="30">
                  <c:v>180456</c:v>
                </c:pt>
                <c:pt idx="31">
                  <c:v>116036</c:v>
                </c:pt>
                <c:pt idx="32">
                  <c:v>25925</c:v>
                </c:pt>
                <c:pt idx="33">
                  <c:v>98858</c:v>
                </c:pt>
                <c:pt idx="34">
                  <c:v>195885</c:v>
                </c:pt>
                <c:pt idx="35">
                  <c:v>98518</c:v>
                </c:pt>
                <c:pt idx="36">
                  <c:v>117104</c:v>
                </c:pt>
                <c:pt idx="37">
                  <c:v>235127</c:v>
                </c:pt>
                <c:pt idx="38">
                  <c:v>123978</c:v>
                </c:pt>
                <c:pt idx="39">
                  <c:v>15126</c:v>
                </c:pt>
                <c:pt idx="40">
                  <c:v>63236</c:v>
                </c:pt>
                <c:pt idx="41">
                  <c:v>50563</c:v>
                </c:pt>
                <c:pt idx="42">
                  <c:v>87509</c:v>
                </c:pt>
                <c:pt idx="43">
                  <c:v>41835</c:v>
                </c:pt>
                <c:pt idx="44">
                  <c:v>43864</c:v>
                </c:pt>
                <c:pt idx="45">
                  <c:v>146671</c:v>
                </c:pt>
                <c:pt idx="46">
                  <c:v>149196</c:v>
                </c:pt>
                <c:pt idx="47">
                  <c:v>44755</c:v>
                </c:pt>
                <c:pt idx="48">
                  <c:v>34853</c:v>
                </c:pt>
                <c:pt idx="49">
                  <c:v>33557</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 val="autoZero"/>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EFA55B46-ABB4-4A3D-80EF-5DA8FFBD02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FC52EFC1-8920-4DBB-BCE8-3D68131161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0B3FCA39-D5D3-476A-9022-175B8666B4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BE5C81D0-6C57-429B-9061-E4BDD52B47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C42183A6-B2F4-4C57-98A8-983B2B5F33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8C095478-7F33-4ADD-9167-7628241D48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5AA0518E-980F-4866-B98A-568C0E9431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1B64312A-2D78-4B5F-9AAB-3BB419D7E8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0656FF35-481F-418F-9E02-AFB3B5CEA9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99692227-035A-472D-8219-E4192CF956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C99F6146-F5D0-4E07-8F19-86CE74D34C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0640919C-BA76-49F5-9EB8-1F71ECD483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A4BD9E46-B173-4887-8EA9-E699C95D3F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1E8B99D9-6DF2-45F6-9A65-CFFC8ECB60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DE5AB482-1C1B-443E-940D-0E78755FBA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8A8987F4-FE5A-4B5D-BFE6-9BF1D1F60C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470844BE-A615-4937-9B24-5548ABC725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DAD2D69E-FB53-4710-A000-EAAE3D209F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473AD9D0-2FD4-4005-8750-EF3E7FFA77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7D6E7DCD-D856-48A5-895E-ACFB9AA910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7D118F2A-FF46-4A53-9B44-7C4B7A137F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55785592-3697-4572-B2DE-79D35807AD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7564F555-078D-409F-8A64-1906114502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49C5F41B-D767-40BA-BCF0-92A6C67838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0DA0ADC6-2116-46B0-BDDD-7B92069279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78F86C6A-DA09-4DA8-A64C-5BCDCE2A31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82740A7C-CF85-416A-A03C-361B5A7DE4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21C87E89-C8B9-49B7-8198-27DA65F24A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9EFF0A16-27E3-405C-A8E7-FA33B5AB8C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615BF90C-FF85-4B00-AEA8-5B303340AA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1D93CA24-8FD9-4335-A390-EA7CFBC3AA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4BFC1B15-D308-4469-9841-F25D908A4D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24809C92-B92B-4EC7-B1ED-32DA51C3D5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E5CD3EA9-85F2-47CE-B3FE-4713E53032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A55CDD53-A012-420D-A482-1C373A8A86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91C83B5B-3326-49DD-8632-F9994F232A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A623D4D7-C5AF-4A1B-9518-2F198CC014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261F3534-70AF-465C-BEC8-8FB34D96FC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65F509CA-2B90-4BF3-9A10-451CC6FF0C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5FC1E95A-D7F9-48F6-88A2-666FAB5FA3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C1A02188-0AAC-4049-BDDF-A3D0F1EE38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00AD0993-8122-455C-B3C0-4878EDB5B0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7AA5CE83-F561-41DA-94DB-CAAE021D43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76D834AF-0B27-4A50-9312-75A5A86E96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E29DFCA8-1B57-427C-8D45-4A2C115B36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979C7A75-1390-4138-88C3-FAA83092F7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368AF161-524B-4115-976A-0977640D92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93</c:f>
              <c:numCache>
                <c:formatCode>0%;\-0%;0%</c:formatCode>
                <c:ptCount val="192"/>
                <c:pt idx="0">
                  <c:v>1.5205511183945923</c:v>
                </c:pt>
                <c:pt idx="1">
                  <c:v>1.8242651617431078</c:v>
                </c:pt>
                <c:pt idx="2">
                  <c:v>1.9446931641299241</c:v>
                </c:pt>
                <c:pt idx="3">
                  <c:v>1.3743785971181046</c:v>
                </c:pt>
                <c:pt idx="4">
                  <c:v>1.2133568327506097</c:v>
                </c:pt>
                <c:pt idx="5">
                  <c:v>0.68122302644792165</c:v>
                </c:pt>
                <c:pt idx="6">
                  <c:v>1.0735788830195876</c:v>
                </c:pt>
                <c:pt idx="7">
                  <c:v>1.0906105466517351</c:v>
                </c:pt>
                <c:pt idx="8">
                  <c:v>1.2464638055208919</c:v>
                </c:pt>
                <c:pt idx="9">
                  <c:v>2.6276289831452044</c:v>
                </c:pt>
                <c:pt idx="10">
                  <c:v>1.1064322357610548</c:v>
                </c:pt>
                <c:pt idx="11">
                  <c:v>0.85319501532146991</c:v>
                </c:pt>
                <c:pt idx="12">
                  <c:v>0.7743464365328111</c:v>
                </c:pt>
                <c:pt idx="13">
                  <c:v>1.7014605140802144</c:v>
                </c:pt>
                <c:pt idx="14">
                  <c:v>1.4722455858567116</c:v>
                </c:pt>
                <c:pt idx="15">
                  <c:v>1.2982462605289533</c:v>
                </c:pt>
                <c:pt idx="16">
                  <c:v>1.3833514134065645</c:v>
                </c:pt>
                <c:pt idx="17">
                  <c:v>0.87671584289444737</c:v>
                </c:pt>
                <c:pt idx="18">
                  <c:v>1.1442919103466598</c:v>
                </c:pt>
                <c:pt idx="19">
                  <c:v>0.79278754093426607</c:v>
                </c:pt>
                <c:pt idx="20">
                  <c:v>1.6966959176020961</c:v>
                </c:pt>
                <c:pt idx="21">
                  <c:v>1.231432894928175</c:v>
                </c:pt>
                <c:pt idx="22">
                  <c:v>1.4886670138358096</c:v>
                </c:pt>
                <c:pt idx="23">
                  <c:v>1.6014416623709915</c:v>
                </c:pt>
                <c:pt idx="24">
                  <c:v>2.0187991019872009</c:v>
                </c:pt>
                <c:pt idx="25">
                  <c:v>1.8173400102591124</c:v>
                </c:pt>
                <c:pt idx="26">
                  <c:v>2.3074631452968113</c:v>
                </c:pt>
                <c:pt idx="27">
                  <c:v>1.4051910373355561</c:v>
                </c:pt>
                <c:pt idx="28">
                  <c:v>3.2238078809443409</c:v>
                </c:pt>
                <c:pt idx="29">
                  <c:v>0.78758341953843303</c:v>
                </c:pt>
                <c:pt idx="30">
                  <c:v>0.62550976209801934</c:v>
                </c:pt>
                <c:pt idx="31">
                  <c:v>1.7096874502164956</c:v>
                </c:pt>
                <c:pt idx="32">
                  <c:v>1</c:v>
                </c:pt>
                <c:pt idx="33">
                  <c:v>2.3040084400169341</c:v>
                </c:pt>
                <c:pt idx="34">
                  <c:v>0.68754051217467449</c:v>
                </c:pt>
                <c:pt idx="35">
                  <c:v>2.6452578918511045</c:v>
                </c:pt>
                <c:pt idx="36">
                  <c:v>0.52526659449291513</c:v>
                </c:pt>
                <c:pt idx="37">
                  <c:v>0.65993703164042705</c:v>
                </c:pt>
                <c:pt idx="38">
                  <c:v>0.50485076417579766</c:v>
                </c:pt>
                <c:pt idx="39">
                  <c:v>1</c:v>
                </c:pt>
                <c:pt idx="40">
                  <c:v>1.0027843737478033</c:v>
                </c:pt>
                <c:pt idx="41">
                  <c:v>1.6500602169225536</c:v>
                </c:pt>
                <c:pt idx="42">
                  <c:v>0.98129234530269194</c:v>
                </c:pt>
                <c:pt idx="43">
                  <c:v>1.1139156627145779</c:v>
                </c:pt>
                <c:pt idx="44">
                  <c:v>1.211772687997315</c:v>
                </c:pt>
                <c:pt idx="45">
                  <c:v>0.8728761061157565</c:v>
                </c:pt>
                <c:pt idx="46">
                  <c:v>0.69652258972513958</c:v>
                </c:pt>
                <c:pt idx="47">
                  <c:v>0.66347532612180282</c:v>
                </c:pt>
                <c:pt idx="48">
                  <c:v>1.0499788078097323</c:v>
                </c:pt>
                <c:pt idx="49">
                  <c:v>0.44820220564430002</c:v>
                </c:pt>
              </c:numCache>
            </c:numRef>
          </c:xVal>
          <c:yVal>
            <c:numRef>
              <c:f>Sheet1!$B$2:$B$193</c:f>
              <c:numCache>
                <c:formatCode>0%;\-0%;0%</c:formatCode>
                <c:ptCount val="192"/>
                <c:pt idx="0">
                  <c:v>3.0852903728151539</c:v>
                </c:pt>
                <c:pt idx="1">
                  <c:v>3.3319547573296573</c:v>
                </c:pt>
                <c:pt idx="2">
                  <c:v>3.4403458842562884</c:v>
                </c:pt>
                <c:pt idx="3">
                  <c:v>1.5287924854883865</c:v>
                </c:pt>
                <c:pt idx="4">
                  <c:v>1.0281931200653487</c:v>
                </c:pt>
                <c:pt idx="5">
                  <c:v>0.80216040420533041</c:v>
                </c:pt>
                <c:pt idx="6">
                  <c:v>1.0004182203335177</c:v>
                </c:pt>
                <c:pt idx="7">
                  <c:v>0.42735580118324085</c:v>
                </c:pt>
                <c:pt idx="8">
                  <c:v>0.85158534101607519</c:v>
                </c:pt>
                <c:pt idx="9">
                  <c:v>0.98590635708915209</c:v>
                </c:pt>
                <c:pt idx="10">
                  <c:v>0.56316464505129971</c:v>
                </c:pt>
                <c:pt idx="11">
                  <c:v>0.59547063172185266</c:v>
                </c:pt>
                <c:pt idx="12">
                  <c:v>0.5666869203661371</c:v>
                </c:pt>
                <c:pt idx="13">
                  <c:v>0.50080532012183276</c:v>
                </c:pt>
                <c:pt idx="14">
                  <c:v>0.64882474401897816</c:v>
                </c:pt>
                <c:pt idx="15">
                  <c:v>0.62737513851065263</c:v>
                </c:pt>
                <c:pt idx="16">
                  <c:v>0.64468847464704893</c:v>
                </c:pt>
                <c:pt idx="17">
                  <c:v>0.54959610943104897</c:v>
                </c:pt>
                <c:pt idx="18">
                  <c:v>0.26642288750889204</c:v>
                </c:pt>
                <c:pt idx="19">
                  <c:v>9.8232312167382554E-2</c:v>
                </c:pt>
                <c:pt idx="20">
                  <c:v>0.58825737819616963</c:v>
                </c:pt>
                <c:pt idx="21">
                  <c:v>0.30530457107260101</c:v>
                </c:pt>
                <c:pt idx="22">
                  <c:v>0.29903245850592219</c:v>
                </c:pt>
                <c:pt idx="23">
                  <c:v>0.50269799152392924</c:v>
                </c:pt>
                <c:pt idx="24">
                  <c:v>0.27852463526594817</c:v>
                </c:pt>
                <c:pt idx="25">
                  <c:v>0.91021387605544057</c:v>
                </c:pt>
                <c:pt idx="26">
                  <c:v>0.44946294600052783</c:v>
                </c:pt>
                <c:pt idx="27">
                  <c:v>0.23963358203836602</c:v>
                </c:pt>
                <c:pt idx="28">
                  <c:v>0.32805851065036734</c:v>
                </c:pt>
                <c:pt idx="29">
                  <c:v>0.16125522710408016</c:v>
                </c:pt>
                <c:pt idx="30">
                  <c:v>0.2712074289350726</c:v>
                </c:pt>
                <c:pt idx="31">
                  <c:v>0.30457712372256124</c:v>
                </c:pt>
                <c:pt idx="32">
                  <c:v>0.8957411183421421</c:v>
                </c:pt>
                <c:pt idx="33">
                  <c:v>0.73658558525695261</c:v>
                </c:pt>
                <c:pt idx="34">
                  <c:v>0.28331041236079657</c:v>
                </c:pt>
                <c:pt idx="35">
                  <c:v>0.29822959771310809</c:v>
                </c:pt>
                <c:pt idx="36">
                  <c:v>0.30112180993370002</c:v>
                </c:pt>
                <c:pt idx="37">
                  <c:v>0.16279631085592983</c:v>
                </c:pt>
                <c:pt idx="38">
                  <c:v>0.18164490301460515</c:v>
                </c:pt>
                <c:pt idx="39">
                  <c:v>1.1598967694917872</c:v>
                </c:pt>
                <c:pt idx="40">
                  <c:v>0.42800851475208684</c:v>
                </c:pt>
                <c:pt idx="41">
                  <c:v>0.384857602622315</c:v>
                </c:pt>
                <c:pt idx="42">
                  <c:v>0.15585437107477212</c:v>
                </c:pt>
                <c:pt idx="43">
                  <c:v>0.34535029295477387</c:v>
                </c:pt>
                <c:pt idx="44">
                  <c:v>0.10687510530248268</c:v>
                </c:pt>
                <c:pt idx="45">
                  <c:v>0.18731455224010704</c:v>
                </c:pt>
                <c:pt idx="46">
                  <c:v>0.14349766624950283</c:v>
                </c:pt>
                <c:pt idx="47">
                  <c:v>0.18016866701039758</c:v>
                </c:pt>
                <c:pt idx="48">
                  <c:v>0.30253809162884954</c:v>
                </c:pt>
                <c:pt idx="49">
                  <c:v>0.14733777182516844</c:v>
                </c:pt>
              </c:numCache>
            </c:numRef>
          </c:yVal>
          <c:bubbleSize>
            <c:numRef>
              <c:f>Sheet1!$C$2:$C$193</c:f>
              <c:numCache>
                <c:formatCode>#,##0</c:formatCode>
                <c:ptCount val="192"/>
                <c:pt idx="0">
                  <c:v>54118301</c:v>
                </c:pt>
                <c:pt idx="1">
                  <c:v>32935073</c:v>
                </c:pt>
                <c:pt idx="2">
                  <c:v>24165302</c:v>
                </c:pt>
                <c:pt idx="3">
                  <c:v>12921557</c:v>
                </c:pt>
                <c:pt idx="4">
                  <c:v>2213063</c:v>
                </c:pt>
                <c:pt idx="5">
                  <c:v>4003471</c:v>
                </c:pt>
                <c:pt idx="6">
                  <c:v>1746436</c:v>
                </c:pt>
                <c:pt idx="7">
                  <c:v>1611725</c:v>
                </c:pt>
                <c:pt idx="8">
                  <c:v>936992</c:v>
                </c:pt>
                <c:pt idx="9">
                  <c:v>1213432</c:v>
                </c:pt>
                <c:pt idx="10">
                  <c:v>1106331</c:v>
                </c:pt>
                <c:pt idx="11">
                  <c:v>1156061</c:v>
                </c:pt>
                <c:pt idx="12">
                  <c:v>1776521</c:v>
                </c:pt>
                <c:pt idx="13">
                  <c:v>555825</c:v>
                </c:pt>
                <c:pt idx="14">
                  <c:v>441536</c:v>
                </c:pt>
                <c:pt idx="15">
                  <c:v>528501</c:v>
                </c:pt>
                <c:pt idx="16">
                  <c:v>432075</c:v>
                </c:pt>
                <c:pt idx="17">
                  <c:v>435435</c:v>
                </c:pt>
                <c:pt idx="18">
                  <c:v>433735</c:v>
                </c:pt>
                <c:pt idx="19">
                  <c:v>1448636</c:v>
                </c:pt>
                <c:pt idx="20">
                  <c:v>327005</c:v>
                </c:pt>
                <c:pt idx="21">
                  <c:v>384930</c:v>
                </c:pt>
                <c:pt idx="22">
                  <c:v>393461</c:v>
                </c:pt>
                <c:pt idx="23">
                  <c:v>148308</c:v>
                </c:pt>
                <c:pt idx="24">
                  <c:v>256628</c:v>
                </c:pt>
                <c:pt idx="25">
                  <c:v>152820</c:v>
                </c:pt>
                <c:pt idx="26">
                  <c:v>187258</c:v>
                </c:pt>
                <c:pt idx="27">
                  <c:v>272760</c:v>
                </c:pt>
                <c:pt idx="28">
                  <c:v>225000</c:v>
                </c:pt>
                <c:pt idx="29">
                  <c:v>230746</c:v>
                </c:pt>
                <c:pt idx="30">
                  <c:v>180456</c:v>
                </c:pt>
                <c:pt idx="31">
                  <c:v>116036</c:v>
                </c:pt>
                <c:pt idx="32">
                  <c:v>25925</c:v>
                </c:pt>
                <c:pt idx="33">
                  <c:v>98858</c:v>
                </c:pt>
                <c:pt idx="34">
                  <c:v>195885</c:v>
                </c:pt>
                <c:pt idx="35">
                  <c:v>98518</c:v>
                </c:pt>
                <c:pt idx="36">
                  <c:v>117104</c:v>
                </c:pt>
                <c:pt idx="37">
                  <c:v>235127</c:v>
                </c:pt>
                <c:pt idx="38">
                  <c:v>123978</c:v>
                </c:pt>
                <c:pt idx="39">
                  <c:v>15126</c:v>
                </c:pt>
                <c:pt idx="40">
                  <c:v>63236</c:v>
                </c:pt>
                <c:pt idx="41">
                  <c:v>50563</c:v>
                </c:pt>
                <c:pt idx="42">
                  <c:v>87509</c:v>
                </c:pt>
                <c:pt idx="43">
                  <c:v>41835</c:v>
                </c:pt>
                <c:pt idx="44">
                  <c:v>43864</c:v>
                </c:pt>
                <c:pt idx="45">
                  <c:v>146671</c:v>
                </c:pt>
                <c:pt idx="46">
                  <c:v>149196</c:v>
                </c:pt>
                <c:pt idx="47">
                  <c:v>44755</c:v>
                </c:pt>
                <c:pt idx="48">
                  <c:v>34853</c:v>
                </c:pt>
                <c:pt idx="49">
                  <c:v>33557</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 val="autoZero"/>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7B0977F2-43B1-4A2D-B0AC-46BC7762A3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0D7CBF96-77EC-49CE-9510-7BFEEAA8F0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891EF5AD-5805-4FBA-802C-9A647D061F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735623F8-1B81-4267-940A-A4258F9BE9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F0ED5C32-F0BF-47E4-844A-0C4A726627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D034E768-6F74-4F48-B9CB-B4F96A8D1C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8BD19131-C4BC-45E5-878C-26489847DB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8ADBFA3D-BD5E-4200-B355-01DE4990F7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78264C84-A695-4B70-94E2-F1FF41A5AF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9AF01F14-A76E-414E-B26E-374F04B7A7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413A3684-D737-41D5-92F2-81CF160057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ECF6E035-EC19-4C8E-B832-78C979D445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EADA646A-5CD1-4DE1-B187-32E83B2254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2F395E88-CCB1-4178-BAE3-1D42776672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CBE46CD4-8DF6-4762-AFF0-2A1F82190E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5C89A0C7-EF4B-444E-893C-FABC6912A6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E95DDC0F-EF6A-41B9-866D-8141000D2B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6D575555-0E36-4E69-8C9C-3995F6EDCA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086624B9-6F35-4DD0-A849-182BBD491C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838D2D54-1044-43BF-82EA-2F8FF5F609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67ABABFE-B57A-4526-A0B2-6A092B0B4A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05DE9471-9293-4B36-BDB2-A1E3DBE1A8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9555A2B3-564A-4213-911B-4E9C56DBDD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D3026182-4178-47A0-A7DE-A20A9E0B1F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2EEE1654-834C-43F0-B3B3-690E67B910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7229AEC9-B31F-443E-BC27-4B0FA965F8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5842A39C-A5A7-4BAB-932B-693857444A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F8DB0C88-307C-4A18-966C-0C739CB1C3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DE903DCC-0452-492E-8DA0-4D2FCB0B99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E8388C97-302E-43A2-A7B0-BF6E478292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D90FAE33-7190-4E8B-BFD2-F1234C3247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C8CD199E-B6D3-4A0D-975A-BBEABACDF7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75C01AB2-948A-4021-9E58-FE4166512B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1B1468B2-5703-48E3-98F1-0F7DADD479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C1BBE315-1D4D-4CC5-A834-C7792C1944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069431E3-CD6D-458C-8976-B0C23EB40E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0F7B299A-7896-4870-A567-FF083820F4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4E1E5F61-7040-43D5-B8A7-AE1252C362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17DA7707-DB61-45CE-A7C6-95F903DE63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C57295F1-A0D7-4953-936B-6A1C896FFA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BDEC973D-49B2-4CBE-ADEC-37378CCF0F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0B68927B-6CD4-4C83-BE4F-ED65CF3331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57B54621-B2EF-4044-A393-0BC5CF4090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FD307985-9928-44ED-BFE7-22D346A072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AB257F37-0907-44EF-8480-9ECB44719C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FCFA3A7C-EAEB-463B-923C-E9D966217B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9C8DDACB-1FF7-41AA-9718-BFA9FDD186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93</c:f>
              <c:numCache>
                <c:formatCode>0%;\-0%;0%</c:formatCode>
                <c:ptCount val="192"/>
                <c:pt idx="0">
                  <c:v>1.5205511183945923</c:v>
                </c:pt>
                <c:pt idx="1">
                  <c:v>1.8242651617431078</c:v>
                </c:pt>
                <c:pt idx="2">
                  <c:v>1.9446931641299241</c:v>
                </c:pt>
                <c:pt idx="3">
                  <c:v>1.3743785971181046</c:v>
                </c:pt>
                <c:pt idx="4">
                  <c:v>1.2133568327506097</c:v>
                </c:pt>
                <c:pt idx="5">
                  <c:v>0.68122302644792165</c:v>
                </c:pt>
                <c:pt idx="6">
                  <c:v>1.0735788830195876</c:v>
                </c:pt>
                <c:pt idx="7">
                  <c:v>1.0906105466517351</c:v>
                </c:pt>
                <c:pt idx="8">
                  <c:v>1.2464638055208919</c:v>
                </c:pt>
                <c:pt idx="9">
                  <c:v>2.6276289831452044</c:v>
                </c:pt>
                <c:pt idx="10">
                  <c:v>1.1064322357610548</c:v>
                </c:pt>
                <c:pt idx="11">
                  <c:v>0.85319501532146991</c:v>
                </c:pt>
                <c:pt idx="12">
                  <c:v>0.7743464365328111</c:v>
                </c:pt>
                <c:pt idx="13">
                  <c:v>1.7014605140802144</c:v>
                </c:pt>
                <c:pt idx="14">
                  <c:v>1.4722455858567116</c:v>
                </c:pt>
                <c:pt idx="15">
                  <c:v>1.2982462605289533</c:v>
                </c:pt>
                <c:pt idx="16">
                  <c:v>1.3833514134065645</c:v>
                </c:pt>
                <c:pt idx="17">
                  <c:v>0.87671584289444737</c:v>
                </c:pt>
                <c:pt idx="18">
                  <c:v>1.1442919103466598</c:v>
                </c:pt>
                <c:pt idx="19">
                  <c:v>0.79278754093426607</c:v>
                </c:pt>
                <c:pt idx="20">
                  <c:v>1.6966959176020961</c:v>
                </c:pt>
                <c:pt idx="21">
                  <c:v>1.231432894928175</c:v>
                </c:pt>
                <c:pt idx="22">
                  <c:v>1.4886670138358096</c:v>
                </c:pt>
                <c:pt idx="23">
                  <c:v>1.6014416623709915</c:v>
                </c:pt>
                <c:pt idx="24">
                  <c:v>2.0187991019872009</c:v>
                </c:pt>
                <c:pt idx="25">
                  <c:v>1.8173400102591124</c:v>
                </c:pt>
                <c:pt idx="26">
                  <c:v>2.3074631452968113</c:v>
                </c:pt>
                <c:pt idx="27">
                  <c:v>1.4051910373355561</c:v>
                </c:pt>
                <c:pt idx="28">
                  <c:v>3.2238078809443409</c:v>
                </c:pt>
                <c:pt idx="29">
                  <c:v>0.78758341953843303</c:v>
                </c:pt>
                <c:pt idx="30">
                  <c:v>0.62550976209801934</c:v>
                </c:pt>
                <c:pt idx="31">
                  <c:v>1.7096874502164956</c:v>
                </c:pt>
                <c:pt idx="32">
                  <c:v>1</c:v>
                </c:pt>
                <c:pt idx="33">
                  <c:v>2.3040084400169341</c:v>
                </c:pt>
                <c:pt idx="34">
                  <c:v>0.68754051217467449</c:v>
                </c:pt>
                <c:pt idx="35">
                  <c:v>2.6452578918511045</c:v>
                </c:pt>
                <c:pt idx="36">
                  <c:v>0.52526659449291513</c:v>
                </c:pt>
                <c:pt idx="37">
                  <c:v>0.65993703164042705</c:v>
                </c:pt>
                <c:pt idx="38">
                  <c:v>0.50485076417579766</c:v>
                </c:pt>
                <c:pt idx="39">
                  <c:v>1</c:v>
                </c:pt>
                <c:pt idx="40">
                  <c:v>1.0027843737478033</c:v>
                </c:pt>
                <c:pt idx="41">
                  <c:v>1.6500602169225536</c:v>
                </c:pt>
                <c:pt idx="42">
                  <c:v>0.98129234530269194</c:v>
                </c:pt>
                <c:pt idx="43">
                  <c:v>1.1139156627145779</c:v>
                </c:pt>
                <c:pt idx="44">
                  <c:v>1.211772687997315</c:v>
                </c:pt>
                <c:pt idx="45">
                  <c:v>0.8728761061157565</c:v>
                </c:pt>
                <c:pt idx="46">
                  <c:v>0.69652258972513958</c:v>
                </c:pt>
                <c:pt idx="47">
                  <c:v>0.66347532612180282</c:v>
                </c:pt>
                <c:pt idx="48">
                  <c:v>1.0499788078097323</c:v>
                </c:pt>
                <c:pt idx="49">
                  <c:v>0.44820220564430002</c:v>
                </c:pt>
              </c:numCache>
            </c:numRef>
          </c:xVal>
          <c:yVal>
            <c:numRef>
              <c:f>Sheet1!$B$2:$B$193</c:f>
              <c:numCache>
                <c:formatCode>0%;\-0%;0%</c:formatCode>
                <c:ptCount val="192"/>
                <c:pt idx="0">
                  <c:v>3.0852903728151539</c:v>
                </c:pt>
                <c:pt idx="1">
                  <c:v>3.3319547573296573</c:v>
                </c:pt>
                <c:pt idx="2">
                  <c:v>3.4403458842562884</c:v>
                </c:pt>
                <c:pt idx="3">
                  <c:v>1.5287924854883865</c:v>
                </c:pt>
                <c:pt idx="4">
                  <c:v>1.0281931200653487</c:v>
                </c:pt>
                <c:pt idx="5">
                  <c:v>0.80216040420533041</c:v>
                </c:pt>
                <c:pt idx="6">
                  <c:v>1.0004182203335177</c:v>
                </c:pt>
                <c:pt idx="7">
                  <c:v>0.42735580118324085</c:v>
                </c:pt>
                <c:pt idx="8">
                  <c:v>0.85158534101607519</c:v>
                </c:pt>
                <c:pt idx="9">
                  <c:v>0.98590635708915209</c:v>
                </c:pt>
                <c:pt idx="10">
                  <c:v>0.56316464505129971</c:v>
                </c:pt>
                <c:pt idx="11">
                  <c:v>0.59547063172185266</c:v>
                </c:pt>
                <c:pt idx="12">
                  <c:v>0.5666869203661371</c:v>
                </c:pt>
                <c:pt idx="13">
                  <c:v>0.50080532012183276</c:v>
                </c:pt>
                <c:pt idx="14">
                  <c:v>0.64882474401897816</c:v>
                </c:pt>
                <c:pt idx="15">
                  <c:v>0.62737513851065263</c:v>
                </c:pt>
                <c:pt idx="16">
                  <c:v>0.64468847464704893</c:v>
                </c:pt>
                <c:pt idx="17">
                  <c:v>0.54959610943104897</c:v>
                </c:pt>
                <c:pt idx="18">
                  <c:v>0.26642288750889204</c:v>
                </c:pt>
                <c:pt idx="19">
                  <c:v>9.8232312167382554E-2</c:v>
                </c:pt>
                <c:pt idx="20">
                  <c:v>0.58825737819616963</c:v>
                </c:pt>
                <c:pt idx="21">
                  <c:v>0.30530457107260101</c:v>
                </c:pt>
                <c:pt idx="22">
                  <c:v>0.29903245850592219</c:v>
                </c:pt>
                <c:pt idx="23">
                  <c:v>0.50269799152392924</c:v>
                </c:pt>
                <c:pt idx="24">
                  <c:v>0.27852463526594817</c:v>
                </c:pt>
                <c:pt idx="25">
                  <c:v>0.91021387605544057</c:v>
                </c:pt>
                <c:pt idx="26">
                  <c:v>0.44946294600052783</c:v>
                </c:pt>
                <c:pt idx="27">
                  <c:v>0.23963358203836602</c:v>
                </c:pt>
                <c:pt idx="28">
                  <c:v>0.32805851065036734</c:v>
                </c:pt>
                <c:pt idx="29">
                  <c:v>0.16125522710408016</c:v>
                </c:pt>
                <c:pt idx="30">
                  <c:v>0.2712074289350726</c:v>
                </c:pt>
                <c:pt idx="31">
                  <c:v>0.30457712372256124</c:v>
                </c:pt>
                <c:pt idx="32">
                  <c:v>0.8957411183421421</c:v>
                </c:pt>
                <c:pt idx="33">
                  <c:v>0.73658558525695261</c:v>
                </c:pt>
                <c:pt idx="34">
                  <c:v>0.28331041236079657</c:v>
                </c:pt>
                <c:pt idx="35">
                  <c:v>0.29822959771310809</c:v>
                </c:pt>
                <c:pt idx="36">
                  <c:v>0.30112180993370002</c:v>
                </c:pt>
                <c:pt idx="37">
                  <c:v>0.16279631085592983</c:v>
                </c:pt>
                <c:pt idx="38">
                  <c:v>0.18164490301460515</c:v>
                </c:pt>
                <c:pt idx="39">
                  <c:v>1.1598967694917872</c:v>
                </c:pt>
                <c:pt idx="40">
                  <c:v>0.42800851475208684</c:v>
                </c:pt>
                <c:pt idx="41">
                  <c:v>0.384857602622315</c:v>
                </c:pt>
                <c:pt idx="42">
                  <c:v>0.15585437107477212</c:v>
                </c:pt>
                <c:pt idx="43">
                  <c:v>0.34535029295477387</c:v>
                </c:pt>
                <c:pt idx="44">
                  <c:v>0.10687510530248268</c:v>
                </c:pt>
                <c:pt idx="45">
                  <c:v>0.18731455224010704</c:v>
                </c:pt>
                <c:pt idx="46">
                  <c:v>0.14349766624950283</c:v>
                </c:pt>
                <c:pt idx="47">
                  <c:v>0.18016866701039758</c:v>
                </c:pt>
                <c:pt idx="48">
                  <c:v>0.30253809162884954</c:v>
                </c:pt>
                <c:pt idx="49">
                  <c:v>0.14733777182516844</c:v>
                </c:pt>
              </c:numCache>
            </c:numRef>
          </c:yVal>
          <c:bubbleSize>
            <c:numRef>
              <c:f>Sheet1!$C$2:$C$193</c:f>
              <c:numCache>
                <c:formatCode>#,##0</c:formatCode>
                <c:ptCount val="192"/>
                <c:pt idx="0">
                  <c:v>54118301</c:v>
                </c:pt>
                <c:pt idx="1">
                  <c:v>32935073</c:v>
                </c:pt>
                <c:pt idx="2">
                  <c:v>24165302</c:v>
                </c:pt>
                <c:pt idx="3">
                  <c:v>12921557</c:v>
                </c:pt>
                <c:pt idx="4">
                  <c:v>2213063</c:v>
                </c:pt>
                <c:pt idx="5">
                  <c:v>4003471</c:v>
                </c:pt>
                <c:pt idx="6">
                  <c:v>1746436</c:v>
                </c:pt>
                <c:pt idx="7">
                  <c:v>1611725</c:v>
                </c:pt>
                <c:pt idx="8">
                  <c:v>936992</c:v>
                </c:pt>
                <c:pt idx="9">
                  <c:v>1213432</c:v>
                </c:pt>
                <c:pt idx="10">
                  <c:v>1106331</c:v>
                </c:pt>
                <c:pt idx="11">
                  <c:v>1156061</c:v>
                </c:pt>
                <c:pt idx="12">
                  <c:v>1776521</c:v>
                </c:pt>
                <c:pt idx="13">
                  <c:v>555825</c:v>
                </c:pt>
                <c:pt idx="14">
                  <c:v>441536</c:v>
                </c:pt>
                <c:pt idx="15">
                  <c:v>528501</c:v>
                </c:pt>
                <c:pt idx="16">
                  <c:v>432075</c:v>
                </c:pt>
                <c:pt idx="17">
                  <c:v>435435</c:v>
                </c:pt>
                <c:pt idx="18">
                  <c:v>433735</c:v>
                </c:pt>
                <c:pt idx="19">
                  <c:v>1448636</c:v>
                </c:pt>
                <c:pt idx="20">
                  <c:v>327005</c:v>
                </c:pt>
                <c:pt idx="21">
                  <c:v>384930</c:v>
                </c:pt>
                <c:pt idx="22">
                  <c:v>393461</c:v>
                </c:pt>
                <c:pt idx="23">
                  <c:v>148308</c:v>
                </c:pt>
                <c:pt idx="24">
                  <c:v>256628</c:v>
                </c:pt>
                <c:pt idx="25">
                  <c:v>152820</c:v>
                </c:pt>
                <c:pt idx="26">
                  <c:v>187258</c:v>
                </c:pt>
                <c:pt idx="27">
                  <c:v>272760</c:v>
                </c:pt>
                <c:pt idx="28">
                  <c:v>225000</c:v>
                </c:pt>
                <c:pt idx="29">
                  <c:v>230746</c:v>
                </c:pt>
                <c:pt idx="30">
                  <c:v>180456</c:v>
                </c:pt>
                <c:pt idx="31">
                  <c:v>116036</c:v>
                </c:pt>
                <c:pt idx="32">
                  <c:v>25925</c:v>
                </c:pt>
                <c:pt idx="33">
                  <c:v>98858</c:v>
                </c:pt>
                <c:pt idx="34">
                  <c:v>195885</c:v>
                </c:pt>
                <c:pt idx="35">
                  <c:v>98518</c:v>
                </c:pt>
                <c:pt idx="36">
                  <c:v>117104</c:v>
                </c:pt>
                <c:pt idx="37">
                  <c:v>235127</c:v>
                </c:pt>
                <c:pt idx="38">
                  <c:v>123978</c:v>
                </c:pt>
                <c:pt idx="39">
                  <c:v>15126</c:v>
                </c:pt>
                <c:pt idx="40">
                  <c:v>63236</c:v>
                </c:pt>
                <c:pt idx="41">
                  <c:v>50563</c:v>
                </c:pt>
                <c:pt idx="42">
                  <c:v>87509</c:v>
                </c:pt>
                <c:pt idx="43">
                  <c:v>41835</c:v>
                </c:pt>
                <c:pt idx="44">
                  <c:v>43864</c:v>
                </c:pt>
                <c:pt idx="45">
                  <c:v>146671</c:v>
                </c:pt>
                <c:pt idx="46">
                  <c:v>149196</c:v>
                </c:pt>
                <c:pt idx="47">
                  <c:v>44755</c:v>
                </c:pt>
                <c:pt idx="48">
                  <c:v>34853</c:v>
                </c:pt>
                <c:pt idx="49">
                  <c:v>33557</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 val="autoZero"/>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6589DB11-4F12-43C3-8011-65090E9B65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D13A712A-FD68-4DF2-AB52-35A3495106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F5DF320F-E138-4690-8388-711F2BC91E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60A86DA0-E8F3-4C70-A36C-3A150A7098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8909CC85-74D8-4F39-8CD7-5A3B1A5E62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16D59823-D733-423E-AE6A-0F756BAAF8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0F8B5237-257B-4E08-94AC-D2D5D07B56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B1B27DD5-544E-41B2-8DA7-22786ACEB7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D43DC193-2169-4FE4-9434-56505F0E6F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CDD467F9-C1A1-499F-8295-5CE84B4947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528E2529-8565-45FE-8E16-426B14FD39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9FABE5A9-DB6E-4C7E-B5AD-616A297B10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268AB708-D3C3-4DD2-A941-5CECC7F7B8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C0599340-C914-4EFB-88F0-F5624F7316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4A9FCDC8-40CF-4219-B483-A1967949CD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6FA4D7D2-4979-4885-8743-EE99281015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DC6BAFC6-A8B6-48EC-9662-5D994C52C3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D7FEE657-0C18-4A9D-971D-B94BF3B9A7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5D7F5049-C6E4-4B24-AD12-A5DD824B6E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16D62474-1CC0-4524-8C34-87470AB10D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79D7E0C8-D197-4438-8612-3ADBD0F22E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F5D49203-8E87-46B6-B8F9-3F2215C595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48D05E9C-2A12-4AFF-981E-A652F49E39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95CC1548-DBFF-43C2-8F80-AAC5593F97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E56FE1E0-9018-42A6-B12A-721C626B98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92F7D55B-F83D-40E6-898B-519372B364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A339FF45-3FC9-479C-9592-C0E19985E3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1FCA5E7A-C598-460E-9C7A-0EA3A35873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A89DACE0-6162-4418-9252-D195791FB4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F1E675CD-3EB7-4CA6-90B6-0FEB99D0A0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3499A4B0-E3F8-4271-98C7-DAE44EE97A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1D5B3530-33DD-40C1-8535-C25E0880F8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7C203FDA-F2D2-4B91-B4E5-4B6E6166ED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5C84AA7A-E232-4FC1-9639-2367630328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51463539-1973-4504-8ABF-1827815B97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883B2B48-52DF-48F4-A85C-B5173BCDE2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FF0F6993-08A8-4F31-A5BF-D0568A9713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B202E30E-0C42-403C-ADB5-A8067483C3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87926539-9A1D-4502-A7A1-356738ABEC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FCFB6DC0-1536-48DD-95D8-7267E34F73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1BD2E903-0723-466E-A1F0-311AE90173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EEB4594E-F2CE-4C7F-8B98-9EB29D76A6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4797F66A-F0B9-4E7A-96B2-3A741D53D1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2524EDD2-E582-454B-AB75-D73C0EF01B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F6A8F193-AC04-4166-B9AF-AA16B4388C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25907D23-140B-4809-811E-BD88FF1A7F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E2D50226-6A75-4D04-83C5-B24958DB1C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93</c:f>
              <c:numCache>
                <c:formatCode>0%;\-0%;0%</c:formatCode>
                <c:ptCount val="192"/>
                <c:pt idx="0">
                  <c:v>1.5205511183945923</c:v>
                </c:pt>
                <c:pt idx="1">
                  <c:v>1.8242651617431078</c:v>
                </c:pt>
                <c:pt idx="2">
                  <c:v>1.9446931641299241</c:v>
                </c:pt>
                <c:pt idx="3">
                  <c:v>1.3743785971181046</c:v>
                </c:pt>
                <c:pt idx="4">
                  <c:v>1.2133568327506097</c:v>
                </c:pt>
                <c:pt idx="5">
                  <c:v>0.68122302644792165</c:v>
                </c:pt>
                <c:pt idx="6">
                  <c:v>1.0735788830195876</c:v>
                </c:pt>
                <c:pt idx="7">
                  <c:v>1.0906105466517351</c:v>
                </c:pt>
                <c:pt idx="8">
                  <c:v>1.2464638055208919</c:v>
                </c:pt>
                <c:pt idx="9">
                  <c:v>2.6276289831452044</c:v>
                </c:pt>
                <c:pt idx="10">
                  <c:v>1.1064322357610548</c:v>
                </c:pt>
                <c:pt idx="11">
                  <c:v>0.85319501532146991</c:v>
                </c:pt>
                <c:pt idx="12">
                  <c:v>0.7743464365328111</c:v>
                </c:pt>
                <c:pt idx="13">
                  <c:v>1.7014605140802144</c:v>
                </c:pt>
                <c:pt idx="14">
                  <c:v>1.4722455858567116</c:v>
                </c:pt>
                <c:pt idx="15">
                  <c:v>1.2982462605289533</c:v>
                </c:pt>
                <c:pt idx="16">
                  <c:v>1.3833514134065645</c:v>
                </c:pt>
                <c:pt idx="17">
                  <c:v>0.87671584289444737</c:v>
                </c:pt>
                <c:pt idx="18">
                  <c:v>1.1442919103466598</c:v>
                </c:pt>
                <c:pt idx="19">
                  <c:v>0.79278754093426607</c:v>
                </c:pt>
                <c:pt idx="20">
                  <c:v>1.6966959176020961</c:v>
                </c:pt>
                <c:pt idx="21">
                  <c:v>1.231432894928175</c:v>
                </c:pt>
                <c:pt idx="22">
                  <c:v>1.4886670138358096</c:v>
                </c:pt>
                <c:pt idx="23">
                  <c:v>1.6014416623709915</c:v>
                </c:pt>
                <c:pt idx="24">
                  <c:v>2.0187991019872009</c:v>
                </c:pt>
                <c:pt idx="25">
                  <c:v>1.8173400102591124</c:v>
                </c:pt>
                <c:pt idx="26">
                  <c:v>2.3074631452968113</c:v>
                </c:pt>
                <c:pt idx="27">
                  <c:v>1.4051910373355561</c:v>
                </c:pt>
                <c:pt idx="28">
                  <c:v>3.2238078809443409</c:v>
                </c:pt>
                <c:pt idx="29">
                  <c:v>0.78758341953843303</c:v>
                </c:pt>
                <c:pt idx="30">
                  <c:v>0.62550976209801934</c:v>
                </c:pt>
                <c:pt idx="31">
                  <c:v>1.7096874502164956</c:v>
                </c:pt>
                <c:pt idx="32">
                  <c:v>1</c:v>
                </c:pt>
                <c:pt idx="33">
                  <c:v>2.3040084400169341</c:v>
                </c:pt>
                <c:pt idx="34">
                  <c:v>0.68754051217467449</c:v>
                </c:pt>
                <c:pt idx="35">
                  <c:v>2.6452578918511045</c:v>
                </c:pt>
                <c:pt idx="36">
                  <c:v>0.52526659449291513</c:v>
                </c:pt>
                <c:pt idx="37">
                  <c:v>0.65993703164042705</c:v>
                </c:pt>
                <c:pt idx="38">
                  <c:v>0.50485076417579766</c:v>
                </c:pt>
                <c:pt idx="39">
                  <c:v>1</c:v>
                </c:pt>
                <c:pt idx="40">
                  <c:v>1.0027843737478033</c:v>
                </c:pt>
                <c:pt idx="41">
                  <c:v>1.6500602169225536</c:v>
                </c:pt>
                <c:pt idx="42">
                  <c:v>0.98129234530269194</c:v>
                </c:pt>
                <c:pt idx="43">
                  <c:v>1.1139156627145779</c:v>
                </c:pt>
                <c:pt idx="44">
                  <c:v>1.211772687997315</c:v>
                </c:pt>
                <c:pt idx="45">
                  <c:v>0.8728761061157565</c:v>
                </c:pt>
                <c:pt idx="46">
                  <c:v>0.69652258972513958</c:v>
                </c:pt>
                <c:pt idx="47">
                  <c:v>0.66347532612180282</c:v>
                </c:pt>
                <c:pt idx="48">
                  <c:v>1.0499788078097323</c:v>
                </c:pt>
                <c:pt idx="49">
                  <c:v>0.44820220564430002</c:v>
                </c:pt>
              </c:numCache>
            </c:numRef>
          </c:xVal>
          <c:yVal>
            <c:numRef>
              <c:f>Sheet1!$B$2:$B$193</c:f>
              <c:numCache>
                <c:formatCode>0%;\-0%;0%</c:formatCode>
                <c:ptCount val="192"/>
                <c:pt idx="0">
                  <c:v>3.0852903728151539</c:v>
                </c:pt>
                <c:pt idx="1">
                  <c:v>3.3319547573296573</c:v>
                </c:pt>
                <c:pt idx="2">
                  <c:v>3.4403458842562884</c:v>
                </c:pt>
                <c:pt idx="3">
                  <c:v>1.5287924854883865</c:v>
                </c:pt>
                <c:pt idx="4">
                  <c:v>1.0281931200653487</c:v>
                </c:pt>
                <c:pt idx="5">
                  <c:v>0.80216040420533041</c:v>
                </c:pt>
                <c:pt idx="6">
                  <c:v>1.0004182203335177</c:v>
                </c:pt>
                <c:pt idx="7">
                  <c:v>0.42735580118324085</c:v>
                </c:pt>
                <c:pt idx="8">
                  <c:v>0.85158534101607519</c:v>
                </c:pt>
                <c:pt idx="9">
                  <c:v>0.98590635708915209</c:v>
                </c:pt>
                <c:pt idx="10">
                  <c:v>0.56316464505129971</c:v>
                </c:pt>
                <c:pt idx="11">
                  <c:v>0.59547063172185266</c:v>
                </c:pt>
                <c:pt idx="12">
                  <c:v>0.5666869203661371</c:v>
                </c:pt>
                <c:pt idx="13">
                  <c:v>0.50080532012183276</c:v>
                </c:pt>
                <c:pt idx="14">
                  <c:v>0.64882474401897816</c:v>
                </c:pt>
                <c:pt idx="15">
                  <c:v>0.62737513851065263</c:v>
                </c:pt>
                <c:pt idx="16">
                  <c:v>0.64468847464704893</c:v>
                </c:pt>
                <c:pt idx="17">
                  <c:v>0.54959610943104897</c:v>
                </c:pt>
                <c:pt idx="18">
                  <c:v>0.26642288750889204</c:v>
                </c:pt>
                <c:pt idx="19">
                  <c:v>9.8232312167382554E-2</c:v>
                </c:pt>
                <c:pt idx="20">
                  <c:v>0.58825737819616963</c:v>
                </c:pt>
                <c:pt idx="21">
                  <c:v>0.30530457107260101</c:v>
                </c:pt>
                <c:pt idx="22">
                  <c:v>0.29903245850592219</c:v>
                </c:pt>
                <c:pt idx="23">
                  <c:v>0.50269799152392924</c:v>
                </c:pt>
                <c:pt idx="24">
                  <c:v>0.27852463526594817</c:v>
                </c:pt>
                <c:pt idx="25">
                  <c:v>0.91021387605544057</c:v>
                </c:pt>
                <c:pt idx="26">
                  <c:v>0.44946294600052783</c:v>
                </c:pt>
                <c:pt idx="27">
                  <c:v>0.23963358203836602</c:v>
                </c:pt>
                <c:pt idx="28">
                  <c:v>0.32805851065036734</c:v>
                </c:pt>
                <c:pt idx="29">
                  <c:v>0.16125522710408016</c:v>
                </c:pt>
                <c:pt idx="30">
                  <c:v>0.2712074289350726</c:v>
                </c:pt>
                <c:pt idx="31">
                  <c:v>0.30457712372256124</c:v>
                </c:pt>
                <c:pt idx="32">
                  <c:v>0.8957411183421421</c:v>
                </c:pt>
                <c:pt idx="33">
                  <c:v>0.73658558525695261</c:v>
                </c:pt>
                <c:pt idx="34">
                  <c:v>0.28331041236079657</c:v>
                </c:pt>
                <c:pt idx="35">
                  <c:v>0.29822959771310809</c:v>
                </c:pt>
                <c:pt idx="36">
                  <c:v>0.30112180993370002</c:v>
                </c:pt>
                <c:pt idx="37">
                  <c:v>0.16279631085592983</c:v>
                </c:pt>
                <c:pt idx="38">
                  <c:v>0.18164490301460515</c:v>
                </c:pt>
                <c:pt idx="39">
                  <c:v>1.1598967694917872</c:v>
                </c:pt>
                <c:pt idx="40">
                  <c:v>0.42800851475208684</c:v>
                </c:pt>
                <c:pt idx="41">
                  <c:v>0.384857602622315</c:v>
                </c:pt>
                <c:pt idx="42">
                  <c:v>0.15585437107477212</c:v>
                </c:pt>
                <c:pt idx="43">
                  <c:v>0.34535029295477387</c:v>
                </c:pt>
                <c:pt idx="44">
                  <c:v>0.10687510530248268</c:v>
                </c:pt>
                <c:pt idx="45">
                  <c:v>0.18731455224010704</c:v>
                </c:pt>
                <c:pt idx="46">
                  <c:v>0.14349766624950283</c:v>
                </c:pt>
                <c:pt idx="47">
                  <c:v>0.18016866701039758</c:v>
                </c:pt>
                <c:pt idx="48">
                  <c:v>0.30253809162884954</c:v>
                </c:pt>
                <c:pt idx="49">
                  <c:v>0.14733777182516844</c:v>
                </c:pt>
              </c:numCache>
            </c:numRef>
          </c:yVal>
          <c:bubbleSize>
            <c:numRef>
              <c:f>Sheet1!$C$2:$C$193</c:f>
              <c:numCache>
                <c:formatCode>#,##0</c:formatCode>
                <c:ptCount val="192"/>
                <c:pt idx="0">
                  <c:v>54118301</c:v>
                </c:pt>
                <c:pt idx="1">
                  <c:v>32935073</c:v>
                </c:pt>
                <c:pt idx="2">
                  <c:v>24165302</c:v>
                </c:pt>
                <c:pt idx="3">
                  <c:v>12921557</c:v>
                </c:pt>
                <c:pt idx="4">
                  <c:v>2213063</c:v>
                </c:pt>
                <c:pt idx="5">
                  <c:v>4003471</c:v>
                </c:pt>
                <c:pt idx="6">
                  <c:v>1746436</c:v>
                </c:pt>
                <c:pt idx="7">
                  <c:v>1611725</c:v>
                </c:pt>
                <c:pt idx="8">
                  <c:v>936992</c:v>
                </c:pt>
                <c:pt idx="9">
                  <c:v>1213432</c:v>
                </c:pt>
                <c:pt idx="10">
                  <c:v>1106331</c:v>
                </c:pt>
                <c:pt idx="11">
                  <c:v>1156061</c:v>
                </c:pt>
                <c:pt idx="12">
                  <c:v>1776521</c:v>
                </c:pt>
                <c:pt idx="13">
                  <c:v>555825</c:v>
                </c:pt>
                <c:pt idx="14">
                  <c:v>441536</c:v>
                </c:pt>
                <c:pt idx="15">
                  <c:v>528501</c:v>
                </c:pt>
                <c:pt idx="16">
                  <c:v>432075</c:v>
                </c:pt>
                <c:pt idx="17">
                  <c:v>435435</c:v>
                </c:pt>
                <c:pt idx="18">
                  <c:v>433735</c:v>
                </c:pt>
                <c:pt idx="19">
                  <c:v>1448636</c:v>
                </c:pt>
                <c:pt idx="20">
                  <c:v>327005</c:v>
                </c:pt>
                <c:pt idx="21">
                  <c:v>384930</c:v>
                </c:pt>
                <c:pt idx="22">
                  <c:v>393461</c:v>
                </c:pt>
                <c:pt idx="23">
                  <c:v>148308</c:v>
                </c:pt>
                <c:pt idx="24">
                  <c:v>256628</c:v>
                </c:pt>
                <c:pt idx="25">
                  <c:v>152820</c:v>
                </c:pt>
                <c:pt idx="26">
                  <c:v>187258</c:v>
                </c:pt>
                <c:pt idx="27">
                  <c:v>272760</c:v>
                </c:pt>
                <c:pt idx="28">
                  <c:v>225000</c:v>
                </c:pt>
                <c:pt idx="29">
                  <c:v>230746</c:v>
                </c:pt>
                <c:pt idx="30">
                  <c:v>180456</c:v>
                </c:pt>
                <c:pt idx="31">
                  <c:v>116036</c:v>
                </c:pt>
                <c:pt idx="32">
                  <c:v>25925</c:v>
                </c:pt>
                <c:pt idx="33">
                  <c:v>98858</c:v>
                </c:pt>
                <c:pt idx="34">
                  <c:v>195885</c:v>
                </c:pt>
                <c:pt idx="35">
                  <c:v>98518</c:v>
                </c:pt>
                <c:pt idx="36">
                  <c:v>117104</c:v>
                </c:pt>
                <c:pt idx="37">
                  <c:v>235127</c:v>
                </c:pt>
                <c:pt idx="38">
                  <c:v>123978</c:v>
                </c:pt>
                <c:pt idx="39">
                  <c:v>15126</c:v>
                </c:pt>
                <c:pt idx="40">
                  <c:v>63236</c:v>
                </c:pt>
                <c:pt idx="41">
                  <c:v>50563</c:v>
                </c:pt>
                <c:pt idx="42">
                  <c:v>87509</c:v>
                </c:pt>
                <c:pt idx="43">
                  <c:v>41835</c:v>
                </c:pt>
                <c:pt idx="44">
                  <c:v>43864</c:v>
                </c:pt>
                <c:pt idx="45">
                  <c:v>146671</c:v>
                </c:pt>
                <c:pt idx="46">
                  <c:v>149196</c:v>
                </c:pt>
                <c:pt idx="47">
                  <c:v>44755</c:v>
                </c:pt>
                <c:pt idx="48">
                  <c:v>34853</c:v>
                </c:pt>
                <c:pt idx="49">
                  <c:v>33557</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 val="autoZero"/>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DE7BE947-AC63-4C50-8B62-15B6C7DC9E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C70115BB-CFF4-4808-ABC6-BB037D9936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80F3E6C0-671B-447B-A7EE-7B3C02E45A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5D9CB810-D775-49ED-A638-560063F9B9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DEBF3462-9039-4712-8BB3-B3A3247C79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F156DD60-51F8-4D44-B8F8-373F4CDC46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6C078EE4-FC41-4A92-A239-FEE80FD339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97A3124A-4F8D-4541-9E1B-EB73165F0B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E49ABD56-C9CE-4C5E-8C2C-BBE09564DA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62EC3077-8D2A-43BF-8CF8-1DA34BA6E7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02020DFB-0AD8-4ACC-BD64-2EBCAADA0A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56A58151-4EBD-4594-A759-FD9962300C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135384B0-5D25-4B45-9B9B-FFF1B187D8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DB9E52D5-FE51-4833-9965-6C6187ADB2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0A6CBCFA-90F2-4F53-8A35-CDE3E751F0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FB0DF48F-EEBE-4EEB-A914-B7DFBE6BB6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CEC3F092-BA9D-4DCA-9029-E5EF5D0300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083C85F8-B31C-4DDC-8E0E-8CFFFE54E4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47DC3B5E-299B-49C9-933F-B0C3578996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4E15AA32-EEFC-454A-95A8-8566F7D153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85E50093-6AF3-4670-815F-3A400C1E47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F4FDE70B-3AA5-4226-9353-4066287411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84536B7E-363D-46A7-936F-66045341F6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C2BD344E-717E-4010-B511-ED0DBDD885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A580B199-E87C-4369-B6BE-FD5388ACEC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6020D4DB-458C-4B6B-80DA-29823079E1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2A815C05-C317-417E-A920-3E882D17B4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944D2B2E-CD45-49E1-8461-436CD283A3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3F0265B8-4CAE-470F-87AD-3A8DDFC359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ABC63689-A179-409E-A1D2-0C22172929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0F2A253C-25E5-4EF4-A597-744820B3A8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552F1145-060D-41CE-BA28-24D127CCA6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89323C14-AE9E-4B9E-ACEF-93B8A1687A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3398F0BC-4409-4A7B-A516-929896318B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EB24D755-89A8-4B62-AA05-599CE735E7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8630600F-BAD8-4A4A-AC21-CAF6EA4286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45E0B1E6-E7DB-4ADF-887F-CE915DE611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14985077-D592-41E1-87F1-55397D5246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3B72F7D2-6B3A-41A1-8A95-C989543A36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0E959B8B-CB36-47C2-9EFF-380105FA78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D942DFE7-781A-45D0-82D8-69AB682D31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54B81EB1-BCA9-4035-A6C0-28450C2FA9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BF55F34B-E531-4CB1-8F00-36CCCA52C5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BF86B9DB-1970-4283-B39E-9218A8218B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AB2AAEB3-128E-40F7-97FF-D9BE53AA29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67E08AC2-FC7C-4AB7-89D2-A715252EAF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1DC71B7B-C35E-4993-8DE9-998DAC3D85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93</c:f>
              <c:numCache>
                <c:formatCode>0%;\-0%;0%</c:formatCode>
                <c:ptCount val="192"/>
                <c:pt idx="0">
                  <c:v>1.5205511183945923</c:v>
                </c:pt>
                <c:pt idx="1">
                  <c:v>1.8242651617431078</c:v>
                </c:pt>
                <c:pt idx="2">
                  <c:v>1.9446931641299241</c:v>
                </c:pt>
                <c:pt idx="3">
                  <c:v>1.3743785971181046</c:v>
                </c:pt>
                <c:pt idx="4">
                  <c:v>1.2133568327506097</c:v>
                </c:pt>
                <c:pt idx="5">
                  <c:v>0.68122302644792165</c:v>
                </c:pt>
                <c:pt idx="6">
                  <c:v>1.0735788830195876</c:v>
                </c:pt>
                <c:pt idx="7">
                  <c:v>1.0906105466517351</c:v>
                </c:pt>
                <c:pt idx="8">
                  <c:v>1.2464638055208919</c:v>
                </c:pt>
                <c:pt idx="9">
                  <c:v>2.6276289831452044</c:v>
                </c:pt>
                <c:pt idx="10">
                  <c:v>1.1064322357610548</c:v>
                </c:pt>
                <c:pt idx="11">
                  <c:v>0.85319501532146991</c:v>
                </c:pt>
                <c:pt idx="12">
                  <c:v>0.7743464365328111</c:v>
                </c:pt>
                <c:pt idx="13">
                  <c:v>1.7014605140802144</c:v>
                </c:pt>
                <c:pt idx="14">
                  <c:v>1.4722455858567116</c:v>
                </c:pt>
                <c:pt idx="15">
                  <c:v>1.2982462605289533</c:v>
                </c:pt>
                <c:pt idx="16">
                  <c:v>1.3833514134065645</c:v>
                </c:pt>
                <c:pt idx="17">
                  <c:v>0.87671584289444737</c:v>
                </c:pt>
                <c:pt idx="18">
                  <c:v>1.1442919103466598</c:v>
                </c:pt>
                <c:pt idx="19">
                  <c:v>0.79278754093426607</c:v>
                </c:pt>
                <c:pt idx="20">
                  <c:v>1.6966959176020961</c:v>
                </c:pt>
                <c:pt idx="21">
                  <c:v>1.231432894928175</c:v>
                </c:pt>
                <c:pt idx="22">
                  <c:v>1.4886670138358096</c:v>
                </c:pt>
                <c:pt idx="23">
                  <c:v>1.6014416623709915</c:v>
                </c:pt>
                <c:pt idx="24">
                  <c:v>2.0187991019872009</c:v>
                </c:pt>
                <c:pt idx="25">
                  <c:v>1.8173400102591124</c:v>
                </c:pt>
                <c:pt idx="26">
                  <c:v>2.3074631452968113</c:v>
                </c:pt>
                <c:pt idx="27">
                  <c:v>1.4051910373355561</c:v>
                </c:pt>
                <c:pt idx="28">
                  <c:v>3.2238078809443409</c:v>
                </c:pt>
                <c:pt idx="29">
                  <c:v>0.78758341953843303</c:v>
                </c:pt>
                <c:pt idx="30">
                  <c:v>0.62550976209801934</c:v>
                </c:pt>
                <c:pt idx="31">
                  <c:v>1.7096874502164956</c:v>
                </c:pt>
                <c:pt idx="32">
                  <c:v>1</c:v>
                </c:pt>
                <c:pt idx="33">
                  <c:v>2.3040084400169341</c:v>
                </c:pt>
                <c:pt idx="34">
                  <c:v>0.68754051217467449</c:v>
                </c:pt>
                <c:pt idx="35">
                  <c:v>2.6452578918511045</c:v>
                </c:pt>
                <c:pt idx="36">
                  <c:v>0.52526659449291513</c:v>
                </c:pt>
                <c:pt idx="37">
                  <c:v>0.65993703164042705</c:v>
                </c:pt>
                <c:pt idx="38">
                  <c:v>0.50485076417579766</c:v>
                </c:pt>
                <c:pt idx="39">
                  <c:v>1</c:v>
                </c:pt>
                <c:pt idx="40">
                  <c:v>1.0027843737478033</c:v>
                </c:pt>
                <c:pt idx="41">
                  <c:v>1.6500602169225536</c:v>
                </c:pt>
                <c:pt idx="42">
                  <c:v>0.98129234530269194</c:v>
                </c:pt>
                <c:pt idx="43">
                  <c:v>1.1139156627145779</c:v>
                </c:pt>
                <c:pt idx="44">
                  <c:v>1.211772687997315</c:v>
                </c:pt>
                <c:pt idx="45">
                  <c:v>0.8728761061157565</c:v>
                </c:pt>
                <c:pt idx="46">
                  <c:v>0.69652258972513958</c:v>
                </c:pt>
                <c:pt idx="47">
                  <c:v>0.66347532612180282</c:v>
                </c:pt>
                <c:pt idx="48">
                  <c:v>1.0499788078097323</c:v>
                </c:pt>
                <c:pt idx="49">
                  <c:v>0.44820220564430002</c:v>
                </c:pt>
              </c:numCache>
            </c:numRef>
          </c:xVal>
          <c:yVal>
            <c:numRef>
              <c:f>Sheet1!$B$2:$B$193</c:f>
              <c:numCache>
                <c:formatCode>0%;\-0%;0%</c:formatCode>
                <c:ptCount val="192"/>
                <c:pt idx="0">
                  <c:v>3.0852903728151539</c:v>
                </c:pt>
                <c:pt idx="1">
                  <c:v>3.3319547573296573</c:v>
                </c:pt>
                <c:pt idx="2">
                  <c:v>3.4403458842562884</c:v>
                </c:pt>
                <c:pt idx="3">
                  <c:v>1.5287924854883865</c:v>
                </c:pt>
                <c:pt idx="4">
                  <c:v>1.0281931200653487</c:v>
                </c:pt>
                <c:pt idx="5">
                  <c:v>0.80216040420533041</c:v>
                </c:pt>
                <c:pt idx="6">
                  <c:v>1.0004182203335177</c:v>
                </c:pt>
                <c:pt idx="7">
                  <c:v>0.42735580118324085</c:v>
                </c:pt>
                <c:pt idx="8">
                  <c:v>0.85158534101607519</c:v>
                </c:pt>
                <c:pt idx="9">
                  <c:v>0.98590635708915209</c:v>
                </c:pt>
                <c:pt idx="10">
                  <c:v>0.56316464505129971</c:v>
                </c:pt>
                <c:pt idx="11">
                  <c:v>0.59547063172185266</c:v>
                </c:pt>
                <c:pt idx="12">
                  <c:v>0.5666869203661371</c:v>
                </c:pt>
                <c:pt idx="13">
                  <c:v>0.50080532012183276</c:v>
                </c:pt>
                <c:pt idx="14">
                  <c:v>0.64882474401897816</c:v>
                </c:pt>
                <c:pt idx="15">
                  <c:v>0.62737513851065263</c:v>
                </c:pt>
                <c:pt idx="16">
                  <c:v>0.64468847464704893</c:v>
                </c:pt>
                <c:pt idx="17">
                  <c:v>0.54959610943104897</c:v>
                </c:pt>
                <c:pt idx="18">
                  <c:v>0.26642288750889204</c:v>
                </c:pt>
                <c:pt idx="19">
                  <c:v>9.8232312167382554E-2</c:v>
                </c:pt>
                <c:pt idx="20">
                  <c:v>0.58825737819616963</c:v>
                </c:pt>
                <c:pt idx="21">
                  <c:v>0.30530457107260101</c:v>
                </c:pt>
                <c:pt idx="22">
                  <c:v>0.29903245850592219</c:v>
                </c:pt>
                <c:pt idx="23">
                  <c:v>0.50269799152392924</c:v>
                </c:pt>
                <c:pt idx="24">
                  <c:v>0.27852463526594817</c:v>
                </c:pt>
                <c:pt idx="25">
                  <c:v>0.91021387605544057</c:v>
                </c:pt>
                <c:pt idx="26">
                  <c:v>0.44946294600052783</c:v>
                </c:pt>
                <c:pt idx="27">
                  <c:v>0.23963358203836602</c:v>
                </c:pt>
                <c:pt idx="28">
                  <c:v>0.32805851065036734</c:v>
                </c:pt>
                <c:pt idx="29">
                  <c:v>0.16125522710408016</c:v>
                </c:pt>
                <c:pt idx="30">
                  <c:v>0.2712074289350726</c:v>
                </c:pt>
                <c:pt idx="31">
                  <c:v>0.30457712372256124</c:v>
                </c:pt>
                <c:pt idx="32">
                  <c:v>0.8957411183421421</c:v>
                </c:pt>
                <c:pt idx="33">
                  <c:v>0.73658558525695261</c:v>
                </c:pt>
                <c:pt idx="34">
                  <c:v>0.28331041236079657</c:v>
                </c:pt>
                <c:pt idx="35">
                  <c:v>0.29822959771310809</c:v>
                </c:pt>
                <c:pt idx="36">
                  <c:v>0.30112180993370002</c:v>
                </c:pt>
                <c:pt idx="37">
                  <c:v>0.16279631085592983</c:v>
                </c:pt>
                <c:pt idx="38">
                  <c:v>0.18164490301460515</c:v>
                </c:pt>
                <c:pt idx="39">
                  <c:v>1.1598967694917872</c:v>
                </c:pt>
                <c:pt idx="40">
                  <c:v>0.42800851475208684</c:v>
                </c:pt>
                <c:pt idx="41">
                  <c:v>0.384857602622315</c:v>
                </c:pt>
                <c:pt idx="42">
                  <c:v>0.15585437107477212</c:v>
                </c:pt>
                <c:pt idx="43">
                  <c:v>0.34535029295477387</c:v>
                </c:pt>
                <c:pt idx="44">
                  <c:v>0.10687510530248268</c:v>
                </c:pt>
                <c:pt idx="45">
                  <c:v>0.18731455224010704</c:v>
                </c:pt>
                <c:pt idx="46">
                  <c:v>0.14349766624950283</c:v>
                </c:pt>
                <c:pt idx="47">
                  <c:v>0.18016866701039758</c:v>
                </c:pt>
                <c:pt idx="48">
                  <c:v>0.30253809162884954</c:v>
                </c:pt>
                <c:pt idx="49">
                  <c:v>0.14733777182516844</c:v>
                </c:pt>
              </c:numCache>
            </c:numRef>
          </c:yVal>
          <c:bubbleSize>
            <c:numRef>
              <c:f>Sheet1!$C$2:$C$193</c:f>
              <c:numCache>
                <c:formatCode>#,##0</c:formatCode>
                <c:ptCount val="192"/>
                <c:pt idx="0">
                  <c:v>54118301</c:v>
                </c:pt>
                <c:pt idx="1">
                  <c:v>32935073</c:v>
                </c:pt>
                <c:pt idx="2">
                  <c:v>24165302</c:v>
                </c:pt>
                <c:pt idx="3">
                  <c:v>12921557</c:v>
                </c:pt>
                <c:pt idx="4">
                  <c:v>2213063</c:v>
                </c:pt>
                <c:pt idx="5">
                  <c:v>4003471</c:v>
                </c:pt>
                <c:pt idx="6">
                  <c:v>1746436</c:v>
                </c:pt>
                <c:pt idx="7">
                  <c:v>1611725</c:v>
                </c:pt>
                <c:pt idx="8">
                  <c:v>936992</c:v>
                </c:pt>
                <c:pt idx="9">
                  <c:v>1213432</c:v>
                </c:pt>
                <c:pt idx="10">
                  <c:v>1106331</c:v>
                </c:pt>
                <c:pt idx="11">
                  <c:v>1156061</c:v>
                </c:pt>
                <c:pt idx="12">
                  <c:v>1776521</c:v>
                </c:pt>
                <c:pt idx="13">
                  <c:v>555825</c:v>
                </c:pt>
                <c:pt idx="14">
                  <c:v>441536</c:v>
                </c:pt>
                <c:pt idx="15">
                  <c:v>528501</c:v>
                </c:pt>
                <c:pt idx="16">
                  <c:v>432075</c:v>
                </c:pt>
                <c:pt idx="17">
                  <c:v>435435</c:v>
                </c:pt>
                <c:pt idx="18">
                  <c:v>433735</c:v>
                </c:pt>
                <c:pt idx="19">
                  <c:v>1448636</c:v>
                </c:pt>
                <c:pt idx="20">
                  <c:v>327005</c:v>
                </c:pt>
                <c:pt idx="21">
                  <c:v>384930</c:v>
                </c:pt>
                <c:pt idx="22">
                  <c:v>393461</c:v>
                </c:pt>
                <c:pt idx="23">
                  <c:v>148308</c:v>
                </c:pt>
                <c:pt idx="24">
                  <c:v>256628</c:v>
                </c:pt>
                <c:pt idx="25">
                  <c:v>152820</c:v>
                </c:pt>
                <c:pt idx="26">
                  <c:v>187258</c:v>
                </c:pt>
                <c:pt idx="27">
                  <c:v>272760</c:v>
                </c:pt>
                <c:pt idx="28">
                  <c:v>225000</c:v>
                </c:pt>
                <c:pt idx="29">
                  <c:v>230746</c:v>
                </c:pt>
                <c:pt idx="30">
                  <c:v>180456</c:v>
                </c:pt>
                <c:pt idx="31">
                  <c:v>116036</c:v>
                </c:pt>
                <c:pt idx="32">
                  <c:v>25925</c:v>
                </c:pt>
                <c:pt idx="33">
                  <c:v>98858</c:v>
                </c:pt>
                <c:pt idx="34">
                  <c:v>195885</c:v>
                </c:pt>
                <c:pt idx="35">
                  <c:v>98518</c:v>
                </c:pt>
                <c:pt idx="36">
                  <c:v>117104</c:v>
                </c:pt>
                <c:pt idx="37">
                  <c:v>235127</c:v>
                </c:pt>
                <c:pt idx="38">
                  <c:v>123978</c:v>
                </c:pt>
                <c:pt idx="39">
                  <c:v>15126</c:v>
                </c:pt>
                <c:pt idx="40">
                  <c:v>63236</c:v>
                </c:pt>
                <c:pt idx="41">
                  <c:v>50563</c:v>
                </c:pt>
                <c:pt idx="42">
                  <c:v>87509</c:v>
                </c:pt>
                <c:pt idx="43">
                  <c:v>41835</c:v>
                </c:pt>
                <c:pt idx="44">
                  <c:v>43864</c:v>
                </c:pt>
                <c:pt idx="45">
                  <c:v>146671</c:v>
                </c:pt>
                <c:pt idx="46">
                  <c:v>149196</c:v>
                </c:pt>
                <c:pt idx="47">
                  <c:v>44755</c:v>
                </c:pt>
                <c:pt idx="48">
                  <c:v>34853</c:v>
                </c:pt>
                <c:pt idx="49">
                  <c:v>33557</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 val="autoZero"/>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940D9AD5-3E6C-4C64-BBBE-12B31CD534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9AEB8EDB-51CD-45CD-9294-0B7DB8246E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C34FA087-C3AF-4E30-9FC7-01114F4711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CCE0EA78-8F0C-4705-859A-5CA8F69A42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EB7DF4D1-9F31-416C-941A-116B65C8A6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314647A5-3865-4D5F-AFE4-DE2CFE6034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AD26D8C4-98F8-4C71-8DFC-336ACCCC6B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322A8E14-EC58-4B7C-A508-B52F54CA71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0435B203-CD3C-4CB1-A983-8E04B80481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4CB6D647-FD12-43DB-B471-4C87E6B104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70084B31-BAFF-49F0-92FB-891164EAD0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82B2626A-EE22-414F-B053-A5BE8F665D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1FBFC4EF-BF90-4A19-87FA-785D1EFE27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3ADB9E3C-D121-4EE1-8B2F-14BF62F17A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258E0D16-B927-426D-90C0-907A6A4EC7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5F12A342-DAC8-4EDA-8A42-01BA53828A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994A51C9-0502-438C-9965-D9AA0A67A5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3970FFB9-9F3F-4395-AD10-5853C01336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37F4D4F5-BB3C-4081-9A25-5925E0B698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6D034C1B-3267-4207-929D-95CBF015F3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EC89EC92-B727-4FC1-A035-29CEC2CBEB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9C410E48-192A-4E1C-A3A4-9A3E788487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FAF8630E-1411-495B-952A-F1B07285C9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731F8BA0-4E84-49D1-9781-8A58B33A22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D7CC1187-094B-4DD1-B486-7BDB484B3A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140CAF75-5EFF-4F01-903A-6F2E0C85F7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D8396162-BA09-4B7A-A207-885AEA1444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85596037-CB3C-4B0A-AE31-2EA1FCC5C7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805919AF-D01B-47C7-9C17-3717BF537F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E24E779C-F7DF-4060-9748-31E4B1626A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0C9C5CB4-E67F-407F-A248-F124FCC69C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5CCFCB53-F213-43D9-A7F1-011643843D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FDBD47B2-7A7E-4AC1-B9B2-BEBB4BFFED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0BAA96BC-E4F0-4985-B4E1-A50C7A324A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D62CDF02-7353-4606-9E88-A666EAB054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FA31CAC9-2356-4268-B58B-B015E99687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1E5D159B-7F84-492D-8710-B4F77712FF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9925C067-D202-49C2-BBD5-8471D58A7A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684E21D8-DBB2-4B38-9DD1-DCC6A1DC66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12955D1E-466F-44F8-AE2D-34B3C5D150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C88ADEAD-91A5-4453-958E-FC02594C44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FD432ED4-A3D3-45E7-809C-D992C32A91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7406DC0D-4038-4910-B7C6-A062B331F7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44545854-295E-433A-B093-2E18172094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4CEE7BC6-4FBF-4E20-8E30-5762CD813B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2F22D4C8-9C20-4685-BE29-6F76E8F169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50FD976A-A9F6-4E05-9137-E9D9FF9D10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93</c:f>
              <c:numCache>
                <c:formatCode>0%;\-0%;0%</c:formatCode>
                <c:ptCount val="192"/>
                <c:pt idx="0">
                  <c:v>1.5205511183945923</c:v>
                </c:pt>
                <c:pt idx="1">
                  <c:v>1.8242651617431078</c:v>
                </c:pt>
                <c:pt idx="2">
                  <c:v>1.9446931641299241</c:v>
                </c:pt>
                <c:pt idx="3">
                  <c:v>1.3743785971181046</c:v>
                </c:pt>
                <c:pt idx="4">
                  <c:v>1.2133568327506097</c:v>
                </c:pt>
                <c:pt idx="5">
                  <c:v>0.68122302644792165</c:v>
                </c:pt>
                <c:pt idx="6">
                  <c:v>1.0735788830195876</c:v>
                </c:pt>
                <c:pt idx="7">
                  <c:v>1.0906105466517351</c:v>
                </c:pt>
                <c:pt idx="8">
                  <c:v>1.2464638055208919</c:v>
                </c:pt>
                <c:pt idx="9">
                  <c:v>2.6276289831452044</c:v>
                </c:pt>
                <c:pt idx="10">
                  <c:v>1.1064322357610548</c:v>
                </c:pt>
                <c:pt idx="11">
                  <c:v>0.85319501532146991</c:v>
                </c:pt>
                <c:pt idx="12">
                  <c:v>0.7743464365328111</c:v>
                </c:pt>
                <c:pt idx="13">
                  <c:v>1.7014605140802144</c:v>
                </c:pt>
                <c:pt idx="14">
                  <c:v>1.4722455858567116</c:v>
                </c:pt>
                <c:pt idx="15">
                  <c:v>1.2982462605289533</c:v>
                </c:pt>
                <c:pt idx="16">
                  <c:v>1.3833514134065645</c:v>
                </c:pt>
                <c:pt idx="17">
                  <c:v>0.87671584289444737</c:v>
                </c:pt>
                <c:pt idx="18">
                  <c:v>1.1442919103466598</c:v>
                </c:pt>
                <c:pt idx="19">
                  <c:v>0.79278754093426607</c:v>
                </c:pt>
                <c:pt idx="20">
                  <c:v>1.6966959176020961</c:v>
                </c:pt>
                <c:pt idx="21">
                  <c:v>1.231432894928175</c:v>
                </c:pt>
                <c:pt idx="22">
                  <c:v>1.4886670138358096</c:v>
                </c:pt>
                <c:pt idx="23">
                  <c:v>1.6014416623709915</c:v>
                </c:pt>
                <c:pt idx="24">
                  <c:v>2.0187991019872009</c:v>
                </c:pt>
                <c:pt idx="25">
                  <c:v>1.8173400102591124</c:v>
                </c:pt>
                <c:pt idx="26">
                  <c:v>2.3074631452968113</c:v>
                </c:pt>
                <c:pt idx="27">
                  <c:v>1.4051910373355561</c:v>
                </c:pt>
                <c:pt idx="28">
                  <c:v>3.2238078809443409</c:v>
                </c:pt>
                <c:pt idx="29">
                  <c:v>0.78758341953843303</c:v>
                </c:pt>
                <c:pt idx="30">
                  <c:v>0.62550976209801934</c:v>
                </c:pt>
                <c:pt idx="31">
                  <c:v>1.7096874502164956</c:v>
                </c:pt>
                <c:pt idx="32">
                  <c:v>1</c:v>
                </c:pt>
                <c:pt idx="33">
                  <c:v>2.3040084400169341</c:v>
                </c:pt>
                <c:pt idx="34">
                  <c:v>0.68754051217467449</c:v>
                </c:pt>
                <c:pt idx="35">
                  <c:v>2.6452578918511045</c:v>
                </c:pt>
                <c:pt idx="36">
                  <c:v>0.52526659449291513</c:v>
                </c:pt>
                <c:pt idx="37">
                  <c:v>0.65993703164042705</c:v>
                </c:pt>
                <c:pt idx="38">
                  <c:v>0.50485076417579766</c:v>
                </c:pt>
                <c:pt idx="39">
                  <c:v>1</c:v>
                </c:pt>
                <c:pt idx="40">
                  <c:v>1.0027843737478033</c:v>
                </c:pt>
                <c:pt idx="41">
                  <c:v>1.6500602169225536</c:v>
                </c:pt>
                <c:pt idx="42">
                  <c:v>0.98129234530269194</c:v>
                </c:pt>
                <c:pt idx="43">
                  <c:v>1.1139156627145779</c:v>
                </c:pt>
                <c:pt idx="44">
                  <c:v>1.211772687997315</c:v>
                </c:pt>
                <c:pt idx="45">
                  <c:v>0.8728761061157565</c:v>
                </c:pt>
                <c:pt idx="46">
                  <c:v>0.69652258972513958</c:v>
                </c:pt>
                <c:pt idx="47">
                  <c:v>0.66347532612180282</c:v>
                </c:pt>
                <c:pt idx="48">
                  <c:v>1.0499788078097323</c:v>
                </c:pt>
                <c:pt idx="49">
                  <c:v>0.44820220564430002</c:v>
                </c:pt>
              </c:numCache>
            </c:numRef>
          </c:xVal>
          <c:yVal>
            <c:numRef>
              <c:f>Sheet1!$B$2:$B$193</c:f>
              <c:numCache>
                <c:formatCode>0%;\-0%;0%</c:formatCode>
                <c:ptCount val="192"/>
                <c:pt idx="0">
                  <c:v>3.0852903728151539</c:v>
                </c:pt>
                <c:pt idx="1">
                  <c:v>3.3319547573296573</c:v>
                </c:pt>
                <c:pt idx="2">
                  <c:v>3.4403458842562884</c:v>
                </c:pt>
                <c:pt idx="3">
                  <c:v>1.5287924854883865</c:v>
                </c:pt>
                <c:pt idx="4">
                  <c:v>1.0281931200653487</c:v>
                </c:pt>
                <c:pt idx="5">
                  <c:v>0.80216040420533041</c:v>
                </c:pt>
                <c:pt idx="6">
                  <c:v>1.0004182203335177</c:v>
                </c:pt>
                <c:pt idx="7">
                  <c:v>0.42735580118324085</c:v>
                </c:pt>
                <c:pt idx="8">
                  <c:v>0.85158534101607519</c:v>
                </c:pt>
                <c:pt idx="9">
                  <c:v>0.98590635708915209</c:v>
                </c:pt>
                <c:pt idx="10">
                  <c:v>0.56316464505129971</c:v>
                </c:pt>
                <c:pt idx="11">
                  <c:v>0.59547063172185266</c:v>
                </c:pt>
                <c:pt idx="12">
                  <c:v>0.5666869203661371</c:v>
                </c:pt>
                <c:pt idx="13">
                  <c:v>0.50080532012183276</c:v>
                </c:pt>
                <c:pt idx="14">
                  <c:v>0.64882474401897816</c:v>
                </c:pt>
                <c:pt idx="15">
                  <c:v>0.62737513851065263</c:v>
                </c:pt>
                <c:pt idx="16">
                  <c:v>0.64468847464704893</c:v>
                </c:pt>
                <c:pt idx="17">
                  <c:v>0.54959610943104897</c:v>
                </c:pt>
                <c:pt idx="18">
                  <c:v>0.26642288750889204</c:v>
                </c:pt>
                <c:pt idx="19">
                  <c:v>9.8232312167382554E-2</c:v>
                </c:pt>
                <c:pt idx="20">
                  <c:v>0.58825737819616963</c:v>
                </c:pt>
                <c:pt idx="21">
                  <c:v>0.30530457107260101</c:v>
                </c:pt>
                <c:pt idx="22">
                  <c:v>0.29903245850592219</c:v>
                </c:pt>
                <c:pt idx="23">
                  <c:v>0.50269799152392924</c:v>
                </c:pt>
                <c:pt idx="24">
                  <c:v>0.27852463526594817</c:v>
                </c:pt>
                <c:pt idx="25">
                  <c:v>0.91021387605544057</c:v>
                </c:pt>
                <c:pt idx="26">
                  <c:v>0.44946294600052783</c:v>
                </c:pt>
                <c:pt idx="27">
                  <c:v>0.23963358203836602</c:v>
                </c:pt>
                <c:pt idx="28">
                  <c:v>0.32805851065036734</c:v>
                </c:pt>
                <c:pt idx="29">
                  <c:v>0.16125522710408016</c:v>
                </c:pt>
                <c:pt idx="30">
                  <c:v>0.2712074289350726</c:v>
                </c:pt>
                <c:pt idx="31">
                  <c:v>0.30457712372256124</c:v>
                </c:pt>
                <c:pt idx="32">
                  <c:v>0.8957411183421421</c:v>
                </c:pt>
                <c:pt idx="33">
                  <c:v>0.73658558525695261</c:v>
                </c:pt>
                <c:pt idx="34">
                  <c:v>0.28331041236079657</c:v>
                </c:pt>
                <c:pt idx="35">
                  <c:v>0.29822959771310809</c:v>
                </c:pt>
                <c:pt idx="36">
                  <c:v>0.30112180993370002</c:v>
                </c:pt>
                <c:pt idx="37">
                  <c:v>0.16279631085592983</c:v>
                </c:pt>
                <c:pt idx="38">
                  <c:v>0.18164490301460515</c:v>
                </c:pt>
                <c:pt idx="39">
                  <c:v>1.1598967694917872</c:v>
                </c:pt>
                <c:pt idx="40">
                  <c:v>0.42800851475208684</c:v>
                </c:pt>
                <c:pt idx="41">
                  <c:v>0.384857602622315</c:v>
                </c:pt>
                <c:pt idx="42">
                  <c:v>0.15585437107477212</c:v>
                </c:pt>
                <c:pt idx="43">
                  <c:v>0.34535029295477387</c:v>
                </c:pt>
                <c:pt idx="44">
                  <c:v>0.10687510530248268</c:v>
                </c:pt>
                <c:pt idx="45">
                  <c:v>0.18731455224010704</c:v>
                </c:pt>
                <c:pt idx="46">
                  <c:v>0.14349766624950283</c:v>
                </c:pt>
                <c:pt idx="47">
                  <c:v>0.18016866701039758</c:v>
                </c:pt>
                <c:pt idx="48">
                  <c:v>0.30253809162884954</c:v>
                </c:pt>
                <c:pt idx="49">
                  <c:v>0.14733777182516844</c:v>
                </c:pt>
              </c:numCache>
            </c:numRef>
          </c:yVal>
          <c:bubbleSize>
            <c:numRef>
              <c:f>Sheet1!$C$2:$C$193</c:f>
              <c:numCache>
                <c:formatCode>#,##0</c:formatCode>
                <c:ptCount val="192"/>
                <c:pt idx="0">
                  <c:v>54118301</c:v>
                </c:pt>
                <c:pt idx="1">
                  <c:v>32935073</c:v>
                </c:pt>
                <c:pt idx="2">
                  <c:v>24165302</c:v>
                </c:pt>
                <c:pt idx="3">
                  <c:v>12921557</c:v>
                </c:pt>
                <c:pt idx="4">
                  <c:v>2213063</c:v>
                </c:pt>
                <c:pt idx="5">
                  <c:v>4003471</c:v>
                </c:pt>
                <c:pt idx="6">
                  <c:v>1746436</c:v>
                </c:pt>
                <c:pt idx="7">
                  <c:v>1611725</c:v>
                </c:pt>
                <c:pt idx="8">
                  <c:v>936992</c:v>
                </c:pt>
                <c:pt idx="9">
                  <c:v>1213432</c:v>
                </c:pt>
                <c:pt idx="10">
                  <c:v>1106331</c:v>
                </c:pt>
                <c:pt idx="11">
                  <c:v>1156061</c:v>
                </c:pt>
                <c:pt idx="12">
                  <c:v>1776521</c:v>
                </c:pt>
                <c:pt idx="13">
                  <c:v>555825</c:v>
                </c:pt>
                <c:pt idx="14">
                  <c:v>441536</c:v>
                </c:pt>
                <c:pt idx="15">
                  <c:v>528501</c:v>
                </c:pt>
                <c:pt idx="16">
                  <c:v>432075</c:v>
                </c:pt>
                <c:pt idx="17">
                  <c:v>435435</c:v>
                </c:pt>
                <c:pt idx="18">
                  <c:v>433735</c:v>
                </c:pt>
                <c:pt idx="19">
                  <c:v>1448636</c:v>
                </c:pt>
                <c:pt idx="20">
                  <c:v>327005</c:v>
                </c:pt>
                <c:pt idx="21">
                  <c:v>384930</c:v>
                </c:pt>
                <c:pt idx="22">
                  <c:v>393461</c:v>
                </c:pt>
                <c:pt idx="23">
                  <c:v>148308</c:v>
                </c:pt>
                <c:pt idx="24">
                  <c:v>256628</c:v>
                </c:pt>
                <c:pt idx="25">
                  <c:v>152820</c:v>
                </c:pt>
                <c:pt idx="26">
                  <c:v>187258</c:v>
                </c:pt>
                <c:pt idx="27">
                  <c:v>272760</c:v>
                </c:pt>
                <c:pt idx="28">
                  <c:v>225000</c:v>
                </c:pt>
                <c:pt idx="29">
                  <c:v>230746</c:v>
                </c:pt>
                <c:pt idx="30">
                  <c:v>180456</c:v>
                </c:pt>
                <c:pt idx="31">
                  <c:v>116036</c:v>
                </c:pt>
                <c:pt idx="32">
                  <c:v>25925</c:v>
                </c:pt>
                <c:pt idx="33">
                  <c:v>98858</c:v>
                </c:pt>
                <c:pt idx="34">
                  <c:v>195885</c:v>
                </c:pt>
                <c:pt idx="35">
                  <c:v>98518</c:v>
                </c:pt>
                <c:pt idx="36">
                  <c:v>117104</c:v>
                </c:pt>
                <c:pt idx="37">
                  <c:v>235127</c:v>
                </c:pt>
                <c:pt idx="38">
                  <c:v>123978</c:v>
                </c:pt>
                <c:pt idx="39">
                  <c:v>15126</c:v>
                </c:pt>
                <c:pt idx="40">
                  <c:v>63236</c:v>
                </c:pt>
                <c:pt idx="41">
                  <c:v>50563</c:v>
                </c:pt>
                <c:pt idx="42">
                  <c:v>87509</c:v>
                </c:pt>
                <c:pt idx="43">
                  <c:v>41835</c:v>
                </c:pt>
                <c:pt idx="44">
                  <c:v>43864</c:v>
                </c:pt>
                <c:pt idx="45">
                  <c:v>146671</c:v>
                </c:pt>
                <c:pt idx="46">
                  <c:v>149196</c:v>
                </c:pt>
                <c:pt idx="47">
                  <c:v>44755</c:v>
                </c:pt>
                <c:pt idx="48">
                  <c:v>34853</c:v>
                </c:pt>
                <c:pt idx="49">
                  <c:v>33557</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 val="autoZero"/>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F41E1F51-4F36-4504-B026-CE29DC3952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67C92906-80FC-4677-BC24-A3747066B8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3525BCD9-72EC-40CF-9647-2077072695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FE8C83CD-3B70-4559-8780-77C6B06E99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BC60AC2C-E0A2-4306-BD92-4FF0D101E4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8BC23879-5377-47D7-9214-B91EA138E7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1E11CFA6-1C90-4B7A-8343-64BA9AC8CA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CBB722B7-1DE5-4751-80DA-194ED64A4D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7822DF1B-6214-4C65-B19F-7FE3DE6C8C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799B8BF0-17FF-4397-B0D0-27A29EB026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92E99368-EC81-4946-8522-603F8EEAAA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6FBD4554-8374-468D-BDB5-D5B636E665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5A377EF9-CD4F-453F-B585-8AFAE5FED6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34EAA3DA-0A66-4612-B37E-C52A8A2CC8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54F405FF-24DD-4FDF-ABAC-A4F5173C1B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F69C208C-73AC-4115-A28A-8807D84EAA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B896874D-2561-4DEC-A561-F3897B92F4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D5E919CA-8774-498E-B512-E9FBF151D7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78035FD2-689F-47F8-BFE5-AA8591AA40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96928792-AAD0-4B53-84EB-41E4FDA847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B4F24864-2340-4254-9B54-A6196E3F29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D9D96264-3E74-40FF-8CC4-DC3F08BF36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25002B35-84ED-4FD3-93CD-D9193558F6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F3CE817E-50DE-4551-BF45-4F9ABC9C96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3BA3AAF5-FBE2-46D4-9D73-FAC33A100E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165E1095-A1CD-413E-8CED-EB702A0BFE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ADEDC6C0-8B36-474E-A4A3-06E9CEF3B5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983D279E-A092-4638-8901-96002F2818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2B3784BB-15B3-4ECA-9A4E-17E4059008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1087BC41-7FE2-446D-B796-FAE29B887A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A0BE0098-9F92-40F1-8C8B-5A44CC40A0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DD7B1B6D-70D6-4166-BEB8-D6BA6DB66F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981F44EA-CDCA-4268-8AA9-954810B8AE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87011D24-6363-4CBF-877F-26D19D880A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D10E1A6C-25C2-42DF-B246-2DC3AEEEBA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00F02E88-7229-4753-93B9-DDBA1F05D7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177C4BB1-161E-49F9-AD3F-E56915DB8B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4C556FCF-21A5-4708-9EED-1A50B0198F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F5FF95D4-E9C6-4F45-8680-1EB0A90ECB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54A3C47D-2DB4-4074-AB16-3CAACB7E49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3555B6D0-D8AF-49AB-8065-1E2E56063E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E35A48F7-C83D-4CE1-91B6-6D9C271D51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589621EA-1176-4355-B5A7-C90907D0D1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4F9F8EAD-7215-42C5-87EC-DF5E3590E2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31FE29A6-6749-4227-BB03-C5B57953FA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EE8F11F8-E2C7-4087-A8C8-CFC4723BCE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E4489E1A-43D7-403B-9588-959D1E9A15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93</c:f>
              <c:numCache>
                <c:formatCode>0%;\-0%;0%</c:formatCode>
                <c:ptCount val="192"/>
                <c:pt idx="0">
                  <c:v>1.5205511183945923</c:v>
                </c:pt>
                <c:pt idx="1">
                  <c:v>1.8242651617431078</c:v>
                </c:pt>
                <c:pt idx="2">
                  <c:v>1.9446931641299241</c:v>
                </c:pt>
                <c:pt idx="3">
                  <c:v>1.3743785971181046</c:v>
                </c:pt>
                <c:pt idx="4">
                  <c:v>1.2133568327506097</c:v>
                </c:pt>
                <c:pt idx="5">
                  <c:v>0.68122302644792165</c:v>
                </c:pt>
                <c:pt idx="6">
                  <c:v>1.0735788830195876</c:v>
                </c:pt>
                <c:pt idx="7">
                  <c:v>1.0906105466517351</c:v>
                </c:pt>
                <c:pt idx="8">
                  <c:v>1.2464638055208919</c:v>
                </c:pt>
                <c:pt idx="9">
                  <c:v>2.6276289831452044</c:v>
                </c:pt>
                <c:pt idx="10">
                  <c:v>1.1064322357610548</c:v>
                </c:pt>
                <c:pt idx="11">
                  <c:v>0.85319501532146991</c:v>
                </c:pt>
                <c:pt idx="12">
                  <c:v>0.7743464365328111</c:v>
                </c:pt>
                <c:pt idx="13">
                  <c:v>1.7014605140802144</c:v>
                </c:pt>
                <c:pt idx="14">
                  <c:v>1.4722455858567116</c:v>
                </c:pt>
                <c:pt idx="15">
                  <c:v>1.2982462605289533</c:v>
                </c:pt>
                <c:pt idx="16">
                  <c:v>1.3833514134065645</c:v>
                </c:pt>
                <c:pt idx="17">
                  <c:v>0.87671584289444737</c:v>
                </c:pt>
                <c:pt idx="18">
                  <c:v>1.1442919103466598</c:v>
                </c:pt>
                <c:pt idx="19">
                  <c:v>0.79278754093426607</c:v>
                </c:pt>
                <c:pt idx="20">
                  <c:v>1.6966959176020961</c:v>
                </c:pt>
                <c:pt idx="21">
                  <c:v>1.231432894928175</c:v>
                </c:pt>
                <c:pt idx="22">
                  <c:v>1.4886670138358096</c:v>
                </c:pt>
                <c:pt idx="23">
                  <c:v>1.6014416623709915</c:v>
                </c:pt>
                <c:pt idx="24">
                  <c:v>2.0187991019872009</c:v>
                </c:pt>
                <c:pt idx="25">
                  <c:v>1.8173400102591124</c:v>
                </c:pt>
                <c:pt idx="26">
                  <c:v>2.3074631452968113</c:v>
                </c:pt>
                <c:pt idx="27">
                  <c:v>1.4051910373355561</c:v>
                </c:pt>
                <c:pt idx="28">
                  <c:v>3.2238078809443409</c:v>
                </c:pt>
                <c:pt idx="29">
                  <c:v>0.78758341953843303</c:v>
                </c:pt>
                <c:pt idx="30">
                  <c:v>0.62550976209801934</c:v>
                </c:pt>
                <c:pt idx="31">
                  <c:v>1.7096874502164956</c:v>
                </c:pt>
                <c:pt idx="32">
                  <c:v>1</c:v>
                </c:pt>
                <c:pt idx="33">
                  <c:v>2.3040084400169341</c:v>
                </c:pt>
                <c:pt idx="34">
                  <c:v>0.68754051217467449</c:v>
                </c:pt>
                <c:pt idx="35">
                  <c:v>2.6452578918511045</c:v>
                </c:pt>
                <c:pt idx="36">
                  <c:v>0.52526659449291513</c:v>
                </c:pt>
                <c:pt idx="37">
                  <c:v>0.65993703164042705</c:v>
                </c:pt>
                <c:pt idx="38">
                  <c:v>0.50485076417579766</c:v>
                </c:pt>
                <c:pt idx="39">
                  <c:v>1</c:v>
                </c:pt>
                <c:pt idx="40">
                  <c:v>1.0027843737478033</c:v>
                </c:pt>
                <c:pt idx="41">
                  <c:v>1.6500602169225536</c:v>
                </c:pt>
                <c:pt idx="42">
                  <c:v>0.98129234530269194</c:v>
                </c:pt>
                <c:pt idx="43">
                  <c:v>1.1139156627145779</c:v>
                </c:pt>
                <c:pt idx="44">
                  <c:v>1.211772687997315</c:v>
                </c:pt>
                <c:pt idx="45">
                  <c:v>0.8728761061157565</c:v>
                </c:pt>
                <c:pt idx="46">
                  <c:v>0.69652258972513958</c:v>
                </c:pt>
                <c:pt idx="47">
                  <c:v>0.66347532612180282</c:v>
                </c:pt>
                <c:pt idx="48">
                  <c:v>1.0499788078097323</c:v>
                </c:pt>
                <c:pt idx="49">
                  <c:v>0.44820220564430002</c:v>
                </c:pt>
              </c:numCache>
            </c:numRef>
          </c:xVal>
          <c:yVal>
            <c:numRef>
              <c:f>Sheet1!$B$2:$B$193</c:f>
              <c:numCache>
                <c:formatCode>0%;\-0%;0%</c:formatCode>
                <c:ptCount val="192"/>
                <c:pt idx="0">
                  <c:v>3.0852903728151539</c:v>
                </c:pt>
                <c:pt idx="1">
                  <c:v>3.3319547573296573</c:v>
                </c:pt>
                <c:pt idx="2">
                  <c:v>3.4403458842562884</c:v>
                </c:pt>
                <c:pt idx="3">
                  <c:v>1.5287924854883865</c:v>
                </c:pt>
                <c:pt idx="4">
                  <c:v>1.0281931200653487</c:v>
                </c:pt>
                <c:pt idx="5">
                  <c:v>0.80216040420533041</c:v>
                </c:pt>
                <c:pt idx="6">
                  <c:v>1.0004182203335177</c:v>
                </c:pt>
                <c:pt idx="7">
                  <c:v>0.42735580118324085</c:v>
                </c:pt>
                <c:pt idx="8">
                  <c:v>0.85158534101607519</c:v>
                </c:pt>
                <c:pt idx="9">
                  <c:v>0.98590635708915209</c:v>
                </c:pt>
                <c:pt idx="10">
                  <c:v>0.56316464505129971</c:v>
                </c:pt>
                <c:pt idx="11">
                  <c:v>0.59547063172185266</c:v>
                </c:pt>
                <c:pt idx="12">
                  <c:v>0.5666869203661371</c:v>
                </c:pt>
                <c:pt idx="13">
                  <c:v>0.50080532012183276</c:v>
                </c:pt>
                <c:pt idx="14">
                  <c:v>0.64882474401897816</c:v>
                </c:pt>
                <c:pt idx="15">
                  <c:v>0.62737513851065263</c:v>
                </c:pt>
                <c:pt idx="16">
                  <c:v>0.64468847464704893</c:v>
                </c:pt>
                <c:pt idx="17">
                  <c:v>0.54959610943104897</c:v>
                </c:pt>
                <c:pt idx="18">
                  <c:v>0.26642288750889204</c:v>
                </c:pt>
                <c:pt idx="19">
                  <c:v>9.8232312167382554E-2</c:v>
                </c:pt>
                <c:pt idx="20">
                  <c:v>0.58825737819616963</c:v>
                </c:pt>
                <c:pt idx="21">
                  <c:v>0.30530457107260101</c:v>
                </c:pt>
                <c:pt idx="22">
                  <c:v>0.29903245850592219</c:v>
                </c:pt>
                <c:pt idx="23">
                  <c:v>0.50269799152392924</c:v>
                </c:pt>
                <c:pt idx="24">
                  <c:v>0.27852463526594817</c:v>
                </c:pt>
                <c:pt idx="25">
                  <c:v>0.91021387605544057</c:v>
                </c:pt>
                <c:pt idx="26">
                  <c:v>0.44946294600052783</c:v>
                </c:pt>
                <c:pt idx="27">
                  <c:v>0.23963358203836602</c:v>
                </c:pt>
                <c:pt idx="28">
                  <c:v>0.32805851065036734</c:v>
                </c:pt>
                <c:pt idx="29">
                  <c:v>0.16125522710408016</c:v>
                </c:pt>
                <c:pt idx="30">
                  <c:v>0.2712074289350726</c:v>
                </c:pt>
                <c:pt idx="31">
                  <c:v>0.30457712372256124</c:v>
                </c:pt>
                <c:pt idx="32">
                  <c:v>0.8957411183421421</c:v>
                </c:pt>
                <c:pt idx="33">
                  <c:v>0.73658558525695261</c:v>
                </c:pt>
                <c:pt idx="34">
                  <c:v>0.28331041236079657</c:v>
                </c:pt>
                <c:pt idx="35">
                  <c:v>0.29822959771310809</c:v>
                </c:pt>
                <c:pt idx="36">
                  <c:v>0.30112180993370002</c:v>
                </c:pt>
                <c:pt idx="37">
                  <c:v>0.16279631085592983</c:v>
                </c:pt>
                <c:pt idx="38">
                  <c:v>0.18164490301460515</c:v>
                </c:pt>
                <c:pt idx="39">
                  <c:v>1.1598967694917872</c:v>
                </c:pt>
                <c:pt idx="40">
                  <c:v>0.42800851475208684</c:v>
                </c:pt>
                <c:pt idx="41">
                  <c:v>0.384857602622315</c:v>
                </c:pt>
                <c:pt idx="42">
                  <c:v>0.15585437107477212</c:v>
                </c:pt>
                <c:pt idx="43">
                  <c:v>0.34535029295477387</c:v>
                </c:pt>
                <c:pt idx="44">
                  <c:v>0.10687510530248268</c:v>
                </c:pt>
                <c:pt idx="45">
                  <c:v>0.18731455224010704</c:v>
                </c:pt>
                <c:pt idx="46">
                  <c:v>0.14349766624950283</c:v>
                </c:pt>
                <c:pt idx="47">
                  <c:v>0.18016866701039758</c:v>
                </c:pt>
                <c:pt idx="48">
                  <c:v>0.30253809162884954</c:v>
                </c:pt>
                <c:pt idx="49">
                  <c:v>0.14733777182516844</c:v>
                </c:pt>
              </c:numCache>
            </c:numRef>
          </c:yVal>
          <c:bubbleSize>
            <c:numRef>
              <c:f>Sheet1!$C$2:$C$193</c:f>
              <c:numCache>
                <c:formatCode>#,##0</c:formatCode>
                <c:ptCount val="192"/>
                <c:pt idx="0">
                  <c:v>54118301</c:v>
                </c:pt>
                <c:pt idx="1">
                  <c:v>32935073</c:v>
                </c:pt>
                <c:pt idx="2">
                  <c:v>24165302</c:v>
                </c:pt>
                <c:pt idx="3">
                  <c:v>12921557</c:v>
                </c:pt>
                <c:pt idx="4">
                  <c:v>2213063</c:v>
                </c:pt>
                <c:pt idx="5">
                  <c:v>4003471</c:v>
                </c:pt>
                <c:pt idx="6">
                  <c:v>1746436</c:v>
                </c:pt>
                <c:pt idx="7">
                  <c:v>1611725</c:v>
                </c:pt>
                <c:pt idx="8">
                  <c:v>936992</c:v>
                </c:pt>
                <c:pt idx="9">
                  <c:v>1213432</c:v>
                </c:pt>
                <c:pt idx="10">
                  <c:v>1106331</c:v>
                </c:pt>
                <c:pt idx="11">
                  <c:v>1156061</c:v>
                </c:pt>
                <c:pt idx="12">
                  <c:v>1776521</c:v>
                </c:pt>
                <c:pt idx="13">
                  <c:v>555825</c:v>
                </c:pt>
                <c:pt idx="14">
                  <c:v>441536</c:v>
                </c:pt>
                <c:pt idx="15">
                  <c:v>528501</c:v>
                </c:pt>
                <c:pt idx="16">
                  <c:v>432075</c:v>
                </c:pt>
                <c:pt idx="17">
                  <c:v>435435</c:v>
                </c:pt>
                <c:pt idx="18">
                  <c:v>433735</c:v>
                </c:pt>
                <c:pt idx="19">
                  <c:v>1448636</c:v>
                </c:pt>
                <c:pt idx="20">
                  <c:v>327005</c:v>
                </c:pt>
                <c:pt idx="21">
                  <c:v>384930</c:v>
                </c:pt>
                <c:pt idx="22">
                  <c:v>393461</c:v>
                </c:pt>
                <c:pt idx="23">
                  <c:v>148308</c:v>
                </c:pt>
                <c:pt idx="24">
                  <c:v>256628</c:v>
                </c:pt>
                <c:pt idx="25">
                  <c:v>152820</c:v>
                </c:pt>
                <c:pt idx="26">
                  <c:v>187258</c:v>
                </c:pt>
                <c:pt idx="27">
                  <c:v>272760</c:v>
                </c:pt>
                <c:pt idx="28">
                  <c:v>225000</c:v>
                </c:pt>
                <c:pt idx="29">
                  <c:v>230746</c:v>
                </c:pt>
                <c:pt idx="30">
                  <c:v>180456</c:v>
                </c:pt>
                <c:pt idx="31">
                  <c:v>116036</c:v>
                </c:pt>
                <c:pt idx="32">
                  <c:v>25925</c:v>
                </c:pt>
                <c:pt idx="33">
                  <c:v>98858</c:v>
                </c:pt>
                <c:pt idx="34">
                  <c:v>195885</c:v>
                </c:pt>
                <c:pt idx="35">
                  <c:v>98518</c:v>
                </c:pt>
                <c:pt idx="36">
                  <c:v>117104</c:v>
                </c:pt>
                <c:pt idx="37">
                  <c:v>235127</c:v>
                </c:pt>
                <c:pt idx="38">
                  <c:v>123978</c:v>
                </c:pt>
                <c:pt idx="39">
                  <c:v>15126</c:v>
                </c:pt>
                <c:pt idx="40">
                  <c:v>63236</c:v>
                </c:pt>
                <c:pt idx="41">
                  <c:v>50563</c:v>
                </c:pt>
                <c:pt idx="42">
                  <c:v>87509</c:v>
                </c:pt>
                <c:pt idx="43">
                  <c:v>41835</c:v>
                </c:pt>
                <c:pt idx="44">
                  <c:v>43864</c:v>
                </c:pt>
                <c:pt idx="45">
                  <c:v>146671</c:v>
                </c:pt>
                <c:pt idx="46">
                  <c:v>149196</c:v>
                </c:pt>
                <c:pt idx="47">
                  <c:v>44755</c:v>
                </c:pt>
                <c:pt idx="48">
                  <c:v>34853</c:v>
                </c:pt>
                <c:pt idx="49">
                  <c:v>33557</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 val="autoZero"/>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9110924104786"/>
          <c:y val="8.1839322839240392E-2"/>
          <c:w val="0.81936317715382545"/>
          <c:h val="0.7931890277570729"/>
        </c:manualLayout>
      </c:layout>
      <c:bubbleChart>
        <c:varyColors val="0"/>
        <c:ser>
          <c:idx val="0"/>
          <c:order val="0"/>
          <c:tx>
            <c:strRef>
              <c:f>Sheet1!$B$1</c:f>
              <c:strCache>
                <c:ptCount val="1"/>
                <c:pt idx="0">
                  <c:v>Value Uplift</c:v>
                </c:pt>
              </c:strCache>
            </c:strRef>
          </c:tx>
          <c:spPr>
            <a:solidFill>
              <a:schemeClr val="bg2"/>
            </a:solidFill>
            <a:ln>
              <a:noFill/>
            </a:ln>
            <a:effectLst/>
          </c:spPr>
          <c:invertIfNegative val="0"/>
          <c:dPt>
            <c:idx val="0"/>
            <c:invertIfNegative val="0"/>
            <c:bubble3D val="0"/>
            <c:spPr>
              <a:solidFill>
                <a:schemeClr val="bg2"/>
              </a:solidFill>
              <a:ln>
                <a:noFill/>
              </a:ln>
            </c:spPr>
            <c:extLst>
              <c:ext xmlns:c16="http://schemas.microsoft.com/office/drawing/2014/chart" uri="{C3380CC4-5D6E-409C-BE32-E72D297353CC}">
                <c16:uniqueId val="{00000001-EE4B-4312-8F62-0B51F9A74EE8}"/>
              </c:ext>
            </c:extLst>
          </c:dPt>
          <c:dPt>
            <c:idx val="1"/>
            <c:invertIfNegative val="0"/>
            <c:bubble3D val="0"/>
            <c:extLst>
              <c:ext xmlns:c16="http://schemas.microsoft.com/office/drawing/2014/chart" uri="{C3380CC4-5D6E-409C-BE32-E72D297353CC}">
                <c16:uniqueId val="{00000002-EE4B-4312-8F62-0B51F9A74EE8}"/>
              </c:ext>
            </c:extLst>
          </c:dPt>
          <c:dPt>
            <c:idx val="2"/>
            <c:invertIfNegative val="0"/>
            <c:bubble3D val="0"/>
            <c:spPr>
              <a:solidFill>
                <a:schemeClr val="bg2"/>
              </a:solidFill>
              <a:ln>
                <a:noFill/>
              </a:ln>
            </c:spPr>
            <c:extLst>
              <c:ext xmlns:c16="http://schemas.microsoft.com/office/drawing/2014/chart" uri="{C3380CC4-5D6E-409C-BE32-E72D297353CC}">
                <c16:uniqueId val="{00000004-EE4B-4312-8F62-0B51F9A74EE8}"/>
              </c:ext>
            </c:extLst>
          </c:dPt>
          <c:dLbls>
            <c:dLbl>
              <c:idx val="0"/>
              <c:tx>
                <c:rich>
                  <a:bodyPr/>
                  <a:lstStyle/>
                  <a:p>
                    <a:fld id="{35476E37-E1AC-4A59-BC10-553D29544C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EE4B-4312-8F62-0B51F9A74EE8}"/>
                </c:ext>
              </c:extLst>
            </c:dLbl>
            <c:dLbl>
              <c:idx val="1"/>
              <c:tx>
                <c:rich>
                  <a:bodyPr/>
                  <a:lstStyle/>
                  <a:p>
                    <a:fld id="{36A3811F-339F-4FB4-A92C-FAF34C5F10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E4B-4312-8F62-0B51F9A74EE8}"/>
                </c:ext>
              </c:extLst>
            </c:dLbl>
            <c:dLbl>
              <c:idx val="2"/>
              <c:tx>
                <c:rich>
                  <a:bodyPr wrap="square" lIns="38100" tIns="19050" rIns="38100" bIns="19050" anchor="ctr">
                    <a:noAutofit/>
                  </a:bodyPr>
                  <a:lstStyle/>
                  <a:p>
                    <a:pPr>
                      <a:defRPr>
                        <a:solidFill>
                          <a:schemeClr val="tx2"/>
                        </a:solidFill>
                      </a:defRPr>
                    </a:pPr>
                    <a:fld id="{2ACB67BA-0767-428C-A44F-BC1663BC8CB5}" type="CELLRANGE">
                      <a:rPr lang="en-US" dirty="0">
                        <a:solidFill>
                          <a:schemeClr val="tx2"/>
                        </a:solidFill>
                      </a:rPr>
                      <a:pPr>
                        <a:defRPr>
                          <a:solidFill>
                            <a:schemeClr val="tx2"/>
                          </a:solidFill>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3.2037098928008795E-2"/>
                      <c:h val="0.12412726813598804"/>
                    </c:manualLayout>
                  </c15:layout>
                  <c15:dlblFieldTable/>
                  <c15:showDataLabelsRange val="1"/>
                </c:ext>
                <c:ext xmlns:c16="http://schemas.microsoft.com/office/drawing/2014/chart" uri="{C3380CC4-5D6E-409C-BE32-E72D297353CC}">
                  <c16:uniqueId val="{00000004-EE4B-4312-8F62-0B51F9A74EE8}"/>
                </c:ext>
              </c:extLst>
            </c:dLbl>
            <c:dLbl>
              <c:idx val="3"/>
              <c:tx>
                <c:rich>
                  <a:bodyPr/>
                  <a:lstStyle/>
                  <a:p>
                    <a:fld id="{84D1C26F-4FC4-41C3-92B2-C28A20A1AD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63-48D8-B751-EA6AD3438C92}"/>
                </c:ext>
              </c:extLst>
            </c:dLbl>
            <c:dLbl>
              <c:idx val="4"/>
              <c:tx>
                <c:rich>
                  <a:bodyPr/>
                  <a:lstStyle/>
                  <a:p>
                    <a:fld id="{E48DE06C-2AE8-4337-98D5-AA4D3E4933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63-48D8-B751-EA6AD3438C92}"/>
                </c:ext>
              </c:extLst>
            </c:dLbl>
            <c:dLbl>
              <c:idx val="5"/>
              <c:tx>
                <c:rich>
                  <a:bodyPr/>
                  <a:lstStyle/>
                  <a:p>
                    <a:fld id="{3C970D50-98FC-42FC-8755-DF8C95238C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363-48D8-B751-EA6AD3438C92}"/>
                </c:ext>
              </c:extLst>
            </c:dLbl>
            <c:dLbl>
              <c:idx val="6"/>
              <c:tx>
                <c:rich>
                  <a:bodyPr/>
                  <a:lstStyle/>
                  <a:p>
                    <a:fld id="{B58CE0C8-C0D6-465B-B442-707EEFEB7C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363-48D8-B751-EA6AD3438C92}"/>
                </c:ext>
              </c:extLst>
            </c:dLbl>
            <c:dLbl>
              <c:idx val="7"/>
              <c:tx>
                <c:rich>
                  <a:bodyPr/>
                  <a:lstStyle/>
                  <a:p>
                    <a:fld id="{009678F1-BD0A-4044-819E-7B9180B219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63-48D8-B751-EA6AD3438C92}"/>
                </c:ext>
              </c:extLst>
            </c:dLbl>
            <c:dLbl>
              <c:idx val="8"/>
              <c:tx>
                <c:rich>
                  <a:bodyPr/>
                  <a:lstStyle/>
                  <a:p>
                    <a:fld id="{20777377-17DF-4BEE-AF6F-845E55C701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63-48D8-B751-EA6AD3438C92}"/>
                </c:ext>
              </c:extLst>
            </c:dLbl>
            <c:dLbl>
              <c:idx val="9"/>
              <c:tx>
                <c:rich>
                  <a:bodyPr/>
                  <a:lstStyle/>
                  <a:p>
                    <a:fld id="{0B53806B-6770-41FB-B5F5-991907077A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363-48D8-B751-EA6AD3438C92}"/>
                </c:ext>
              </c:extLst>
            </c:dLbl>
            <c:dLbl>
              <c:idx val="10"/>
              <c:tx>
                <c:rich>
                  <a:bodyPr/>
                  <a:lstStyle/>
                  <a:p>
                    <a:fld id="{94DFF520-DD79-4AC6-A821-8FB68A431A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363-48D8-B751-EA6AD3438C92}"/>
                </c:ext>
              </c:extLst>
            </c:dLbl>
            <c:dLbl>
              <c:idx val="11"/>
              <c:tx>
                <c:rich>
                  <a:bodyPr/>
                  <a:lstStyle/>
                  <a:p>
                    <a:fld id="{C28D5457-7411-459E-BFEF-ECDAA1C7A9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63-48D8-B751-EA6AD3438C92}"/>
                </c:ext>
              </c:extLst>
            </c:dLbl>
            <c:dLbl>
              <c:idx val="12"/>
              <c:tx>
                <c:rich>
                  <a:bodyPr/>
                  <a:lstStyle/>
                  <a:p>
                    <a:fld id="{ABB25596-56F7-4AD8-94FE-4E31E6288F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63-48D8-B751-EA6AD3438C92}"/>
                </c:ext>
              </c:extLst>
            </c:dLbl>
            <c:dLbl>
              <c:idx val="13"/>
              <c:tx>
                <c:rich>
                  <a:bodyPr/>
                  <a:lstStyle/>
                  <a:p>
                    <a:fld id="{EC2A4369-7C66-49A6-A67D-72039F3578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3363-48D8-B751-EA6AD3438C92}"/>
                </c:ext>
              </c:extLst>
            </c:dLbl>
            <c:dLbl>
              <c:idx val="14"/>
              <c:tx>
                <c:rich>
                  <a:bodyPr/>
                  <a:lstStyle/>
                  <a:p>
                    <a:fld id="{5E6E23C1-209D-4A4F-ADE6-42FB0ADAEC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363-48D8-B751-EA6AD3438C92}"/>
                </c:ext>
              </c:extLst>
            </c:dLbl>
            <c:dLbl>
              <c:idx val="15"/>
              <c:tx>
                <c:rich>
                  <a:bodyPr/>
                  <a:lstStyle/>
                  <a:p>
                    <a:fld id="{64084056-E13B-479D-AEBD-AF5B0B732E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363-48D8-B751-EA6AD3438C92}"/>
                </c:ext>
              </c:extLst>
            </c:dLbl>
            <c:dLbl>
              <c:idx val="16"/>
              <c:tx>
                <c:rich>
                  <a:bodyPr/>
                  <a:lstStyle/>
                  <a:p>
                    <a:fld id="{35365FD2-9D87-4696-910B-3BE6DE4A1C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363-48D8-B751-EA6AD3438C92}"/>
                </c:ext>
              </c:extLst>
            </c:dLbl>
            <c:dLbl>
              <c:idx val="17"/>
              <c:tx>
                <c:rich>
                  <a:bodyPr/>
                  <a:lstStyle/>
                  <a:p>
                    <a:fld id="{0C6901A4-869A-42D1-AA79-C2D721114A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3363-48D8-B751-EA6AD3438C92}"/>
                </c:ext>
              </c:extLst>
            </c:dLbl>
            <c:dLbl>
              <c:idx val="18"/>
              <c:tx>
                <c:rich>
                  <a:bodyPr/>
                  <a:lstStyle/>
                  <a:p>
                    <a:fld id="{F993C128-7D72-4B9E-8D26-6DDB76751A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3363-48D8-B751-EA6AD3438C92}"/>
                </c:ext>
              </c:extLst>
            </c:dLbl>
            <c:dLbl>
              <c:idx val="19"/>
              <c:tx>
                <c:rich>
                  <a:bodyPr/>
                  <a:lstStyle/>
                  <a:p>
                    <a:fld id="{27A4A6EE-C145-4DFB-88A6-24077A5E9E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3363-48D8-B751-EA6AD3438C92}"/>
                </c:ext>
              </c:extLst>
            </c:dLbl>
            <c:dLbl>
              <c:idx val="20"/>
              <c:tx>
                <c:rich>
                  <a:bodyPr/>
                  <a:lstStyle/>
                  <a:p>
                    <a:fld id="{4766D6DC-7D3D-48B8-A2E9-CC988FCC13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3363-48D8-B751-EA6AD3438C92}"/>
                </c:ext>
              </c:extLst>
            </c:dLbl>
            <c:dLbl>
              <c:idx val="21"/>
              <c:tx>
                <c:rich>
                  <a:bodyPr/>
                  <a:lstStyle/>
                  <a:p>
                    <a:fld id="{ECF4F92D-5DAA-4505-B74E-C071FF3649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3363-48D8-B751-EA6AD3438C92}"/>
                </c:ext>
              </c:extLst>
            </c:dLbl>
            <c:dLbl>
              <c:idx val="22"/>
              <c:tx>
                <c:rich>
                  <a:bodyPr/>
                  <a:lstStyle/>
                  <a:p>
                    <a:fld id="{12089718-C96E-4571-B58E-C73AC17B51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363-48D8-B751-EA6AD3438C92}"/>
                </c:ext>
              </c:extLst>
            </c:dLbl>
            <c:dLbl>
              <c:idx val="23"/>
              <c:tx>
                <c:rich>
                  <a:bodyPr/>
                  <a:lstStyle/>
                  <a:p>
                    <a:fld id="{1B1AEFCC-7DE9-49D2-8919-BC1BCC5DB9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363-48D8-B751-EA6AD3438C92}"/>
                </c:ext>
              </c:extLst>
            </c:dLbl>
            <c:dLbl>
              <c:idx val="24"/>
              <c:tx>
                <c:rich>
                  <a:bodyPr/>
                  <a:lstStyle/>
                  <a:p>
                    <a:fld id="{0900355F-9F8E-4400-8A49-5CD53DABE6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3363-48D8-B751-EA6AD3438C92}"/>
                </c:ext>
              </c:extLst>
            </c:dLbl>
            <c:dLbl>
              <c:idx val="25"/>
              <c:tx>
                <c:rich>
                  <a:bodyPr/>
                  <a:lstStyle/>
                  <a:p>
                    <a:fld id="{36F0741E-67A7-47A1-9218-5560BD216F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363-48D8-B751-EA6AD3438C92}"/>
                </c:ext>
              </c:extLst>
            </c:dLbl>
            <c:dLbl>
              <c:idx val="26"/>
              <c:tx>
                <c:rich>
                  <a:bodyPr/>
                  <a:lstStyle/>
                  <a:p>
                    <a:fld id="{7ABA846B-64FB-4818-9B14-A293B99EA0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363-48D8-B751-EA6AD3438C92}"/>
                </c:ext>
              </c:extLst>
            </c:dLbl>
            <c:dLbl>
              <c:idx val="27"/>
              <c:tx>
                <c:rich>
                  <a:bodyPr/>
                  <a:lstStyle/>
                  <a:p>
                    <a:fld id="{E3E90A4E-B950-4A0E-A7F6-A7A9F81123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363-48D8-B751-EA6AD3438C92}"/>
                </c:ext>
              </c:extLst>
            </c:dLbl>
            <c:dLbl>
              <c:idx val="28"/>
              <c:tx>
                <c:rich>
                  <a:bodyPr/>
                  <a:lstStyle/>
                  <a:p>
                    <a:fld id="{5C96C87F-CDE3-490A-84A2-9CFD4D549B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363-48D8-B751-EA6AD3438C92}"/>
                </c:ext>
              </c:extLst>
            </c:dLbl>
            <c:dLbl>
              <c:idx val="29"/>
              <c:tx>
                <c:rich>
                  <a:bodyPr/>
                  <a:lstStyle/>
                  <a:p>
                    <a:fld id="{805F8103-2903-4183-8DCE-0F4F8A14D7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363-48D8-B751-EA6AD3438C92}"/>
                </c:ext>
              </c:extLst>
            </c:dLbl>
            <c:dLbl>
              <c:idx val="30"/>
              <c:tx>
                <c:rich>
                  <a:bodyPr/>
                  <a:lstStyle/>
                  <a:p>
                    <a:fld id="{9F662E43-4293-4E19-B6DF-17C9273771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363-48D8-B751-EA6AD3438C92}"/>
                </c:ext>
              </c:extLst>
            </c:dLbl>
            <c:dLbl>
              <c:idx val="31"/>
              <c:tx>
                <c:rich>
                  <a:bodyPr/>
                  <a:lstStyle/>
                  <a:p>
                    <a:fld id="{7EEAB27B-464A-42EE-B0CE-E5DF2AD671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363-48D8-B751-EA6AD3438C92}"/>
                </c:ext>
              </c:extLst>
            </c:dLbl>
            <c:dLbl>
              <c:idx val="32"/>
              <c:tx>
                <c:rich>
                  <a:bodyPr/>
                  <a:lstStyle/>
                  <a:p>
                    <a:fld id="{37936071-3A8D-45E4-A323-48CD1B3454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363-48D8-B751-EA6AD3438C92}"/>
                </c:ext>
              </c:extLst>
            </c:dLbl>
            <c:dLbl>
              <c:idx val="33"/>
              <c:tx>
                <c:rich>
                  <a:bodyPr/>
                  <a:lstStyle/>
                  <a:p>
                    <a:fld id="{9548F063-AFDD-4248-B877-CBFC3ED62C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363-48D8-B751-EA6AD3438C92}"/>
                </c:ext>
              </c:extLst>
            </c:dLbl>
            <c:dLbl>
              <c:idx val="34"/>
              <c:tx>
                <c:rich>
                  <a:bodyPr/>
                  <a:lstStyle/>
                  <a:p>
                    <a:fld id="{A7C71D3B-F92D-4CF8-B6CA-D7D2FF0D6E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3363-48D8-B751-EA6AD3438C92}"/>
                </c:ext>
              </c:extLst>
            </c:dLbl>
            <c:dLbl>
              <c:idx val="35"/>
              <c:tx>
                <c:rich>
                  <a:bodyPr/>
                  <a:lstStyle/>
                  <a:p>
                    <a:fld id="{42FD6179-B591-4456-808A-28325C5742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363-48D8-B751-EA6AD3438C92}"/>
                </c:ext>
              </c:extLst>
            </c:dLbl>
            <c:dLbl>
              <c:idx val="36"/>
              <c:tx>
                <c:rich>
                  <a:bodyPr/>
                  <a:lstStyle/>
                  <a:p>
                    <a:fld id="{A973FF2F-2EA6-49EE-8CE0-EFCA4425EC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363-48D8-B751-EA6AD3438C92}"/>
                </c:ext>
              </c:extLst>
            </c:dLbl>
            <c:dLbl>
              <c:idx val="37"/>
              <c:tx>
                <c:rich>
                  <a:bodyPr/>
                  <a:lstStyle/>
                  <a:p>
                    <a:fld id="{9365BCB1-49CC-45E8-AD8B-584DEFDD52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363-48D8-B751-EA6AD3438C92}"/>
                </c:ext>
              </c:extLst>
            </c:dLbl>
            <c:dLbl>
              <c:idx val="38"/>
              <c:tx>
                <c:rich>
                  <a:bodyPr/>
                  <a:lstStyle/>
                  <a:p>
                    <a:fld id="{262947C1-3218-4644-9F72-BA7B7A4760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3363-48D8-B751-EA6AD3438C92}"/>
                </c:ext>
              </c:extLst>
            </c:dLbl>
            <c:dLbl>
              <c:idx val="39"/>
              <c:tx>
                <c:rich>
                  <a:bodyPr/>
                  <a:lstStyle/>
                  <a:p>
                    <a:fld id="{809F6855-9E35-4431-87E0-CF2DCFE74C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363-48D8-B751-EA6AD3438C92}"/>
                </c:ext>
              </c:extLst>
            </c:dLbl>
            <c:dLbl>
              <c:idx val="40"/>
              <c:tx>
                <c:rich>
                  <a:bodyPr/>
                  <a:lstStyle/>
                  <a:p>
                    <a:fld id="{FAFB2190-A74F-43F9-AA8D-B393138E7D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3363-48D8-B751-EA6AD3438C92}"/>
                </c:ext>
              </c:extLst>
            </c:dLbl>
            <c:dLbl>
              <c:idx val="41"/>
              <c:tx>
                <c:rich>
                  <a:bodyPr/>
                  <a:lstStyle/>
                  <a:p>
                    <a:fld id="{AE04C85B-49CB-4404-8479-CE942811A0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363-48D8-B751-EA6AD3438C92}"/>
                </c:ext>
              </c:extLst>
            </c:dLbl>
            <c:dLbl>
              <c:idx val="42"/>
              <c:tx>
                <c:rich>
                  <a:bodyPr/>
                  <a:lstStyle/>
                  <a:p>
                    <a:fld id="{6003597D-1DB7-4788-A761-542951B77F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3363-48D8-B751-EA6AD3438C92}"/>
                </c:ext>
              </c:extLst>
            </c:dLbl>
            <c:dLbl>
              <c:idx val="43"/>
              <c:tx>
                <c:rich>
                  <a:bodyPr/>
                  <a:lstStyle/>
                  <a:p>
                    <a:fld id="{DCC47934-BEEC-4946-BD05-7EFFE8E0E3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363-48D8-B751-EA6AD3438C92}"/>
                </c:ext>
              </c:extLst>
            </c:dLbl>
            <c:dLbl>
              <c:idx val="44"/>
              <c:tx>
                <c:rich>
                  <a:bodyPr/>
                  <a:lstStyle/>
                  <a:p>
                    <a:fld id="{A7BCA42B-BACE-4327-B98A-248DF0A3E8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3363-48D8-B751-EA6AD3438C92}"/>
                </c:ext>
              </c:extLst>
            </c:dLbl>
            <c:dLbl>
              <c:idx val="45"/>
              <c:tx>
                <c:rich>
                  <a:bodyPr/>
                  <a:lstStyle/>
                  <a:p>
                    <a:fld id="{2FD2F855-0451-4850-BE87-670C34AE8F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363-48D8-B751-EA6AD3438C92}"/>
                </c:ext>
              </c:extLst>
            </c:dLbl>
            <c:dLbl>
              <c:idx val="46"/>
              <c:tx>
                <c:rich>
                  <a:bodyPr/>
                  <a:lstStyle/>
                  <a:p>
                    <a:fld id="{CC965DC2-2B50-46CB-9D9F-5F8504AE1D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3363-48D8-B751-EA6AD3438C92}"/>
                </c:ext>
              </c:extLst>
            </c:dLbl>
            <c:dLbl>
              <c:idx val="47"/>
              <c:tx>
                <c:rich>
                  <a:bodyPr/>
                  <a:lstStyle/>
                  <a:p>
                    <a:fld id="{45E55FE4-1251-4886-9B41-1754E5149D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363-48D8-B751-EA6AD3438C92}"/>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3363-48D8-B751-EA6AD3438C92}"/>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3363-48D8-B751-EA6AD3438C92}"/>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3363-48D8-B751-EA6AD3438C92}"/>
                </c:ext>
              </c:extLst>
            </c:dLbl>
            <c:dLbl>
              <c:idx val="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3363-48D8-B751-EA6AD3438C92}"/>
                </c:ext>
              </c:extLst>
            </c:dLbl>
            <c:dLbl>
              <c:idx val="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3363-48D8-B751-EA6AD3438C92}"/>
                </c:ext>
              </c:extLst>
            </c:dLbl>
            <c:dLbl>
              <c:idx val="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3363-48D8-B751-EA6AD3438C92}"/>
                </c:ext>
              </c:extLst>
            </c:dLbl>
            <c:dLbl>
              <c:idx val="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3363-48D8-B751-EA6AD3438C92}"/>
                </c:ext>
              </c:extLst>
            </c:dLbl>
            <c:dLbl>
              <c:idx val="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363-48D8-B751-EA6AD3438C92}"/>
                </c:ext>
              </c:extLst>
            </c:dLbl>
            <c:dLbl>
              <c:idx val="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A-3363-48D8-B751-EA6AD3438C92}"/>
                </c:ext>
              </c:extLst>
            </c:dLbl>
            <c:dLbl>
              <c:idx val="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363-48D8-B751-EA6AD3438C92}"/>
                </c:ext>
              </c:extLst>
            </c:dLbl>
            <c:dLbl>
              <c:idx val="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C-3363-48D8-B751-EA6AD3438C92}"/>
                </c:ext>
              </c:extLst>
            </c:dLbl>
            <c:dLbl>
              <c:idx val="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363-48D8-B751-EA6AD3438C92}"/>
                </c:ext>
              </c:extLst>
            </c:dLbl>
            <c:dLbl>
              <c:idx val="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E-3363-48D8-B751-EA6AD3438C92}"/>
                </c:ext>
              </c:extLst>
            </c:dLbl>
            <c:dLbl>
              <c:idx val="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363-48D8-B751-EA6AD3438C92}"/>
                </c:ext>
              </c:extLst>
            </c:dLbl>
            <c:dLbl>
              <c:idx val="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0-3363-48D8-B751-EA6AD3438C92}"/>
                </c:ext>
              </c:extLst>
            </c:dLbl>
            <c:dLbl>
              <c:idx val="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363-48D8-B751-EA6AD3438C92}"/>
                </c:ext>
              </c:extLst>
            </c:dLbl>
            <c:dLbl>
              <c:idx val="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2-3363-48D8-B751-EA6AD3438C92}"/>
                </c:ext>
              </c:extLst>
            </c:dLbl>
            <c:dLbl>
              <c:idx val="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363-48D8-B751-EA6AD3438C92}"/>
                </c:ext>
              </c:extLst>
            </c:dLbl>
            <c:dLbl>
              <c:idx val="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4-3363-48D8-B751-EA6AD3438C92}"/>
                </c:ext>
              </c:extLst>
            </c:dLbl>
            <c:dLbl>
              <c:idx val="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363-48D8-B751-EA6AD3438C92}"/>
                </c:ext>
              </c:extLst>
            </c:dLbl>
            <c:dLbl>
              <c:idx val="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6-3363-48D8-B751-EA6AD3438C92}"/>
                </c:ext>
              </c:extLst>
            </c:dLbl>
            <c:dLbl>
              <c:idx val="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363-48D8-B751-EA6AD3438C92}"/>
                </c:ext>
              </c:extLst>
            </c:dLbl>
            <c:dLbl>
              <c:idx val="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8-3363-48D8-B751-EA6AD3438C92}"/>
                </c:ext>
              </c:extLst>
            </c:dLbl>
            <c:dLbl>
              <c:idx val="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363-48D8-B751-EA6AD3438C92}"/>
                </c:ext>
              </c:extLst>
            </c:dLbl>
            <c:dLbl>
              <c:idx val="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A-3363-48D8-B751-EA6AD3438C92}"/>
                </c:ext>
              </c:extLst>
            </c:dLbl>
            <c:dLbl>
              <c:idx val="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363-48D8-B751-EA6AD3438C92}"/>
                </c:ext>
              </c:extLst>
            </c:dLbl>
            <c:dLbl>
              <c:idx val="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C-3363-48D8-B751-EA6AD3438C92}"/>
                </c:ext>
              </c:extLst>
            </c:dLbl>
            <c:dLbl>
              <c:idx val="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363-48D8-B751-EA6AD3438C92}"/>
                </c:ext>
              </c:extLst>
            </c:dLbl>
            <c:dLbl>
              <c:idx val="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E-3363-48D8-B751-EA6AD3438C92}"/>
                </c:ext>
              </c:extLst>
            </c:dLbl>
            <c:dLbl>
              <c:idx val="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363-48D8-B751-EA6AD3438C92}"/>
                </c:ext>
              </c:extLst>
            </c:dLbl>
            <c:dLbl>
              <c:idx val="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0-3363-48D8-B751-EA6AD3438C92}"/>
                </c:ext>
              </c:extLst>
            </c:dLbl>
            <c:dLbl>
              <c:idx val="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363-48D8-B751-EA6AD3438C92}"/>
                </c:ext>
              </c:extLst>
            </c:dLbl>
            <c:dLbl>
              <c:idx val="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2-3363-48D8-B751-EA6AD3438C92}"/>
                </c:ext>
              </c:extLst>
            </c:dLbl>
            <c:dLbl>
              <c:idx val="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363-48D8-B751-EA6AD3438C92}"/>
                </c:ext>
              </c:extLst>
            </c:dLbl>
            <c:dLbl>
              <c:idx val="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4-3363-48D8-B751-EA6AD3438C92}"/>
                </c:ext>
              </c:extLst>
            </c:dLbl>
            <c:dLbl>
              <c:idx val="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3363-48D8-B751-EA6AD3438C92}"/>
                </c:ext>
              </c:extLst>
            </c:dLbl>
            <c:dLbl>
              <c:idx val="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6-3363-48D8-B751-EA6AD3438C92}"/>
                </c:ext>
              </c:extLst>
            </c:dLbl>
            <c:dLbl>
              <c:idx val="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3363-48D8-B751-EA6AD3438C92}"/>
                </c:ext>
              </c:extLst>
            </c:dLbl>
            <c:dLbl>
              <c:idx val="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8-3363-48D8-B751-EA6AD3438C92}"/>
                </c:ext>
              </c:extLst>
            </c:dLbl>
            <c:dLbl>
              <c:idx val="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3363-48D8-B751-EA6AD3438C92}"/>
                </c:ext>
              </c:extLst>
            </c:dLbl>
            <c:dLbl>
              <c:idx val="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A-3363-48D8-B751-EA6AD3438C92}"/>
                </c:ext>
              </c:extLst>
            </c:dLbl>
            <c:dLbl>
              <c:idx val="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3363-48D8-B751-EA6AD3438C92}"/>
                </c:ext>
              </c:extLst>
            </c:dLbl>
            <c:dLbl>
              <c:idx val="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C-3363-48D8-B751-EA6AD3438C92}"/>
                </c:ext>
              </c:extLst>
            </c:dLbl>
            <c:dLbl>
              <c:idx val="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3363-48D8-B751-EA6AD3438C92}"/>
                </c:ext>
              </c:extLst>
            </c:dLbl>
            <c:dLbl>
              <c:idx val="9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E-3363-48D8-B751-EA6AD3438C92}"/>
                </c:ext>
              </c:extLst>
            </c:dLbl>
            <c:dLbl>
              <c:idx val="9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3363-48D8-B751-EA6AD3438C92}"/>
                </c:ext>
              </c:extLst>
            </c:dLbl>
            <c:dLbl>
              <c:idx val="9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0-3363-48D8-B751-EA6AD3438C92}"/>
                </c:ext>
              </c:extLst>
            </c:dLbl>
            <c:dLbl>
              <c:idx val="9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3363-48D8-B751-EA6AD3438C92}"/>
                </c:ext>
              </c:extLst>
            </c:dLbl>
            <c:dLbl>
              <c:idx val="9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2-3363-48D8-B751-EA6AD3438C92}"/>
                </c:ext>
              </c:extLst>
            </c:dLbl>
            <c:dLbl>
              <c:idx val="9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3363-48D8-B751-EA6AD3438C92}"/>
                </c:ext>
              </c:extLst>
            </c:dLbl>
            <c:dLbl>
              <c:idx val="9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4-3363-48D8-B751-EA6AD3438C92}"/>
                </c:ext>
              </c:extLst>
            </c:dLbl>
            <c:dLbl>
              <c:idx val="9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3363-48D8-B751-EA6AD3438C92}"/>
                </c:ext>
              </c:extLst>
            </c:dLbl>
            <c:dLbl>
              <c:idx val="10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6-3363-48D8-B751-EA6AD3438C92}"/>
                </c:ext>
              </c:extLst>
            </c:dLbl>
            <c:dLbl>
              <c:idx val="10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7-3363-48D8-B751-EA6AD3438C92}"/>
                </c:ext>
              </c:extLst>
            </c:dLbl>
            <c:dLbl>
              <c:idx val="10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8-3363-48D8-B751-EA6AD3438C92}"/>
                </c:ext>
              </c:extLst>
            </c:dLbl>
            <c:dLbl>
              <c:idx val="10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9-3363-48D8-B751-EA6AD3438C92}"/>
                </c:ext>
              </c:extLst>
            </c:dLbl>
            <c:dLbl>
              <c:idx val="10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A-3363-48D8-B751-EA6AD3438C92}"/>
                </c:ext>
              </c:extLst>
            </c:dLbl>
            <c:dLbl>
              <c:idx val="10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B-3363-48D8-B751-EA6AD3438C92}"/>
                </c:ext>
              </c:extLst>
            </c:dLbl>
            <c:dLbl>
              <c:idx val="10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C-3363-48D8-B751-EA6AD3438C92}"/>
                </c:ext>
              </c:extLst>
            </c:dLbl>
            <c:dLbl>
              <c:idx val="10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D-3363-48D8-B751-EA6AD3438C92}"/>
                </c:ext>
              </c:extLst>
            </c:dLbl>
            <c:dLbl>
              <c:idx val="10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E-3363-48D8-B751-EA6AD3438C92}"/>
                </c:ext>
              </c:extLst>
            </c:dLbl>
            <c:dLbl>
              <c:idx val="10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F-3363-48D8-B751-EA6AD3438C92}"/>
                </c:ext>
              </c:extLst>
            </c:dLbl>
            <c:dLbl>
              <c:idx val="11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0-3363-48D8-B751-EA6AD3438C92}"/>
                </c:ext>
              </c:extLst>
            </c:dLbl>
            <c:dLbl>
              <c:idx val="11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1-3363-48D8-B751-EA6AD3438C92}"/>
                </c:ext>
              </c:extLst>
            </c:dLbl>
            <c:dLbl>
              <c:idx val="1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2-3363-48D8-B751-EA6AD3438C92}"/>
                </c:ext>
              </c:extLst>
            </c:dLbl>
            <c:dLbl>
              <c:idx val="1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3-3363-48D8-B751-EA6AD3438C92}"/>
                </c:ext>
              </c:extLst>
            </c:dLbl>
            <c:dLbl>
              <c:idx val="1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4-3363-48D8-B751-EA6AD3438C92}"/>
                </c:ext>
              </c:extLst>
            </c:dLbl>
            <c:dLbl>
              <c:idx val="1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5-3363-48D8-B751-EA6AD3438C92}"/>
                </c:ext>
              </c:extLst>
            </c:dLbl>
            <c:dLbl>
              <c:idx val="1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6-3363-48D8-B751-EA6AD3438C92}"/>
                </c:ext>
              </c:extLst>
            </c:dLbl>
            <c:dLbl>
              <c:idx val="1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7-3363-48D8-B751-EA6AD3438C92}"/>
                </c:ext>
              </c:extLst>
            </c:dLbl>
            <c:dLbl>
              <c:idx val="1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8-3363-48D8-B751-EA6AD3438C92}"/>
                </c:ext>
              </c:extLst>
            </c:dLbl>
            <c:dLbl>
              <c:idx val="1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9-3363-48D8-B751-EA6AD3438C92}"/>
                </c:ext>
              </c:extLst>
            </c:dLbl>
            <c:dLbl>
              <c:idx val="1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A-3363-48D8-B751-EA6AD3438C92}"/>
                </c:ext>
              </c:extLst>
            </c:dLbl>
            <c:dLbl>
              <c:idx val="1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B-3363-48D8-B751-EA6AD3438C92}"/>
                </c:ext>
              </c:extLst>
            </c:dLbl>
            <c:dLbl>
              <c:idx val="1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C-3363-48D8-B751-EA6AD3438C92}"/>
                </c:ext>
              </c:extLst>
            </c:dLbl>
            <c:dLbl>
              <c:idx val="1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D-3363-48D8-B751-EA6AD3438C92}"/>
                </c:ext>
              </c:extLst>
            </c:dLbl>
            <c:dLbl>
              <c:idx val="1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E-3363-48D8-B751-EA6AD3438C92}"/>
                </c:ext>
              </c:extLst>
            </c:dLbl>
            <c:dLbl>
              <c:idx val="1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7F-3363-48D8-B751-EA6AD3438C92}"/>
                </c:ext>
              </c:extLst>
            </c:dLbl>
            <c:dLbl>
              <c:idx val="1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0-3363-48D8-B751-EA6AD3438C92}"/>
                </c:ext>
              </c:extLst>
            </c:dLbl>
            <c:dLbl>
              <c:idx val="1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1-3363-48D8-B751-EA6AD3438C92}"/>
                </c:ext>
              </c:extLst>
            </c:dLbl>
            <c:dLbl>
              <c:idx val="1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2-3363-48D8-B751-EA6AD3438C92}"/>
                </c:ext>
              </c:extLst>
            </c:dLbl>
            <c:dLbl>
              <c:idx val="1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3-3363-48D8-B751-EA6AD3438C92}"/>
                </c:ext>
              </c:extLst>
            </c:dLbl>
            <c:dLbl>
              <c:idx val="1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4-3363-48D8-B751-EA6AD3438C92}"/>
                </c:ext>
              </c:extLst>
            </c:dLbl>
            <c:dLbl>
              <c:idx val="1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5-3363-48D8-B751-EA6AD3438C92}"/>
                </c:ext>
              </c:extLst>
            </c:dLbl>
            <c:dLbl>
              <c:idx val="1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6-3363-48D8-B751-EA6AD3438C92}"/>
                </c:ext>
              </c:extLst>
            </c:dLbl>
            <c:dLbl>
              <c:idx val="1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7-3363-48D8-B751-EA6AD3438C92}"/>
                </c:ext>
              </c:extLst>
            </c:dLbl>
            <c:dLbl>
              <c:idx val="1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8-3363-48D8-B751-EA6AD3438C92}"/>
                </c:ext>
              </c:extLst>
            </c:dLbl>
            <c:dLbl>
              <c:idx val="1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9-3363-48D8-B751-EA6AD3438C92}"/>
                </c:ext>
              </c:extLst>
            </c:dLbl>
            <c:dLbl>
              <c:idx val="1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A-3363-48D8-B751-EA6AD3438C92}"/>
                </c:ext>
              </c:extLst>
            </c:dLbl>
            <c:dLbl>
              <c:idx val="1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B-3363-48D8-B751-EA6AD3438C92}"/>
                </c:ext>
              </c:extLst>
            </c:dLbl>
            <c:dLbl>
              <c:idx val="1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C-3363-48D8-B751-EA6AD3438C92}"/>
                </c:ext>
              </c:extLst>
            </c:dLbl>
            <c:dLbl>
              <c:idx val="1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D-3363-48D8-B751-EA6AD3438C92}"/>
                </c:ext>
              </c:extLst>
            </c:dLbl>
            <c:dLbl>
              <c:idx val="1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E-3363-48D8-B751-EA6AD3438C92}"/>
                </c:ext>
              </c:extLst>
            </c:dLbl>
            <c:dLbl>
              <c:idx val="1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8F-3363-48D8-B751-EA6AD3438C92}"/>
                </c:ext>
              </c:extLst>
            </c:dLbl>
            <c:dLbl>
              <c:idx val="1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0-3363-48D8-B751-EA6AD3438C92}"/>
                </c:ext>
              </c:extLst>
            </c:dLbl>
            <c:dLbl>
              <c:idx val="1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1-3363-48D8-B751-EA6AD3438C92}"/>
                </c:ext>
              </c:extLst>
            </c:dLbl>
            <c:dLbl>
              <c:idx val="1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2-3363-48D8-B751-EA6AD3438C92}"/>
                </c:ext>
              </c:extLst>
            </c:dLbl>
            <c:dLbl>
              <c:idx val="1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3-3363-48D8-B751-EA6AD3438C92}"/>
                </c:ext>
              </c:extLst>
            </c:dLbl>
            <c:dLbl>
              <c:idx val="1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4-3363-48D8-B751-EA6AD3438C92}"/>
                </c:ext>
              </c:extLst>
            </c:dLbl>
            <c:dLbl>
              <c:idx val="1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5-3363-48D8-B751-EA6AD3438C92}"/>
                </c:ext>
              </c:extLst>
            </c:dLbl>
            <c:dLbl>
              <c:idx val="1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6-3363-48D8-B751-EA6AD3438C92}"/>
                </c:ext>
              </c:extLst>
            </c:dLbl>
            <c:dLbl>
              <c:idx val="1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7-3363-48D8-B751-EA6AD3438C92}"/>
                </c:ext>
              </c:extLst>
            </c:dLbl>
            <c:dLbl>
              <c:idx val="1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8-3363-48D8-B751-EA6AD3438C92}"/>
                </c:ext>
              </c:extLst>
            </c:dLbl>
            <c:dLbl>
              <c:idx val="15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9-3363-48D8-B751-EA6AD3438C92}"/>
                </c:ext>
              </c:extLst>
            </c:dLbl>
            <c:dLbl>
              <c:idx val="15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A-3363-48D8-B751-EA6AD3438C92}"/>
                </c:ext>
              </c:extLst>
            </c:dLbl>
            <c:dLbl>
              <c:idx val="15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B-3363-48D8-B751-EA6AD3438C92}"/>
                </c:ext>
              </c:extLst>
            </c:dLbl>
            <c:dLbl>
              <c:idx val="15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C-3363-48D8-B751-EA6AD3438C92}"/>
                </c:ext>
              </c:extLst>
            </c:dLbl>
            <c:dLbl>
              <c:idx val="15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D-3363-48D8-B751-EA6AD3438C92}"/>
                </c:ext>
              </c:extLst>
            </c:dLbl>
            <c:dLbl>
              <c:idx val="15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E-3363-48D8-B751-EA6AD3438C92}"/>
                </c:ext>
              </c:extLst>
            </c:dLbl>
            <c:dLbl>
              <c:idx val="15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9F-3363-48D8-B751-EA6AD3438C92}"/>
                </c:ext>
              </c:extLst>
            </c:dLbl>
            <c:dLbl>
              <c:idx val="15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0-3363-48D8-B751-EA6AD3438C92}"/>
                </c:ext>
              </c:extLst>
            </c:dLbl>
            <c:dLbl>
              <c:idx val="15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1-3363-48D8-B751-EA6AD3438C92}"/>
                </c:ext>
              </c:extLst>
            </c:dLbl>
            <c:dLbl>
              <c:idx val="16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2-3363-48D8-B751-EA6AD3438C92}"/>
                </c:ext>
              </c:extLst>
            </c:dLbl>
            <c:dLbl>
              <c:idx val="16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3-3363-48D8-B751-EA6AD3438C92}"/>
                </c:ext>
              </c:extLst>
            </c:dLbl>
            <c:dLbl>
              <c:idx val="16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4-3363-48D8-B751-EA6AD3438C92}"/>
                </c:ext>
              </c:extLst>
            </c:dLbl>
            <c:dLbl>
              <c:idx val="16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5-3363-48D8-B751-EA6AD3438C92}"/>
                </c:ext>
              </c:extLst>
            </c:dLbl>
            <c:dLbl>
              <c:idx val="16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6-3363-48D8-B751-EA6AD3438C92}"/>
                </c:ext>
              </c:extLst>
            </c:dLbl>
            <c:dLbl>
              <c:idx val="16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7-3363-48D8-B751-EA6AD3438C92}"/>
                </c:ext>
              </c:extLst>
            </c:dLbl>
            <c:dLbl>
              <c:idx val="16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8-3363-48D8-B751-EA6AD3438C92}"/>
                </c:ext>
              </c:extLst>
            </c:dLbl>
            <c:dLbl>
              <c:idx val="16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9-3363-48D8-B751-EA6AD3438C92}"/>
                </c:ext>
              </c:extLst>
            </c:dLbl>
            <c:dLbl>
              <c:idx val="16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A-3363-48D8-B751-EA6AD3438C92}"/>
                </c:ext>
              </c:extLst>
            </c:dLbl>
            <c:dLbl>
              <c:idx val="16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B-3363-48D8-B751-EA6AD3438C92}"/>
                </c:ext>
              </c:extLst>
            </c:dLbl>
            <c:dLbl>
              <c:idx val="17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C-3363-48D8-B751-EA6AD3438C92}"/>
                </c:ext>
              </c:extLst>
            </c:dLbl>
            <c:dLbl>
              <c:idx val="17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D-3363-48D8-B751-EA6AD3438C92}"/>
                </c:ext>
              </c:extLst>
            </c:dLbl>
            <c:dLbl>
              <c:idx val="17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E-3363-48D8-B751-EA6AD3438C92}"/>
                </c:ext>
              </c:extLst>
            </c:dLbl>
            <c:dLbl>
              <c:idx val="17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AF-3363-48D8-B751-EA6AD3438C92}"/>
                </c:ext>
              </c:extLst>
            </c:dLbl>
            <c:dLbl>
              <c:idx val="17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0-3363-48D8-B751-EA6AD3438C92}"/>
                </c:ext>
              </c:extLst>
            </c:dLbl>
            <c:dLbl>
              <c:idx val="17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1-3363-48D8-B751-EA6AD3438C92}"/>
                </c:ext>
              </c:extLst>
            </c:dLbl>
            <c:dLbl>
              <c:idx val="17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2-3363-48D8-B751-EA6AD3438C92}"/>
                </c:ext>
              </c:extLst>
            </c:dLbl>
            <c:dLbl>
              <c:idx val="17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3-3363-48D8-B751-EA6AD3438C92}"/>
                </c:ext>
              </c:extLst>
            </c:dLbl>
            <c:dLbl>
              <c:idx val="17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4-3363-48D8-B751-EA6AD3438C92}"/>
                </c:ext>
              </c:extLst>
            </c:dLbl>
            <c:dLbl>
              <c:idx val="17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5-3363-48D8-B751-EA6AD3438C92}"/>
                </c:ext>
              </c:extLst>
            </c:dLbl>
            <c:dLbl>
              <c:idx val="18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6-3363-48D8-B751-EA6AD3438C92}"/>
                </c:ext>
              </c:extLst>
            </c:dLbl>
            <c:dLbl>
              <c:idx val="18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7-3363-48D8-B751-EA6AD3438C92}"/>
                </c:ext>
              </c:extLst>
            </c:dLbl>
            <c:dLbl>
              <c:idx val="18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8-3363-48D8-B751-EA6AD3438C92}"/>
                </c:ext>
              </c:extLst>
            </c:dLbl>
            <c:dLbl>
              <c:idx val="18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9-3363-48D8-B751-EA6AD3438C92}"/>
                </c:ext>
              </c:extLst>
            </c:dLbl>
            <c:dLbl>
              <c:idx val="18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A-3363-48D8-B751-EA6AD3438C92}"/>
                </c:ext>
              </c:extLst>
            </c:dLbl>
            <c:dLbl>
              <c:idx val="18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B-3363-48D8-B751-EA6AD3438C92}"/>
                </c:ext>
              </c:extLst>
            </c:dLbl>
            <c:dLbl>
              <c:idx val="18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C-3363-48D8-B751-EA6AD3438C92}"/>
                </c:ext>
              </c:extLst>
            </c:dLbl>
            <c:dLbl>
              <c:idx val="18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D-3363-48D8-B751-EA6AD3438C92}"/>
                </c:ext>
              </c:extLst>
            </c:dLbl>
            <c:dLbl>
              <c:idx val="18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E-3363-48D8-B751-EA6AD3438C92}"/>
                </c:ext>
              </c:extLst>
            </c:dLbl>
            <c:dLbl>
              <c:idx val="18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BF-3363-48D8-B751-EA6AD3438C92}"/>
                </c:ext>
              </c:extLst>
            </c:dLbl>
            <c:dLbl>
              <c:idx val="19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0-3363-48D8-B751-EA6AD3438C92}"/>
                </c:ext>
              </c:extLst>
            </c:dLbl>
            <c:dLbl>
              <c:idx val="19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C1-3363-48D8-B751-EA6AD3438C92}"/>
                </c:ext>
              </c:extLst>
            </c:dLbl>
            <c:spPr>
              <a:noFill/>
              <a:ln>
                <a:noFill/>
              </a:ln>
              <a:effectLst/>
            </c:spPr>
            <c:txPr>
              <a:bodyPr wrap="square" lIns="38100" tIns="19050" rIns="38100" bIns="19050" anchor="ctr">
                <a:spAutoFit/>
              </a:bodyPr>
              <a:lstStyle/>
              <a:p>
                <a:pPr>
                  <a:defRPr>
                    <a:solidFill>
                      <a:schemeClr val="tx2"/>
                    </a:solidFill>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93</c:f>
              <c:numCache>
                <c:formatCode>0%;\-0%;0%</c:formatCode>
                <c:ptCount val="192"/>
                <c:pt idx="0">
                  <c:v>1.5205511183945923</c:v>
                </c:pt>
                <c:pt idx="1">
                  <c:v>1.8242651617431078</c:v>
                </c:pt>
                <c:pt idx="2">
                  <c:v>1.9446931641299241</c:v>
                </c:pt>
                <c:pt idx="3">
                  <c:v>1.3743785971181046</c:v>
                </c:pt>
                <c:pt idx="4">
                  <c:v>1.2133568327506097</c:v>
                </c:pt>
                <c:pt idx="5">
                  <c:v>0.68122302644792165</c:v>
                </c:pt>
                <c:pt idx="6">
                  <c:v>1.0735788830195876</c:v>
                </c:pt>
                <c:pt idx="7">
                  <c:v>1.0906105466517351</c:v>
                </c:pt>
                <c:pt idx="8">
                  <c:v>1.2464638055208919</c:v>
                </c:pt>
                <c:pt idx="9">
                  <c:v>2.6276289831452044</c:v>
                </c:pt>
                <c:pt idx="10">
                  <c:v>1.1064322357610548</c:v>
                </c:pt>
                <c:pt idx="11">
                  <c:v>0.85319501532146991</c:v>
                </c:pt>
                <c:pt idx="12">
                  <c:v>0.7743464365328111</c:v>
                </c:pt>
                <c:pt idx="13">
                  <c:v>1.7014605140802144</c:v>
                </c:pt>
                <c:pt idx="14">
                  <c:v>1.4722455858567116</c:v>
                </c:pt>
                <c:pt idx="15">
                  <c:v>1.2982462605289533</c:v>
                </c:pt>
                <c:pt idx="16">
                  <c:v>1.3833514134065645</c:v>
                </c:pt>
                <c:pt idx="17">
                  <c:v>0.87671584289444737</c:v>
                </c:pt>
                <c:pt idx="18">
                  <c:v>1.1442919103466598</c:v>
                </c:pt>
                <c:pt idx="19">
                  <c:v>0.79278754093426607</c:v>
                </c:pt>
                <c:pt idx="20">
                  <c:v>1.6966959176020961</c:v>
                </c:pt>
                <c:pt idx="21">
                  <c:v>1.231432894928175</c:v>
                </c:pt>
                <c:pt idx="22">
                  <c:v>1.4886670138358096</c:v>
                </c:pt>
                <c:pt idx="23">
                  <c:v>1.6014416623709915</c:v>
                </c:pt>
                <c:pt idx="24">
                  <c:v>2.0187991019872009</c:v>
                </c:pt>
                <c:pt idx="25">
                  <c:v>1.8173400102591124</c:v>
                </c:pt>
                <c:pt idx="26">
                  <c:v>2.3074631452968113</c:v>
                </c:pt>
                <c:pt idx="27">
                  <c:v>1.4051910373355561</c:v>
                </c:pt>
                <c:pt idx="28">
                  <c:v>3.2238078809443409</c:v>
                </c:pt>
                <c:pt idx="29">
                  <c:v>0.78758341953843303</c:v>
                </c:pt>
                <c:pt idx="30">
                  <c:v>0.62550976209801934</c:v>
                </c:pt>
                <c:pt idx="31">
                  <c:v>1.7096874502164956</c:v>
                </c:pt>
                <c:pt idx="32">
                  <c:v>1</c:v>
                </c:pt>
                <c:pt idx="33">
                  <c:v>2.3040084400169341</c:v>
                </c:pt>
                <c:pt idx="34">
                  <c:v>0.68754051217467449</c:v>
                </c:pt>
                <c:pt idx="35">
                  <c:v>2.6452578918511045</c:v>
                </c:pt>
                <c:pt idx="36">
                  <c:v>0.52526659449291513</c:v>
                </c:pt>
                <c:pt idx="37">
                  <c:v>0.65993703164042705</c:v>
                </c:pt>
                <c:pt idx="38">
                  <c:v>0.50485076417579766</c:v>
                </c:pt>
                <c:pt idx="39">
                  <c:v>1</c:v>
                </c:pt>
                <c:pt idx="40">
                  <c:v>1.0027843737478033</c:v>
                </c:pt>
                <c:pt idx="41">
                  <c:v>1.6500602169225536</c:v>
                </c:pt>
                <c:pt idx="42">
                  <c:v>0.98129234530269194</c:v>
                </c:pt>
                <c:pt idx="43">
                  <c:v>1.1139156627145779</c:v>
                </c:pt>
                <c:pt idx="44">
                  <c:v>1.211772687997315</c:v>
                </c:pt>
                <c:pt idx="45">
                  <c:v>0.8728761061157565</c:v>
                </c:pt>
                <c:pt idx="46">
                  <c:v>0.69652258972513958</c:v>
                </c:pt>
                <c:pt idx="47">
                  <c:v>0.66347532612180282</c:v>
                </c:pt>
                <c:pt idx="48">
                  <c:v>1.0499788078097323</c:v>
                </c:pt>
                <c:pt idx="49">
                  <c:v>0.44820220564430002</c:v>
                </c:pt>
              </c:numCache>
            </c:numRef>
          </c:xVal>
          <c:yVal>
            <c:numRef>
              <c:f>Sheet1!$B$2:$B$193</c:f>
              <c:numCache>
                <c:formatCode>0%;\-0%;0%</c:formatCode>
                <c:ptCount val="192"/>
                <c:pt idx="0">
                  <c:v>3.0852903728151539</c:v>
                </c:pt>
                <c:pt idx="1">
                  <c:v>3.3319547573296573</c:v>
                </c:pt>
                <c:pt idx="2">
                  <c:v>3.4403458842562884</c:v>
                </c:pt>
                <c:pt idx="3">
                  <c:v>1.5287924854883865</c:v>
                </c:pt>
                <c:pt idx="4">
                  <c:v>1.0281931200653487</c:v>
                </c:pt>
                <c:pt idx="5">
                  <c:v>0.80216040420533041</c:v>
                </c:pt>
                <c:pt idx="6">
                  <c:v>1.0004182203335177</c:v>
                </c:pt>
                <c:pt idx="7">
                  <c:v>0.42735580118324085</c:v>
                </c:pt>
                <c:pt idx="8">
                  <c:v>0.85158534101607519</c:v>
                </c:pt>
                <c:pt idx="9">
                  <c:v>0.98590635708915209</c:v>
                </c:pt>
                <c:pt idx="10">
                  <c:v>0.56316464505129971</c:v>
                </c:pt>
                <c:pt idx="11">
                  <c:v>0.59547063172185266</c:v>
                </c:pt>
                <c:pt idx="12">
                  <c:v>0.5666869203661371</c:v>
                </c:pt>
                <c:pt idx="13">
                  <c:v>0.50080532012183276</c:v>
                </c:pt>
                <c:pt idx="14">
                  <c:v>0.64882474401897816</c:v>
                </c:pt>
                <c:pt idx="15">
                  <c:v>0.62737513851065263</c:v>
                </c:pt>
                <c:pt idx="16">
                  <c:v>0.64468847464704893</c:v>
                </c:pt>
                <c:pt idx="17">
                  <c:v>0.54959610943104897</c:v>
                </c:pt>
                <c:pt idx="18">
                  <c:v>0.26642288750889204</c:v>
                </c:pt>
                <c:pt idx="19">
                  <c:v>9.8232312167382554E-2</c:v>
                </c:pt>
                <c:pt idx="20">
                  <c:v>0.58825737819616963</c:v>
                </c:pt>
                <c:pt idx="21">
                  <c:v>0.30530457107260101</c:v>
                </c:pt>
                <c:pt idx="22">
                  <c:v>0.29903245850592219</c:v>
                </c:pt>
                <c:pt idx="23">
                  <c:v>0.50269799152392924</c:v>
                </c:pt>
                <c:pt idx="24">
                  <c:v>0.27852463526594817</c:v>
                </c:pt>
                <c:pt idx="25">
                  <c:v>0.91021387605544057</c:v>
                </c:pt>
                <c:pt idx="26">
                  <c:v>0.44946294600052783</c:v>
                </c:pt>
                <c:pt idx="27">
                  <c:v>0.23963358203836602</c:v>
                </c:pt>
                <c:pt idx="28">
                  <c:v>0.32805851065036734</c:v>
                </c:pt>
                <c:pt idx="29">
                  <c:v>0.16125522710408016</c:v>
                </c:pt>
                <c:pt idx="30">
                  <c:v>0.2712074289350726</c:v>
                </c:pt>
                <c:pt idx="31">
                  <c:v>0.30457712372256124</c:v>
                </c:pt>
                <c:pt idx="32">
                  <c:v>0.8957411183421421</c:v>
                </c:pt>
                <c:pt idx="33">
                  <c:v>0.73658558525695261</c:v>
                </c:pt>
                <c:pt idx="34">
                  <c:v>0.28331041236079657</c:v>
                </c:pt>
                <c:pt idx="35">
                  <c:v>0.29822959771310809</c:v>
                </c:pt>
                <c:pt idx="36">
                  <c:v>0.30112180993370002</c:v>
                </c:pt>
                <c:pt idx="37">
                  <c:v>0.16279631085592983</c:v>
                </c:pt>
                <c:pt idx="38">
                  <c:v>0.18164490301460515</c:v>
                </c:pt>
                <c:pt idx="39">
                  <c:v>1.1598967694917872</c:v>
                </c:pt>
                <c:pt idx="40">
                  <c:v>0.42800851475208684</c:v>
                </c:pt>
                <c:pt idx="41">
                  <c:v>0.384857602622315</c:v>
                </c:pt>
                <c:pt idx="42">
                  <c:v>0.15585437107477212</c:v>
                </c:pt>
                <c:pt idx="43">
                  <c:v>0.34535029295477387</c:v>
                </c:pt>
                <c:pt idx="44">
                  <c:v>0.10687510530248268</c:v>
                </c:pt>
                <c:pt idx="45">
                  <c:v>0.18731455224010704</c:v>
                </c:pt>
                <c:pt idx="46">
                  <c:v>0.14349766624950283</c:v>
                </c:pt>
                <c:pt idx="47">
                  <c:v>0.18016866701039758</c:v>
                </c:pt>
                <c:pt idx="48">
                  <c:v>0.30253809162884954</c:v>
                </c:pt>
                <c:pt idx="49">
                  <c:v>0.14733777182516844</c:v>
                </c:pt>
              </c:numCache>
            </c:numRef>
          </c:yVal>
          <c:bubbleSize>
            <c:numRef>
              <c:f>Sheet1!$C$2:$C$193</c:f>
              <c:numCache>
                <c:formatCode>#,##0</c:formatCode>
                <c:ptCount val="192"/>
                <c:pt idx="0">
                  <c:v>54118301</c:v>
                </c:pt>
                <c:pt idx="1">
                  <c:v>32935073</c:v>
                </c:pt>
                <c:pt idx="2">
                  <c:v>24165302</c:v>
                </c:pt>
                <c:pt idx="3">
                  <c:v>12921557</c:v>
                </c:pt>
                <c:pt idx="4">
                  <c:v>2213063</c:v>
                </c:pt>
                <c:pt idx="5">
                  <c:v>4003471</c:v>
                </c:pt>
                <c:pt idx="6">
                  <c:v>1746436</c:v>
                </c:pt>
                <c:pt idx="7">
                  <c:v>1611725</c:v>
                </c:pt>
                <c:pt idx="8">
                  <c:v>936992</c:v>
                </c:pt>
                <c:pt idx="9">
                  <c:v>1213432</c:v>
                </c:pt>
                <c:pt idx="10">
                  <c:v>1106331</c:v>
                </c:pt>
                <c:pt idx="11">
                  <c:v>1156061</c:v>
                </c:pt>
                <c:pt idx="12">
                  <c:v>1776521</c:v>
                </c:pt>
                <c:pt idx="13">
                  <c:v>555825</c:v>
                </c:pt>
                <c:pt idx="14">
                  <c:v>441536</c:v>
                </c:pt>
                <c:pt idx="15">
                  <c:v>528501</c:v>
                </c:pt>
                <c:pt idx="16">
                  <c:v>432075</c:v>
                </c:pt>
                <c:pt idx="17">
                  <c:v>435435</c:v>
                </c:pt>
                <c:pt idx="18">
                  <c:v>433735</c:v>
                </c:pt>
                <c:pt idx="19">
                  <c:v>1448636</c:v>
                </c:pt>
                <c:pt idx="20">
                  <c:v>327005</c:v>
                </c:pt>
                <c:pt idx="21">
                  <c:v>384930</c:v>
                </c:pt>
                <c:pt idx="22">
                  <c:v>393461</c:v>
                </c:pt>
                <c:pt idx="23">
                  <c:v>148308</c:v>
                </c:pt>
                <c:pt idx="24">
                  <c:v>256628</c:v>
                </c:pt>
                <c:pt idx="25">
                  <c:v>152820</c:v>
                </c:pt>
                <c:pt idx="26">
                  <c:v>187258</c:v>
                </c:pt>
                <c:pt idx="27">
                  <c:v>272760</c:v>
                </c:pt>
                <c:pt idx="28">
                  <c:v>225000</c:v>
                </c:pt>
                <c:pt idx="29">
                  <c:v>230746</c:v>
                </c:pt>
                <c:pt idx="30">
                  <c:v>180456</c:v>
                </c:pt>
                <c:pt idx="31">
                  <c:v>116036</c:v>
                </c:pt>
                <c:pt idx="32">
                  <c:v>25925</c:v>
                </c:pt>
                <c:pt idx="33">
                  <c:v>98858</c:v>
                </c:pt>
                <c:pt idx="34">
                  <c:v>195885</c:v>
                </c:pt>
                <c:pt idx="35">
                  <c:v>98518</c:v>
                </c:pt>
                <c:pt idx="36">
                  <c:v>117104</c:v>
                </c:pt>
                <c:pt idx="37">
                  <c:v>235127</c:v>
                </c:pt>
                <c:pt idx="38">
                  <c:v>123978</c:v>
                </c:pt>
                <c:pt idx="39">
                  <c:v>15126</c:v>
                </c:pt>
                <c:pt idx="40">
                  <c:v>63236</c:v>
                </c:pt>
                <c:pt idx="41">
                  <c:v>50563</c:v>
                </c:pt>
                <c:pt idx="42">
                  <c:v>87509</c:v>
                </c:pt>
                <c:pt idx="43">
                  <c:v>41835</c:v>
                </c:pt>
                <c:pt idx="44">
                  <c:v>43864</c:v>
                </c:pt>
                <c:pt idx="45">
                  <c:v>146671</c:v>
                </c:pt>
                <c:pt idx="46">
                  <c:v>149196</c:v>
                </c:pt>
                <c:pt idx="47">
                  <c:v>44755</c:v>
                </c:pt>
                <c:pt idx="48">
                  <c:v>34853</c:v>
                </c:pt>
                <c:pt idx="49">
                  <c:v>33557</c:v>
                </c:pt>
              </c:numCache>
            </c:numRef>
          </c:bubbleSize>
          <c:bubble3D val="0"/>
          <c:extLst>
            <c:ext xmlns:c15="http://schemas.microsoft.com/office/drawing/2012/chart" uri="{02D57815-91ED-43cb-92C2-25804820EDAC}">
              <c15:datalabelsRange>
                <c15:f>Sheet1!$E$2:$E$49</c15:f>
                <c15:dlblRangeCache>
                  <c:ptCount val="4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15:dlblRangeCache>
              </c15:datalabelsRange>
            </c:ext>
            <c:ext xmlns:c16="http://schemas.microsoft.com/office/drawing/2014/chart" uri="{C3380CC4-5D6E-409C-BE32-E72D297353CC}">
              <c16:uniqueId val="{00000005-EE4B-4312-8F62-0B51F9A74EE8}"/>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a:defRPr sz="800" b="0">
                    <a:solidFill>
                      <a:schemeClr val="tx1"/>
                    </a:solidFill>
                    <a:latin typeface="Nexa Bold" panose="00000800000000000000" pitchFamily="2" charset="0"/>
                  </a:defRPr>
                </a:pPr>
                <a:r>
                  <a:rPr lang="fr-CH" sz="800" b="0" dirty="0">
                    <a:solidFill>
                      <a:schemeClr val="tx1"/>
                    </a:solidFill>
                    <a:latin typeface="Nexa Bold" panose="00000800000000000000" pitchFamily="2" charset="0"/>
                  </a:rPr>
                  <a:t>Promo </a:t>
                </a:r>
                <a:r>
                  <a:rPr lang="fr-CH" sz="800" b="0" dirty="0" err="1">
                    <a:solidFill>
                      <a:schemeClr val="tx1"/>
                    </a:solidFill>
                    <a:latin typeface="Nexa Bold" panose="00000800000000000000" pitchFamily="2" charset="0"/>
                  </a:rPr>
                  <a:t>Efficiency</a:t>
                </a:r>
                <a:r>
                  <a:rPr lang="fr-CH" sz="800" b="0" dirty="0">
                    <a:solidFill>
                      <a:schemeClr val="tx1"/>
                    </a:solidFill>
                    <a:latin typeface="Nexa Bold" panose="00000800000000000000" pitchFamily="2" charset="0"/>
                  </a:rPr>
                  <a:t> </a:t>
                </a:r>
              </a:p>
            </c:rich>
          </c:tx>
          <c:layout>
            <c:manualLayout>
              <c:xMode val="edge"/>
              <c:yMode val="edge"/>
              <c:x val="0.83040447780602233"/>
              <c:y val="0.93990463364030141"/>
            </c:manualLayout>
          </c:layout>
          <c:overlay val="0"/>
          <c:spPr>
            <a:noFill/>
            <a:ln>
              <a:noFill/>
            </a:ln>
            <a:effectLst/>
          </c:spPr>
        </c:title>
        <c:numFmt formatCode="0%" sourceLinked="0"/>
        <c:majorTickMark val="none"/>
        <c:minorTickMark val="none"/>
        <c:tickLblPos val="low"/>
        <c:spPr>
          <a:noFill/>
          <a:ln w="9525" cap="flat" cmpd="sng" algn="ctr">
            <a:solidFill>
              <a:schemeClr val="bg2"/>
            </a:solidFill>
            <a:round/>
          </a:ln>
          <a:effectLst/>
        </c:spPr>
        <c:txPr>
          <a:bodyPr rot="-60000000" vert="horz"/>
          <a:lstStyle/>
          <a:p>
            <a:pPr>
              <a:defRPr/>
            </a:pPr>
            <a:endParaRPr lang="en-US"/>
          </a:p>
        </c:txPr>
        <c:crossAx val="1011451359"/>
        <c:crosses val="autoZero"/>
        <c:crossBetween val="midCat"/>
      </c:valAx>
      <c:valAx>
        <c:axId val="1011451359"/>
        <c:scaling>
          <c:orientation val="minMax"/>
        </c:scaling>
        <c:delete val="0"/>
        <c:axPos val="l"/>
        <c:title>
          <c:tx>
            <c:rich>
              <a:bodyPr rot="0" vert="horz"/>
              <a:lstStyle/>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Value </a:t>
                </a:r>
              </a:p>
              <a:p>
                <a:pPr>
                  <a:defRPr sz="800" b="0">
                    <a:solidFill>
                      <a:schemeClr val="tx1"/>
                    </a:solidFill>
                    <a:latin typeface="Nexa Bold" panose="00000800000000000000" pitchFamily="2" charset="0"/>
                  </a:defRPr>
                </a:pPr>
                <a:r>
                  <a:rPr lang="en-US" sz="800" b="0" dirty="0">
                    <a:solidFill>
                      <a:schemeClr val="tx1"/>
                    </a:solidFill>
                    <a:latin typeface="Nexa Bold" panose="00000800000000000000" pitchFamily="2" charset="0"/>
                  </a:rPr>
                  <a:t>Uplift</a:t>
                </a:r>
              </a:p>
            </c:rich>
          </c:tx>
          <c:layout>
            <c:manualLayout>
              <c:xMode val="edge"/>
              <c:yMode val="edge"/>
              <c:x val="1.2830798411843675E-3"/>
              <c:y val="5.753901000411691E-2"/>
            </c:manualLayout>
          </c:layout>
          <c:overlay val="0"/>
          <c:spPr>
            <a:noFill/>
            <a:ln>
              <a:noFill/>
            </a:ln>
            <a:effectLst/>
          </c:spPr>
        </c:title>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a:pPr>
            <a:endParaRPr lang="en-US"/>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05306273760107"/>
          <c:y val="0"/>
          <c:w val="0.69994693726239876"/>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2-B1F3-4B1C-B6BD-D7555A955EE3}"/>
              </c:ext>
            </c:extLst>
          </c:dPt>
          <c:dPt>
            <c:idx val="1"/>
            <c:invertIfNegative val="0"/>
            <c:bubble3D val="0"/>
            <c:spPr>
              <a:solidFill>
                <a:srgbClr val="E1BFBF"/>
              </a:solidFill>
            </c:spPr>
            <c:extLst>
              <c:ext xmlns:c16="http://schemas.microsoft.com/office/drawing/2014/chart" uri="{C3380CC4-5D6E-409C-BE32-E72D297353CC}">
                <c16:uniqueId val="{00000000-1D88-4E66-AA3A-770CA96ED1E8}"/>
              </c:ext>
            </c:extLst>
          </c:dPt>
          <c:dPt>
            <c:idx val="2"/>
            <c:invertIfNegative val="0"/>
            <c:bubble3D val="0"/>
            <c:spPr>
              <a:solidFill>
                <a:srgbClr val="E1BFBF"/>
              </a:solidFill>
            </c:spPr>
            <c:extLst>
              <c:ext xmlns:c16="http://schemas.microsoft.com/office/drawing/2014/chart" uri="{C3380CC4-5D6E-409C-BE32-E72D297353CC}">
                <c16:uniqueId val="{00000003-B1F3-4B1C-B6BD-D7555A955EE3}"/>
              </c:ext>
            </c:extLst>
          </c:dPt>
          <c:dPt>
            <c:idx val="3"/>
            <c:invertIfNegative val="0"/>
            <c:bubble3D val="0"/>
            <c:spPr>
              <a:solidFill>
                <a:srgbClr val="E1BFBF"/>
              </a:solidFill>
            </c:spPr>
            <c:extLst>
              <c:ext xmlns:c16="http://schemas.microsoft.com/office/drawing/2014/chart" uri="{C3380CC4-5D6E-409C-BE32-E72D297353CC}">
                <c16:uniqueId val="{00000001-1D88-4E66-AA3A-770CA96ED1E8}"/>
              </c:ext>
            </c:extLst>
          </c:dPt>
          <c:dPt>
            <c:idx val="4"/>
            <c:invertIfNegative val="0"/>
            <c:bubble3D val="0"/>
            <c:spPr>
              <a:solidFill>
                <a:srgbClr val="E1BFBF"/>
              </a:solidFill>
            </c:spPr>
            <c:extLst>
              <c:ext xmlns:c16="http://schemas.microsoft.com/office/drawing/2014/chart" uri="{C3380CC4-5D6E-409C-BE32-E72D297353CC}">
                <c16:uniqueId val="{00000004-B1F3-4B1C-B6BD-D7555A955EE3}"/>
              </c:ext>
            </c:extLst>
          </c:dPt>
          <c:dPt>
            <c:idx val="5"/>
            <c:invertIfNegative val="0"/>
            <c:bubble3D val="0"/>
            <c:spPr>
              <a:solidFill>
                <a:srgbClr val="E1BFBF"/>
              </a:solidFill>
            </c:spPr>
            <c:extLst>
              <c:ext xmlns:c16="http://schemas.microsoft.com/office/drawing/2014/chart" uri="{C3380CC4-5D6E-409C-BE32-E72D297353CC}">
                <c16:uniqueId val="{0000000B-6D8A-4B36-B874-4E9C8B692C25}"/>
              </c:ext>
            </c:extLst>
          </c:dPt>
          <c:dPt>
            <c:idx val="6"/>
            <c:invertIfNegative val="0"/>
            <c:bubble3D val="0"/>
            <c:spPr>
              <a:solidFill>
                <a:srgbClr val="E1BFBF"/>
              </a:solidFill>
            </c:spPr>
            <c:extLst>
              <c:ext xmlns:c16="http://schemas.microsoft.com/office/drawing/2014/chart" uri="{C3380CC4-5D6E-409C-BE32-E72D297353CC}">
                <c16:uniqueId val="{0000000D-6D8A-4B36-B874-4E9C8B692C25}"/>
              </c:ext>
            </c:extLst>
          </c:dPt>
          <c:dPt>
            <c:idx val="7"/>
            <c:invertIfNegative val="0"/>
            <c:bubble3D val="0"/>
            <c:spPr>
              <a:solidFill>
                <a:srgbClr val="E1BFBF"/>
              </a:solidFill>
            </c:spPr>
            <c:extLst>
              <c:ext xmlns:c16="http://schemas.microsoft.com/office/drawing/2014/chart" uri="{C3380CC4-5D6E-409C-BE32-E72D297353CC}">
                <c16:uniqueId val="{0000000F-6D8A-4B36-B874-4E9C8B692C25}"/>
              </c:ext>
            </c:extLst>
          </c:dPt>
          <c:dPt>
            <c:idx val="8"/>
            <c:invertIfNegative val="0"/>
            <c:bubble3D val="0"/>
            <c:spPr>
              <a:solidFill>
                <a:srgbClr val="E1BFBF"/>
              </a:solidFill>
            </c:spPr>
            <c:extLst>
              <c:ext xmlns:c16="http://schemas.microsoft.com/office/drawing/2014/chart" uri="{C3380CC4-5D6E-409C-BE32-E72D297353CC}">
                <c16:uniqueId val="{00000011-6D8A-4B36-B874-4E9C8B692C25}"/>
              </c:ext>
            </c:extLst>
          </c:dPt>
          <c:dPt>
            <c:idx val="9"/>
            <c:invertIfNegative val="0"/>
            <c:bubble3D val="0"/>
            <c:spPr>
              <a:solidFill>
                <a:srgbClr val="E1BFBF"/>
              </a:solidFill>
            </c:spPr>
            <c:extLst>
              <c:ext xmlns:c16="http://schemas.microsoft.com/office/drawing/2014/chart" uri="{C3380CC4-5D6E-409C-BE32-E72D297353CC}">
                <c16:uniqueId val="{00000013-6D8A-4B36-B874-4E9C8B692C25}"/>
              </c:ext>
            </c:extLst>
          </c:dPt>
          <c:dPt>
            <c:idx val="10"/>
            <c:invertIfNegative val="0"/>
            <c:bubble3D val="0"/>
            <c:spPr>
              <a:solidFill>
                <a:srgbClr val="E1BFBF"/>
              </a:solidFill>
            </c:spPr>
            <c:extLst>
              <c:ext xmlns:c16="http://schemas.microsoft.com/office/drawing/2014/chart" uri="{C3380CC4-5D6E-409C-BE32-E72D297353CC}">
                <c16:uniqueId val="{00000015-6D8A-4B36-B874-4E9C8B692C25}"/>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36164881681898342</c:v>
                </c:pt>
                <c:pt idx="1">
                  <c:v>-0.12972516293473116</c:v>
                </c:pt>
                <c:pt idx="2">
                  <c:v>-7.1750254097568272E-2</c:v>
                </c:pt>
                <c:pt idx="3">
                  <c:v>-4.6461719685097692E-2</c:v>
                </c:pt>
                <c:pt idx="4">
                  <c:v>-3.1227904785104E-2</c:v>
                </c:pt>
                <c:pt idx="5">
                  <c:v>-2.7997240891498631E-2</c:v>
                </c:pt>
                <c:pt idx="6">
                  <c:v>-2.174383179801271E-2</c:v>
                </c:pt>
                <c:pt idx="7">
                  <c:v>-1.9651274271414519E-2</c:v>
                </c:pt>
                <c:pt idx="8">
                  <c:v>-1.3874818493414185E-2</c:v>
                </c:pt>
                <c:pt idx="9">
                  <c:v>-7.7371975704753201E-3</c:v>
                </c:pt>
                <c:pt idx="10">
                  <c:v>-4.329776897395941E-3</c:v>
                </c:pt>
              </c:numCache>
            </c:numRef>
          </c:val>
          <c:extLst>
            <c:ext xmlns:c16="http://schemas.microsoft.com/office/drawing/2014/chart" uri="{C3380CC4-5D6E-409C-BE32-E72D297353CC}">
              <c16:uniqueId val="{00000002-1D88-4E66-AA3A-770CA96ED1E8}"/>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218648589579606E-2"/>
          <c:y val="0"/>
          <c:w val="0.95678150094200787"/>
          <c:h val="1"/>
        </c:manualLayout>
      </c:layout>
      <c:barChart>
        <c:barDir val="bar"/>
        <c:grouping val="clustered"/>
        <c:varyColors val="0"/>
        <c:ser>
          <c:idx val="2"/>
          <c:order val="0"/>
          <c:tx>
            <c:strRef>
              <c:f>Sheet1!$B$1</c:f>
              <c:strCache>
                <c:ptCount val="1"/>
                <c:pt idx="0">
                  <c:v>packSize</c:v>
                </c:pt>
              </c:strCache>
            </c:strRef>
          </c:tx>
          <c:spPr>
            <a:solidFill>
              <a:srgbClr val="DEDDDD"/>
            </a:solidFill>
          </c:spPr>
          <c:invertIfNegative val="0"/>
          <c:dPt>
            <c:idx val="0"/>
            <c:invertIfNegative val="0"/>
            <c:bubble3D val="0"/>
            <c:spPr>
              <a:solidFill>
                <a:srgbClr val="E1BFBF"/>
              </a:solidFill>
            </c:spPr>
            <c:extLst>
              <c:ext xmlns:c16="http://schemas.microsoft.com/office/drawing/2014/chart" uri="{C3380CC4-5D6E-409C-BE32-E72D297353CC}">
                <c16:uniqueId val="{00000003-3C16-4125-B97A-D0EBA9D0B1CF}"/>
              </c:ext>
            </c:extLst>
          </c:dPt>
          <c:dPt>
            <c:idx val="1"/>
            <c:invertIfNegative val="0"/>
            <c:bubble3D val="0"/>
            <c:spPr>
              <a:solidFill>
                <a:srgbClr val="E1BFBF"/>
              </a:solidFill>
            </c:spPr>
            <c:extLst>
              <c:ext xmlns:c16="http://schemas.microsoft.com/office/drawing/2014/chart" uri="{C3380CC4-5D6E-409C-BE32-E72D297353CC}">
                <c16:uniqueId val="{00000001-615A-458F-B49B-C3992C8CBC6B}"/>
              </c:ext>
            </c:extLst>
          </c:dPt>
          <c:dPt>
            <c:idx val="2"/>
            <c:invertIfNegative val="0"/>
            <c:bubble3D val="0"/>
            <c:spPr>
              <a:solidFill>
                <a:srgbClr val="E1BFBF"/>
              </a:solidFill>
            </c:spPr>
            <c:extLst>
              <c:ext xmlns:c16="http://schemas.microsoft.com/office/drawing/2014/chart" uri="{C3380CC4-5D6E-409C-BE32-E72D297353CC}">
                <c16:uniqueId val="{00000004-3C16-4125-B97A-D0EBA9D0B1CF}"/>
              </c:ext>
            </c:extLst>
          </c:dPt>
          <c:dPt>
            <c:idx val="3"/>
            <c:invertIfNegative val="0"/>
            <c:bubble3D val="0"/>
            <c:spPr>
              <a:solidFill>
                <a:srgbClr val="E1BFBF"/>
              </a:solidFill>
            </c:spPr>
            <c:extLst>
              <c:ext xmlns:c16="http://schemas.microsoft.com/office/drawing/2014/chart" uri="{C3380CC4-5D6E-409C-BE32-E72D297353CC}">
                <c16:uniqueId val="{00000002-615A-458F-B49B-C3992C8CBC6B}"/>
              </c:ext>
            </c:extLst>
          </c:dPt>
          <c:dPt>
            <c:idx val="4"/>
            <c:invertIfNegative val="0"/>
            <c:bubble3D val="0"/>
            <c:spPr>
              <a:solidFill>
                <a:srgbClr val="E1BFBF"/>
              </a:solidFill>
            </c:spPr>
            <c:extLst>
              <c:ext xmlns:c16="http://schemas.microsoft.com/office/drawing/2014/chart" uri="{C3380CC4-5D6E-409C-BE32-E72D297353CC}">
                <c16:uniqueId val="{00000002-3C16-4125-B97A-D0EBA9D0B1CF}"/>
              </c:ext>
            </c:extLst>
          </c:dPt>
          <c:dPt>
            <c:idx val="5"/>
            <c:invertIfNegative val="0"/>
            <c:bubble3D val="0"/>
            <c:spPr>
              <a:solidFill>
                <a:srgbClr val="E1BFBF"/>
              </a:solidFill>
            </c:spPr>
            <c:extLst>
              <c:ext xmlns:c16="http://schemas.microsoft.com/office/drawing/2014/chart" uri="{C3380CC4-5D6E-409C-BE32-E72D297353CC}">
                <c16:uniqueId val="{0000000B-9B05-4EC0-B6C5-883B60DE7730}"/>
              </c:ext>
            </c:extLst>
          </c:dPt>
          <c:dPt>
            <c:idx val="6"/>
            <c:invertIfNegative val="0"/>
            <c:bubble3D val="0"/>
            <c:spPr>
              <a:solidFill>
                <a:srgbClr val="E1BFBF"/>
              </a:solidFill>
            </c:spPr>
            <c:extLst>
              <c:ext xmlns:c16="http://schemas.microsoft.com/office/drawing/2014/chart" uri="{C3380CC4-5D6E-409C-BE32-E72D297353CC}">
                <c16:uniqueId val="{0000000D-9B05-4EC0-B6C5-883B60DE7730}"/>
              </c:ext>
            </c:extLst>
          </c:dPt>
          <c:dPt>
            <c:idx val="7"/>
            <c:invertIfNegative val="0"/>
            <c:bubble3D val="0"/>
            <c:spPr>
              <a:solidFill>
                <a:srgbClr val="E1BFBF"/>
              </a:solidFill>
            </c:spPr>
            <c:extLst>
              <c:ext xmlns:c16="http://schemas.microsoft.com/office/drawing/2014/chart" uri="{C3380CC4-5D6E-409C-BE32-E72D297353CC}">
                <c16:uniqueId val="{0000000F-9B05-4EC0-B6C5-883B60DE7730}"/>
              </c:ext>
            </c:extLst>
          </c:dPt>
          <c:dPt>
            <c:idx val="8"/>
            <c:invertIfNegative val="0"/>
            <c:bubble3D val="0"/>
            <c:spPr>
              <a:solidFill>
                <a:srgbClr val="E1BFBF"/>
              </a:solidFill>
            </c:spPr>
            <c:extLst>
              <c:ext xmlns:c16="http://schemas.microsoft.com/office/drawing/2014/chart" uri="{C3380CC4-5D6E-409C-BE32-E72D297353CC}">
                <c16:uniqueId val="{00000011-9B05-4EC0-B6C5-883B60DE7730}"/>
              </c:ext>
            </c:extLst>
          </c:dPt>
          <c:dPt>
            <c:idx val="9"/>
            <c:invertIfNegative val="0"/>
            <c:bubble3D val="0"/>
            <c:spPr>
              <a:solidFill>
                <a:srgbClr val="E1BFBF"/>
              </a:solidFill>
            </c:spPr>
            <c:extLst>
              <c:ext xmlns:c16="http://schemas.microsoft.com/office/drawing/2014/chart" uri="{C3380CC4-5D6E-409C-BE32-E72D297353CC}">
                <c16:uniqueId val="{00000013-9B05-4EC0-B6C5-883B60DE7730}"/>
              </c:ext>
            </c:extLst>
          </c:dPt>
          <c:dPt>
            <c:idx val="10"/>
            <c:invertIfNegative val="0"/>
            <c:bubble3D val="0"/>
            <c:spPr>
              <a:solidFill>
                <a:srgbClr val="E1BFBF"/>
              </a:solidFill>
            </c:spPr>
            <c:extLst>
              <c:ext xmlns:c16="http://schemas.microsoft.com/office/drawing/2014/chart" uri="{C3380CC4-5D6E-409C-BE32-E72D297353CC}">
                <c16:uniqueId val="{00000015-9B05-4EC0-B6C5-883B60DE7730}"/>
              </c:ext>
            </c:extLst>
          </c:dPt>
          <c:dLbls>
            <c:numFmt formatCode="0%" sourceLinked="0"/>
            <c:spPr>
              <a:noFill/>
              <a:ln>
                <a:noFill/>
              </a:ln>
              <a:effectLst/>
            </c:spPr>
            <c:txPr>
              <a:bodyPr rot="0" vertOverflow="overflow" horzOverflow="overflow" vert="horz">
                <a:spAutoFit/>
              </a:bodyPr>
              <a:lstStyle/>
              <a:p>
                <a:pPr>
                  <a:defRPr sz="8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0</c:v>
                </c:pt>
                <c:pt idx="1">
                  <c:v>1</c:v>
                </c:pt>
                <c:pt idx="2">
                  <c:v>2</c:v>
                </c:pt>
                <c:pt idx="3">
                  <c:v>3</c:v>
                </c:pt>
                <c:pt idx="4">
                  <c:v>4</c:v>
                </c:pt>
                <c:pt idx="5">
                  <c:v>5</c:v>
                </c:pt>
                <c:pt idx="6">
                  <c:v>6</c:v>
                </c:pt>
                <c:pt idx="7">
                  <c:v>7</c:v>
                </c:pt>
                <c:pt idx="8">
                  <c:v>8</c:v>
                </c:pt>
                <c:pt idx="9">
                  <c:v>9</c:v>
                </c:pt>
                <c:pt idx="10">
                  <c:v>10</c:v>
                </c:pt>
              </c:strCache>
            </c:strRef>
          </c:cat>
          <c:val>
            <c:numRef>
              <c:f>Sheet1!$B$2:$B$12</c:f>
              <c:numCache>
                <c:formatCode>General</c:formatCode>
                <c:ptCount val="11"/>
                <c:pt idx="0">
                  <c:v>-0.86864502653929254</c:v>
                </c:pt>
                <c:pt idx="1">
                  <c:v>-0.79851068095048539</c:v>
                </c:pt>
                <c:pt idx="2">
                  <c:v>-0.78408217187383367</c:v>
                </c:pt>
                <c:pt idx="3">
                  <c:v>-1</c:v>
                </c:pt>
                <c:pt idx="4">
                  <c:v>-0.79453677644927057</c:v>
                </c:pt>
                <c:pt idx="5">
                  <c:v>-1</c:v>
                </c:pt>
                <c:pt idx="6">
                  <c:v>-1</c:v>
                </c:pt>
                <c:pt idx="7">
                  <c:v>-0.93770761225632493</c:v>
                </c:pt>
                <c:pt idx="8">
                  <c:v>-1</c:v>
                </c:pt>
                <c:pt idx="9">
                  <c:v>-1</c:v>
                </c:pt>
                <c:pt idx="10">
                  <c:v>-1</c:v>
                </c:pt>
              </c:numCache>
            </c:numRef>
          </c:val>
          <c:extLst>
            <c:ext xmlns:c16="http://schemas.microsoft.com/office/drawing/2014/chart" uri="{C3380CC4-5D6E-409C-BE32-E72D297353CC}">
              <c16:uniqueId val="{00000000-4C23-4E15-BCEC-32644AF1F841}"/>
            </c:ext>
          </c:extLst>
        </c:ser>
        <c:dLbls>
          <c:dLblPos val="inEnd"/>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max val="1"/>
          <c:min val="-1"/>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552606217191601"/>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1-0DAD-4482-B93F-84F75497B5DC}"/>
              </c:ext>
            </c:extLst>
          </c:dPt>
          <c:dPt>
            <c:idx val="1"/>
            <c:invertIfNegative val="0"/>
            <c:bubble3D val="0"/>
            <c:extLst>
              <c:ext xmlns:c16="http://schemas.microsoft.com/office/drawing/2014/chart" uri="{C3380CC4-5D6E-409C-BE32-E72D297353CC}">
                <c16:uniqueId val="{00000003-0DAD-4482-B93F-84F75497B5DC}"/>
              </c:ext>
            </c:extLst>
          </c:dPt>
          <c:dPt>
            <c:idx val="3"/>
            <c:invertIfNegative val="0"/>
            <c:bubble3D val="0"/>
            <c:extLst>
              <c:ext xmlns:c16="http://schemas.microsoft.com/office/drawing/2014/chart" uri="{C3380CC4-5D6E-409C-BE32-E72D297353CC}">
                <c16:uniqueId val="{00000000-457F-964A-9BFD-8D1099080E0C}"/>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4-0DAD-4482-B93F-84F75497B5DC}"/>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5-0DAD-4482-B93F-84F75497B5DC}"/>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2044444444444447"/>
          <c:y val="0.94983333789005531"/>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90310294123654"/>
          <c:y val="0"/>
          <c:w val="0.89451016692081498"/>
          <c:h val="0.91190916402376787"/>
        </c:manualLayout>
      </c:layout>
      <c:barChart>
        <c:barDir val="bar"/>
        <c:grouping val="percentStacked"/>
        <c:varyColors val="0"/>
        <c:ser>
          <c:idx val="2"/>
          <c:order val="0"/>
          <c:tx>
            <c:strRef>
              <c:f>Sheet1!$B$1</c:f>
              <c:strCache>
                <c:ptCount val="1"/>
                <c:pt idx="0">
                  <c:v>Volume Sold on Deal</c:v>
                </c:pt>
              </c:strCache>
            </c:strRef>
          </c:tx>
          <c:spPr>
            <a:solidFill>
              <a:srgbClr val="E6E5E5">
                <a:lumMod val="90000"/>
              </a:srgb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E36D-45CD-A288-8E90CF32B35D}"/>
              </c:ext>
            </c:extLst>
          </c:dPt>
          <c:dPt>
            <c:idx val="1"/>
            <c:invertIfNegative val="0"/>
            <c:bubble3D val="0"/>
            <c:extLst>
              <c:ext xmlns:c16="http://schemas.microsoft.com/office/drawing/2014/chart" uri="{C3380CC4-5D6E-409C-BE32-E72D297353CC}">
                <c16:uniqueId val="{00000001-E36D-45CD-A288-8E90CF32B35D}"/>
              </c:ext>
            </c:extLst>
          </c:dPt>
          <c:dPt>
            <c:idx val="3"/>
            <c:invertIfNegative val="0"/>
            <c:bubble3D val="0"/>
            <c:extLst>
              <c:ext xmlns:c16="http://schemas.microsoft.com/office/drawing/2014/chart" uri="{C3380CC4-5D6E-409C-BE32-E72D297353CC}">
                <c16:uniqueId val="{00000002-E36D-45CD-A288-8E90CF32B35D}"/>
              </c:ext>
            </c:extLst>
          </c:dPt>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B$2:$B$8</c:f>
              <c:numCache>
                <c:formatCode>General</c:formatCode>
                <c:ptCount val="7"/>
                <c:pt idx="0">
                  <c:v>0.122076</c:v>
                </c:pt>
                <c:pt idx="1">
                  <c:v>8.6438000000000001E-2</c:v>
                </c:pt>
                <c:pt idx="2">
                  <c:v>0.16711699999999999</c:v>
                </c:pt>
                <c:pt idx="3">
                  <c:v>0.216805</c:v>
                </c:pt>
                <c:pt idx="4">
                  <c:v>6.0905000000000001E-2</c:v>
                </c:pt>
                <c:pt idx="5">
                  <c:v>0.14979999999999999</c:v>
                </c:pt>
                <c:pt idx="6">
                  <c:v>0.14000000000000001</c:v>
                </c:pt>
              </c:numCache>
            </c:numRef>
          </c:val>
          <c:extLst>
            <c:ext xmlns:c16="http://schemas.microsoft.com/office/drawing/2014/chart" uri="{C3380CC4-5D6E-409C-BE32-E72D297353CC}">
              <c16:uniqueId val="{00000003-E36D-45CD-A288-8E90CF32B35D}"/>
            </c:ext>
          </c:extLst>
        </c:ser>
        <c:ser>
          <c:idx val="0"/>
          <c:order val="1"/>
          <c:tx>
            <c:strRef>
              <c:f>Sheet1!$C$1</c:f>
              <c:strCache>
                <c:ptCount val="1"/>
                <c:pt idx="0">
                  <c:v>1-Volume Sold on Deal</c:v>
                </c:pt>
              </c:strCache>
            </c:strRef>
          </c:tx>
          <c:spPr>
            <a:solidFill>
              <a:srgbClr val="FFFFFF">
                <a:lumMod val="9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spcFirstLastPara="1" vertOverflow="ellipsis" vert="horz" wrap="square"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8</c:f>
              <c:strCache>
                <c:ptCount val="6"/>
                <c:pt idx="0">
                  <c:v>Grand Total</c:v>
                </c:pt>
                <c:pt idx="1">
                  <c:v>PETFL-EW DPG EP</c:v>
                </c:pt>
                <c:pt idx="2">
                  <c:v>PETFL-EW DPG KW</c:v>
                </c:pt>
                <c:pt idx="3">
                  <c:v>PETFL-MW</c:v>
                </c:pt>
                <c:pt idx="4">
                  <c:v>BRFL</c:v>
                </c:pt>
                <c:pt idx="5">
                  <c:v>FL</c:v>
                </c:pt>
              </c:strCache>
            </c:strRef>
          </c:cat>
          <c:val>
            <c:numRef>
              <c:f>Sheet1!$C$2:$C$8</c:f>
              <c:numCache>
                <c:formatCode>General</c:formatCode>
                <c:ptCount val="7"/>
                <c:pt idx="0">
                  <c:v>0.87792400000000004</c:v>
                </c:pt>
                <c:pt idx="1">
                  <c:v>0.91356199999999999</c:v>
                </c:pt>
                <c:pt idx="2">
                  <c:v>0.83288300000000004</c:v>
                </c:pt>
                <c:pt idx="3">
                  <c:v>0.78319499999999997</c:v>
                </c:pt>
                <c:pt idx="4">
                  <c:v>0.93909500000000001</c:v>
                </c:pt>
                <c:pt idx="5">
                  <c:v>0.85019999999999996</c:v>
                </c:pt>
                <c:pt idx="6">
                  <c:v>0.86</c:v>
                </c:pt>
              </c:numCache>
            </c:numRef>
          </c:val>
          <c:extLst>
            <c:ext xmlns:c16="http://schemas.microsoft.com/office/drawing/2014/chart" uri="{C3380CC4-5D6E-409C-BE32-E72D297353CC}">
              <c16:uniqueId val="{00000004-E36D-45CD-A288-8E90CF32B35D}"/>
            </c:ext>
          </c:extLst>
        </c:ser>
        <c:dLbls>
          <c:dLblPos val="ctr"/>
          <c:showLegendKey val="0"/>
          <c:showVal val="1"/>
          <c:showCatName val="0"/>
          <c:showSerName val="0"/>
          <c:showPercent val="0"/>
          <c:showBubbleSize val="0"/>
        </c:dLbls>
        <c:gapWidth val="10"/>
        <c:overlap val="100"/>
        <c:axId val="395654296"/>
        <c:axId val="395652336"/>
      </c:barChart>
      <c:catAx>
        <c:axId val="395654296"/>
        <c:scaling>
          <c:orientation val="maxMin"/>
        </c:scaling>
        <c:delete val="1"/>
        <c:axPos val="l"/>
        <c:numFmt formatCode="General" sourceLinked="1"/>
        <c:majorTickMark val="none"/>
        <c:minorTickMark val="none"/>
        <c:tickLblPos val="nextTo"/>
        <c:crossAx val="395652336"/>
        <c:crosses val="autoZero"/>
        <c:auto val="1"/>
        <c:lblAlgn val="ctr"/>
        <c:lblOffset val="100"/>
        <c:noMultiLvlLbl val="0"/>
      </c:catAx>
      <c:valAx>
        <c:axId val="395652336"/>
        <c:scaling>
          <c:orientation val="minMax"/>
        </c:scaling>
        <c:delete val="1"/>
        <c:axPos val="t"/>
        <c:numFmt formatCode="0%" sourceLinked="1"/>
        <c:majorTickMark val="none"/>
        <c:minorTickMark val="none"/>
        <c:tickLblPos val="nextTo"/>
        <c:crossAx val="395654296"/>
        <c:crosses val="autoZero"/>
        <c:crossBetween val="between"/>
      </c:valAx>
      <c:spPr>
        <a:noFill/>
        <a:ln>
          <a:noFill/>
        </a:ln>
        <a:effectLst/>
      </c:spPr>
    </c:plotArea>
    <c:legend>
      <c:legendPos val="r"/>
      <c:layout>
        <c:manualLayout>
          <c:xMode val="edge"/>
          <c:yMode val="edge"/>
          <c:x val="0.11477716606387947"/>
          <c:y val="0.94983336029326937"/>
          <c:w val="0.67464089692101747"/>
          <c:h val="4.91041679606298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000" b="0" i="0">
          <a:solidFill>
            <a:schemeClr val="tx2"/>
          </a:solidFill>
          <a:latin typeface="+mn-lt"/>
        </a:defRPr>
      </a:pPr>
      <a:endParaRPr lang="en-US"/>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80408731413291E-2"/>
          <c:y val="6.6865964580702028E-2"/>
          <c:w val="0.86750687197456677"/>
          <c:h val="0.76420603406237597"/>
        </c:manualLayout>
      </c:layout>
      <c:barChart>
        <c:barDir val="col"/>
        <c:grouping val="clustered"/>
        <c:varyColors val="0"/>
        <c:ser>
          <c:idx val="0"/>
          <c:order val="0"/>
          <c:tx>
            <c:strRef>
              <c:f>Sheet1!$B$1</c:f>
              <c:strCache>
                <c:ptCount val="1"/>
                <c:pt idx="0">
                  <c:v>Value Share</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FF32-4FF0-A054-F1F285134A34}"/>
              </c:ext>
            </c:extLst>
          </c:dPt>
          <c:dPt>
            <c:idx val="1"/>
            <c:invertIfNegative val="0"/>
            <c:bubble3D val="0"/>
            <c:extLst>
              <c:ext xmlns:c16="http://schemas.microsoft.com/office/drawing/2014/chart" uri="{C3380CC4-5D6E-409C-BE32-E72D297353CC}">
                <c16:uniqueId val="{00000003-FF32-4FF0-A054-F1F285134A34}"/>
              </c:ext>
            </c:extLst>
          </c:dPt>
          <c:dPt>
            <c:idx val="3"/>
            <c:invertIfNegative val="0"/>
            <c:bubble3D val="0"/>
            <c:extLst>
              <c:ext xmlns:c16="http://schemas.microsoft.com/office/drawing/2014/chart" uri="{C3380CC4-5D6E-409C-BE32-E72D297353CC}">
                <c16:uniqueId val="{00000005-FF32-4FF0-A054-F1F285134A34}"/>
              </c:ext>
            </c:extLst>
          </c:dPt>
          <c:dPt>
            <c:idx val="4"/>
            <c:invertIfNegative val="0"/>
            <c:bubble3D val="0"/>
            <c:extLst>
              <c:ext xmlns:c16="http://schemas.microsoft.com/office/drawing/2014/chart" uri="{C3380CC4-5D6E-409C-BE32-E72D297353CC}">
                <c16:uniqueId val="{00000007-FF32-4FF0-A054-F1F285134A34}"/>
              </c:ext>
            </c:extLst>
          </c:dPt>
          <c:dPt>
            <c:idx val="5"/>
            <c:invertIfNegative val="0"/>
            <c:bubble3D val="0"/>
            <c:extLst>
              <c:ext xmlns:c16="http://schemas.microsoft.com/office/drawing/2014/chart" uri="{C3380CC4-5D6E-409C-BE32-E72D297353CC}">
                <c16:uniqueId val="{00000009-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B$2:$B$10</c:f>
              <c:numCache>
                <c:formatCode>General</c:formatCode>
                <c:ptCount val="9"/>
                <c:pt idx="0">
                  <c:v>0.12378275753677978</c:v>
                </c:pt>
                <c:pt idx="1">
                  <c:v>0.11671096345997795</c:v>
                </c:pt>
                <c:pt idx="2">
                  <c:v>0.10891940324469492</c:v>
                </c:pt>
                <c:pt idx="3">
                  <c:v>8.1613751220955141E-2</c:v>
                </c:pt>
                <c:pt idx="4">
                  <c:v>6.9218830037023657E-2</c:v>
                </c:pt>
                <c:pt idx="5">
                  <c:v>6.4484124887376107E-2</c:v>
                </c:pt>
                <c:pt idx="6">
                  <c:v>5.7775770621263815E-2</c:v>
                </c:pt>
                <c:pt idx="7">
                  <c:v>5.3272494950189576E-2</c:v>
                </c:pt>
                <c:pt idx="8">
                  <c:v>4.0675602600890891E-2</c:v>
                </c:pt>
              </c:numCache>
            </c:numRef>
          </c:val>
          <c:extLst>
            <c:ext xmlns:c16="http://schemas.microsoft.com/office/drawing/2014/chart" uri="{C3380CC4-5D6E-409C-BE32-E72D297353CC}">
              <c16:uniqueId val="{0000000A-FF32-4FF0-A054-F1F285134A34}"/>
            </c:ext>
          </c:extLst>
        </c:ser>
        <c:ser>
          <c:idx val="1"/>
          <c:order val="1"/>
          <c:tx>
            <c:strRef>
              <c:f>Sheet1!$C$1</c:f>
              <c:strCache>
                <c:ptCount val="1"/>
                <c:pt idx="0">
                  <c:v>Promo Share</c:v>
                </c:pt>
              </c:strCache>
            </c:strRef>
          </c:tx>
          <c:spPr>
            <a:solidFill>
              <a:schemeClr val="bg2">
                <a:lumMod val="75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C-FF32-4FF0-A054-F1F285134A34}"/>
              </c:ext>
            </c:extLst>
          </c:dPt>
          <c:dPt>
            <c:idx val="1"/>
            <c:invertIfNegative val="0"/>
            <c:bubble3D val="0"/>
            <c:extLst>
              <c:ext xmlns:c16="http://schemas.microsoft.com/office/drawing/2014/chart" uri="{C3380CC4-5D6E-409C-BE32-E72D297353CC}">
                <c16:uniqueId val="{0000000E-FF32-4FF0-A054-F1F285134A34}"/>
              </c:ext>
            </c:extLst>
          </c:dPt>
          <c:dPt>
            <c:idx val="3"/>
            <c:invertIfNegative val="0"/>
            <c:bubble3D val="0"/>
            <c:extLst>
              <c:ext xmlns:c16="http://schemas.microsoft.com/office/drawing/2014/chart" uri="{C3380CC4-5D6E-409C-BE32-E72D297353CC}">
                <c16:uniqueId val="{00000010-FF32-4FF0-A054-F1F285134A34}"/>
              </c:ext>
            </c:extLst>
          </c:dPt>
          <c:dPt>
            <c:idx val="4"/>
            <c:invertIfNegative val="0"/>
            <c:bubble3D val="0"/>
            <c:extLst>
              <c:ext xmlns:c16="http://schemas.microsoft.com/office/drawing/2014/chart" uri="{C3380CC4-5D6E-409C-BE32-E72D297353CC}">
                <c16:uniqueId val="{00000012-FF32-4FF0-A054-F1F285134A34}"/>
              </c:ext>
            </c:extLst>
          </c:dPt>
          <c:dPt>
            <c:idx val="5"/>
            <c:invertIfNegative val="0"/>
            <c:bubble3D val="0"/>
            <c:extLst>
              <c:ext xmlns:c16="http://schemas.microsoft.com/office/drawing/2014/chart" uri="{C3380CC4-5D6E-409C-BE32-E72D297353CC}">
                <c16:uniqueId val="{00000014-FF32-4FF0-A054-F1F285134A34}"/>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C$2:$C$10</c:f>
              <c:numCache>
                <c:formatCode>General</c:formatCode>
                <c:ptCount val="9"/>
                <c:pt idx="0">
                  <c:v>0.18287954337750859</c:v>
                </c:pt>
                <c:pt idx="1">
                  <c:v>0.10647118379234825</c:v>
                </c:pt>
                <c:pt idx="2">
                  <c:v>0.10646245549134771</c:v>
                </c:pt>
                <c:pt idx="3">
                  <c:v>3.8944377127970095E-2</c:v>
                </c:pt>
                <c:pt idx="4">
                  <c:v>4.8003732947916537E-2</c:v>
                </c:pt>
                <c:pt idx="5">
                  <c:v>6.8509320266489468E-2</c:v>
                </c:pt>
                <c:pt idx="6">
                  <c:v>8.1157280003894855E-2</c:v>
                </c:pt>
                <c:pt idx="7">
                  <c:v>8.3451633957705523E-2</c:v>
                </c:pt>
                <c:pt idx="8">
                  <c:v>2.6368507012581005E-2</c:v>
                </c:pt>
              </c:numCache>
            </c:numRef>
          </c:val>
          <c:extLst>
            <c:ext xmlns:c16="http://schemas.microsoft.com/office/drawing/2014/chart" uri="{C3380CC4-5D6E-409C-BE32-E72D297353CC}">
              <c16:uniqueId val="{00000015-FF32-4FF0-A054-F1F285134A34}"/>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VSOD</c:v>
                </c:pt>
              </c:strCache>
            </c:strRef>
          </c:tx>
          <c:spPr>
            <a:ln w="28575" cap="rnd">
              <a:noFill/>
              <a:round/>
            </a:ln>
            <a:effectLst/>
          </c:spPr>
          <c:marker>
            <c:symbol val="circle"/>
            <c:size val="29"/>
            <c:spPr>
              <a:solidFill>
                <a:schemeClr val="accent2"/>
              </a:solidFill>
              <a:ln w="44450">
                <a:solidFill>
                  <a:schemeClr val="accent2"/>
                </a:solidFill>
              </a:ln>
              <a:effectLst/>
            </c:spPr>
          </c:marker>
          <c:dLbls>
            <c:numFmt formatCode="0%" sourceLinked="0"/>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ershey</c:v>
                </c:pt>
                <c:pt idx="1">
                  <c:v>Kit Kat</c:v>
                </c:pt>
                <c:pt idx="2">
                  <c:v>M&amp;M'S</c:v>
                </c:pt>
                <c:pt idx="3">
                  <c:v>Milo</c:v>
                </c:pt>
                <c:pt idx="4">
                  <c:v>Kinder Joy</c:v>
                </c:pt>
                <c:pt idx="5">
                  <c:v>Glico Alfie</c:v>
                </c:pt>
                <c:pt idx="6">
                  <c:v>Kinder Bueno</c:v>
                </c:pt>
                <c:pt idx="7">
                  <c:v>Ferrero Rocher</c:v>
                </c:pt>
                <c:pt idx="8">
                  <c:v>Snickers</c:v>
                </c:pt>
              </c:strCache>
            </c:strRef>
          </c:cat>
          <c:val>
            <c:numRef>
              <c:f>Sheet1!$D$2:$D$10</c:f>
              <c:numCache>
                <c:formatCode>General</c:formatCode>
                <c:ptCount val="9"/>
                <c:pt idx="0">
                  <c:v>0.44357650363271445</c:v>
                </c:pt>
                <c:pt idx="1">
                  <c:v>0.27189310180771603</c:v>
                </c:pt>
                <c:pt idx="2">
                  <c:v>0.28326010157990406</c:v>
                </c:pt>
                <c:pt idx="3">
                  <c:v>0.13384480350763237</c:v>
                </c:pt>
                <c:pt idx="4">
                  <c:v>0.212258900124671</c:v>
                </c:pt>
                <c:pt idx="5">
                  <c:v>0.3045451464648139</c:v>
                </c:pt>
                <c:pt idx="6">
                  <c:v>0.40660591491529635</c:v>
                </c:pt>
                <c:pt idx="7">
                  <c:v>0.43752817863293547</c:v>
                </c:pt>
                <c:pt idx="8">
                  <c:v>0.20126467566136311</c:v>
                </c:pt>
              </c:numCache>
            </c:numRef>
          </c:val>
          <c:smooth val="0"/>
          <c:extLst>
            <c:ext xmlns:c16="http://schemas.microsoft.com/office/drawing/2014/chart" uri="{C3380CC4-5D6E-409C-BE32-E72D297353CC}">
              <c16:uniqueId val="{00000016-FF32-4FF0-A054-F1F285134A34}"/>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out"/>
        <c:minorTickMark val="none"/>
        <c:tickLblPos val="nextTo"/>
        <c:crossAx val="1433501040"/>
        <c:crosses val="autoZero"/>
        <c:auto val="1"/>
        <c:lblAlgn val="ctr"/>
        <c:lblOffset val="100"/>
        <c:noMultiLvlLbl val="0"/>
      </c:catAx>
      <c:valAx>
        <c:axId val="1433501040"/>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out"/>
        <c:minorTickMark val="none"/>
        <c:tickLblPos val="nextTo"/>
        <c:spPr>
          <a:noFill/>
          <a:ln>
            <a:noFill/>
          </a:ln>
          <a:effectLst/>
        </c:spPr>
        <c:txPr>
          <a:bodyPr rot="-60000000" vert="horz"/>
          <a:lstStyle/>
          <a:p>
            <a:pPr>
              <a:defRPr/>
            </a:pPr>
            <a:endParaRPr lang="en-US"/>
          </a:p>
        </c:txPr>
        <c:crossAx val="1837882976"/>
        <c:crosses val="autoZero"/>
        <c:crossBetween val="between"/>
      </c:valAx>
      <c:valAx>
        <c:axId val="1487101584"/>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US"/>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withinLinear" id="15">
  <a:schemeClr val="accent2"/>
</cs:colorStyle>
</file>

<file path=ppt/charts/colors26.xml><?xml version="1.0" encoding="utf-8"?>
<cs:colorStyle xmlns:cs="http://schemas.microsoft.com/office/drawing/2012/chartStyle" xmlns:a="http://schemas.openxmlformats.org/drawingml/2006/main" meth="withinLinear" id="15">
  <a:schemeClr val="accent2"/>
</cs:colorStyle>
</file>

<file path=ppt/charts/colors27.xml><?xml version="1.0" encoding="utf-8"?>
<cs:colorStyle xmlns:cs="http://schemas.microsoft.com/office/drawing/2012/chartStyle" xmlns:a="http://schemas.openxmlformats.org/drawingml/2006/main" meth="withinLinear" id="15">
  <a:schemeClr val="accent2"/>
</cs:colorStyle>
</file>

<file path=ppt/charts/colors28.xml><?xml version="1.0" encoding="utf-8"?>
<cs:colorStyle xmlns:cs="http://schemas.microsoft.com/office/drawing/2012/chartStyle" xmlns:a="http://schemas.openxmlformats.org/drawingml/2006/main" meth="withinLinear" id="15">
  <a:schemeClr val="accent2"/>
</cs:colorStyle>
</file>

<file path=ppt/charts/colors29.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withinLinear" id="15">
  <a:schemeClr val="accent2"/>
</cs:colorStyle>
</file>

<file path=ppt/charts/colors31.xml><?xml version="1.0" encoding="utf-8"?>
<cs:colorStyle xmlns:cs="http://schemas.microsoft.com/office/drawing/2012/chartStyle" xmlns:a="http://schemas.openxmlformats.org/drawingml/2006/main" meth="withinLinear" id="15">
  <a:schemeClr val="accent2"/>
</cs:colorStyle>
</file>

<file path=ppt/charts/colors32.xml><?xml version="1.0" encoding="utf-8"?>
<cs:colorStyle xmlns:cs="http://schemas.microsoft.com/office/drawing/2012/chartStyle" xmlns:a="http://schemas.openxmlformats.org/drawingml/2006/main" meth="withinLinear" id="15">
  <a:schemeClr val="accent2"/>
</cs:colorStyle>
</file>

<file path=ppt/charts/colors33.xml><?xml version="1.0" encoding="utf-8"?>
<cs:colorStyle xmlns:cs="http://schemas.microsoft.com/office/drawing/2012/chartStyle" xmlns:a="http://schemas.openxmlformats.org/drawingml/2006/main" meth="withinLinear" id="15">
  <a:schemeClr val="accent2"/>
</cs:colorStyle>
</file>

<file path=ppt/charts/colors34.xml><?xml version="1.0" encoding="utf-8"?>
<cs:colorStyle xmlns:cs="http://schemas.microsoft.com/office/drawing/2012/chartStyle" xmlns:a="http://schemas.openxmlformats.org/drawingml/2006/main" meth="withinLinear" id="15">
  <a:schemeClr val="accent2"/>
</cs:colorStyle>
</file>

<file path=ppt/charts/colors35.xml><?xml version="1.0" encoding="utf-8"?>
<cs:colorStyle xmlns:cs="http://schemas.microsoft.com/office/drawing/2012/chartStyle" xmlns:a="http://schemas.openxmlformats.org/drawingml/2006/main" meth="withinLinear" id="15">
  <a:schemeClr val="accent2"/>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1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1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1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4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4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4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4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4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5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BE782C-E550-452E-9FE3-91B8E17AF226}" type="datetimeFigureOut">
              <a:rPr lang="en-AE" smtClean="0"/>
              <a:t>10/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FA683E8-0D0A-4C02-8331-429BD4A453B1}" type="slidenum">
              <a:rPr lang="en-AE" smtClean="0"/>
              <a:t>‹#›</a:t>
            </a:fld>
            <a:endParaRPr lang="en-AE"/>
          </a:p>
        </p:txBody>
      </p:sp>
    </p:spTree>
    <p:extLst>
      <p:ext uri="{BB962C8B-B14F-4D97-AF65-F5344CB8AC3E}">
        <p14:creationId xmlns:p14="http://schemas.microsoft.com/office/powerpoint/2010/main" val="157140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93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4402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79EC1E-4691-4125-AF8E-80EF9CB4ECD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3395237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518798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AB5EBF-BAA8-6138-B8F1-BFB4854B1A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09C062-CCD5-939B-4A2F-6FE08AF040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5901A2-4DC5-B138-7D02-F90798372008}"/>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5849A7B3-1A26-B7E6-4696-587785E956AD}"/>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5</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1249402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AB5EBF-BAA8-6138-B8F1-BFB4854B1A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09C062-CCD5-939B-4A2F-6FE08AF040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5901A2-4DC5-B138-7D02-F90798372008}"/>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5849A7B3-1A26-B7E6-4696-587785E956AD}"/>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6</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1249402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7</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AB5EBF-BAA8-6138-B8F1-BFB4854B1A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09C062-CCD5-939B-4A2F-6FE08AF040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5901A2-4DC5-B138-7D02-F90798372008}"/>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5849A7B3-1A26-B7E6-4696-587785E956AD}"/>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8</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1249402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9</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BEF5B9-441A-4523-1ACE-593161F844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25B149-09B5-9BFC-B9FE-862E33482A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3BF498F-52A1-49CE-F97E-7C2102F38A51}"/>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881C2A81-3512-D72C-17BC-12FC847B80B4}"/>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0</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3371209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1</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AB5EBF-BAA8-6138-B8F1-BFB4854B1A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09C062-CCD5-939B-4A2F-6FE08AF040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5901A2-4DC5-B138-7D02-F90798372008}"/>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5849A7B3-1A26-B7E6-4696-587785E956AD}"/>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2</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1249402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54900-C643-AADF-A5A1-5DDD99B427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D7A29-A3E1-F863-625D-3E5C5DF9FE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E1CC5D-DE28-F6F2-8A65-CF5C339739DF}"/>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9774E330-C8BE-C17F-9670-03AC78A3165A}"/>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3</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5421947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AB5EBF-BAA8-6138-B8F1-BFB4854B1A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09C062-CCD5-939B-4A2F-6FE08AF040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5901A2-4DC5-B138-7D02-F90798372008}"/>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5849A7B3-1A26-B7E6-4696-587785E956AD}"/>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4</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1249402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BEF5B9-441A-4523-1ACE-593161F844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25B149-09B5-9BFC-B9FE-862E33482A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3BF498F-52A1-49CE-F97E-7C2102F38A51}"/>
              </a:ext>
            </a:extLst>
          </p:cNvPr>
          <p:cNvSpPr>
            <a:spLocks noGrp="1"/>
          </p:cNvSpPr>
          <p:nvPr>
            <p:ph type="body" idx="1"/>
          </p:nvPr>
        </p:nvSpPr>
        <p:spPr/>
        <p:txBody>
          <a:bodyPr/>
          <a:lstStyle/>
          <a:p>
            <a:r>
              <a:rPr lang="en-US"/>
              <a:t>Comparable  axis</a:t>
            </a:r>
            <a:endParaRPr lang="en-CH"/>
          </a:p>
        </p:txBody>
      </p:sp>
      <p:sp>
        <p:nvSpPr>
          <p:cNvPr id="4" name="Slide Number Placeholder 3">
            <a:extLst>
              <a:ext uri="{FF2B5EF4-FFF2-40B4-BE49-F238E27FC236}">
                <a16:creationId xmlns:a16="http://schemas.microsoft.com/office/drawing/2014/main" id="{881C2A81-3512-D72C-17BC-12FC847B80B4}"/>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A19A5C9-9ED6-49B8-AD6B-36022B353FD3}"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5</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3371209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2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99880"/>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8377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6367651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280142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60604921"/>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546860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215836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019364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76017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155241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49503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664086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4620400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816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5244384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03046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932298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777175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3747906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8940676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3292159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71045061"/>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8859716"/>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74903640"/>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54970409"/>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0492933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10/2025</a:t>
            </a:fld>
            <a:endParaRPr lang="en-US"/>
          </a:p>
        </p:txBody>
      </p:sp>
    </p:spTree>
    <p:extLst>
      <p:ext uri="{BB962C8B-B14F-4D97-AF65-F5344CB8AC3E}">
        <p14:creationId xmlns:p14="http://schemas.microsoft.com/office/powerpoint/2010/main" val="1848249703"/>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0.xml.rels><?xml version="1.0" encoding="UTF-8" standalone="yes"?>
<Relationships xmlns="http://schemas.openxmlformats.org/package/2006/relationships"><Relationship Id="rId3" Type="http://schemas.openxmlformats.org/officeDocument/2006/relationships/notesSlide" Target="../notesSlides/notesSlide54.xml"/><Relationship Id="rId7" Type="http://schemas.openxmlformats.org/officeDocument/2006/relationships/chart" Target="../charts/chart94.xml"/><Relationship Id="rId2" Type="http://schemas.openxmlformats.org/officeDocument/2006/relationships/slideLayout" Target="../slideLayouts/slideLayout7.xml"/><Relationship Id="rId1" Type="http://schemas.openxmlformats.org/officeDocument/2006/relationships/tags" Target="../tags/tag127.xml"/><Relationship Id="rId6" Type="http://schemas.openxmlformats.org/officeDocument/2006/relationships/chart" Target="../charts/chart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chart" Target="../charts/chart96.xml"/><Relationship Id="rId2" Type="http://schemas.openxmlformats.org/officeDocument/2006/relationships/slideLayout" Target="../slideLayouts/slideLayout7.xml"/><Relationship Id="rId1" Type="http://schemas.openxmlformats.org/officeDocument/2006/relationships/tags" Target="../tags/tag128.xml"/><Relationship Id="rId6" Type="http://schemas.openxmlformats.org/officeDocument/2006/relationships/chart" Target="../charts/chart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97.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chart" Target="../charts/chart98.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99.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100.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101.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4.xml"/><Relationship Id="rId5" Type="http://schemas.openxmlformats.org/officeDocument/2006/relationships/chart" Target="../charts/chart102.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5.xml"/><Relationship Id="rId5" Type="http://schemas.openxmlformats.org/officeDocument/2006/relationships/chart" Target="../charts/chart103.xml"/><Relationship Id="rId4" Type="http://schemas.openxmlformats.org/officeDocument/2006/relationships/image" Target="../media/image2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6.xml"/><Relationship Id="rId5" Type="http://schemas.openxmlformats.org/officeDocument/2006/relationships/chart" Target="../charts/chart104.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chart" Target="../charts/chart22.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7.xml"/><Relationship Id="rId5" Type="http://schemas.openxmlformats.org/officeDocument/2006/relationships/chart" Target="../charts/chart105.xml"/><Relationship Id="rId4" Type="http://schemas.openxmlformats.org/officeDocument/2006/relationships/image" Target="../media/image28.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8.xml"/><Relationship Id="rId5" Type="http://schemas.openxmlformats.org/officeDocument/2006/relationships/chart" Target="../charts/chart106.xml"/><Relationship Id="rId4" Type="http://schemas.openxmlformats.org/officeDocument/2006/relationships/image" Target="../media/image28.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9.xml"/><Relationship Id="rId5" Type="http://schemas.openxmlformats.org/officeDocument/2006/relationships/chart" Target="../charts/chart107.xml"/><Relationship Id="rId4" Type="http://schemas.openxmlformats.org/officeDocument/2006/relationships/image" Target="../media/image28.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0.xml"/><Relationship Id="rId5" Type="http://schemas.openxmlformats.org/officeDocument/2006/relationships/chart" Target="../charts/chart108.xml"/><Relationship Id="rId4" Type="http://schemas.openxmlformats.org/officeDocument/2006/relationships/image" Target="../media/image28.emf"/></Relationships>
</file>

<file path=ppt/slides/_rels/slide114.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xml"/><Relationship Id="rId1" Type="http://schemas.openxmlformats.org/officeDocument/2006/relationships/tags" Target="../tags/tag141.xml"/><Relationship Id="rId6" Type="http://schemas.openxmlformats.org/officeDocument/2006/relationships/chart" Target="../charts/chart1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5.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142.xml"/><Relationship Id="rId6" Type="http://schemas.openxmlformats.org/officeDocument/2006/relationships/chart" Target="../charts/chart1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6.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143.xml"/><Relationship Id="rId6" Type="http://schemas.openxmlformats.org/officeDocument/2006/relationships/chart" Target="../charts/chart1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7.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xml"/><Relationship Id="rId1" Type="http://schemas.openxmlformats.org/officeDocument/2006/relationships/tags" Target="../tags/tag144.xml"/><Relationship Id="rId6" Type="http://schemas.openxmlformats.org/officeDocument/2006/relationships/chart" Target="../charts/chart1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8.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145.xml"/><Relationship Id="rId6" Type="http://schemas.openxmlformats.org/officeDocument/2006/relationships/chart" Target="../charts/chart1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9.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146.xml"/><Relationship Id="rId6" Type="http://schemas.openxmlformats.org/officeDocument/2006/relationships/chart" Target="../charts/chart1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chart" Target="../charts/chart24.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0.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ags" Target="../tags/tag147.xml"/><Relationship Id="rId6" Type="http://schemas.openxmlformats.org/officeDocument/2006/relationships/chart" Target="../charts/chart1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1.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xml"/><Relationship Id="rId1" Type="http://schemas.openxmlformats.org/officeDocument/2006/relationships/tags" Target="../tags/tag148.xml"/><Relationship Id="rId6" Type="http://schemas.openxmlformats.org/officeDocument/2006/relationships/chart" Target="../charts/chart1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2.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7.xml"/><Relationship Id="rId1" Type="http://schemas.openxmlformats.org/officeDocument/2006/relationships/tags" Target="../tags/tag149.xml"/><Relationship Id="rId6" Type="http://schemas.openxmlformats.org/officeDocument/2006/relationships/chart" Target="../charts/chart1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3.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xml"/><Relationship Id="rId1" Type="http://schemas.openxmlformats.org/officeDocument/2006/relationships/tags" Target="../tags/tag150.xml"/><Relationship Id="rId6" Type="http://schemas.openxmlformats.org/officeDocument/2006/relationships/chart" Target="../charts/chart1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4.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7.xml"/><Relationship Id="rId1" Type="http://schemas.openxmlformats.org/officeDocument/2006/relationships/tags" Target="../tags/tag151.xml"/><Relationship Id="rId6" Type="http://schemas.openxmlformats.org/officeDocument/2006/relationships/chart" Target="../charts/chart1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5.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7.xml"/><Relationship Id="rId1" Type="http://schemas.openxmlformats.org/officeDocument/2006/relationships/tags" Target="../tags/tag152.xml"/><Relationship Id="rId6" Type="http://schemas.openxmlformats.org/officeDocument/2006/relationships/chart" Target="../charts/chart1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6.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7.xml"/><Relationship Id="rId1" Type="http://schemas.openxmlformats.org/officeDocument/2006/relationships/tags" Target="../tags/tag153.xml"/><Relationship Id="rId6" Type="http://schemas.openxmlformats.org/officeDocument/2006/relationships/chart" Target="../charts/chart1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7.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7.xml"/><Relationship Id="rId1" Type="http://schemas.openxmlformats.org/officeDocument/2006/relationships/tags" Target="../tags/tag154.xml"/><Relationship Id="rId6" Type="http://schemas.openxmlformats.org/officeDocument/2006/relationships/chart" Target="../charts/chart1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8.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7.xml"/><Relationship Id="rId1" Type="http://schemas.openxmlformats.org/officeDocument/2006/relationships/tags" Target="../tags/tag155.xml"/><Relationship Id="rId6" Type="http://schemas.openxmlformats.org/officeDocument/2006/relationships/chart" Target="../charts/chart1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9.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7.xml"/><Relationship Id="rId1" Type="http://schemas.openxmlformats.org/officeDocument/2006/relationships/tags" Target="../tags/tag156.xml"/><Relationship Id="rId6" Type="http://schemas.openxmlformats.org/officeDocument/2006/relationships/chart" Target="../charts/chart1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130.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7.xml"/><Relationship Id="rId1" Type="http://schemas.openxmlformats.org/officeDocument/2006/relationships/tags" Target="../tags/tag157.xml"/><Relationship Id="rId6" Type="http://schemas.openxmlformats.org/officeDocument/2006/relationships/chart" Target="../charts/chart1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8.xml"/><Relationship Id="rId5" Type="http://schemas.openxmlformats.org/officeDocument/2006/relationships/chart" Target="../charts/chart126.xml"/><Relationship Id="rId4" Type="http://schemas.openxmlformats.org/officeDocument/2006/relationships/image" Target="../media/image28.emf"/></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9.xml"/><Relationship Id="rId5" Type="http://schemas.openxmlformats.org/officeDocument/2006/relationships/chart" Target="../charts/chart127.xml"/><Relationship Id="rId4" Type="http://schemas.openxmlformats.org/officeDocument/2006/relationships/image" Target="../media/image28.emf"/></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0.xml"/><Relationship Id="rId5" Type="http://schemas.openxmlformats.org/officeDocument/2006/relationships/chart" Target="../charts/chart128.xml"/><Relationship Id="rId4" Type="http://schemas.openxmlformats.org/officeDocument/2006/relationships/image" Target="../media/image28.emf"/></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1.xml"/><Relationship Id="rId5" Type="http://schemas.openxmlformats.org/officeDocument/2006/relationships/chart" Target="../charts/chart129.xml"/><Relationship Id="rId4" Type="http://schemas.openxmlformats.org/officeDocument/2006/relationships/image" Target="../media/image28.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2.xml"/><Relationship Id="rId5" Type="http://schemas.openxmlformats.org/officeDocument/2006/relationships/chart" Target="../charts/chart130.xml"/><Relationship Id="rId4" Type="http://schemas.openxmlformats.org/officeDocument/2006/relationships/image" Target="../media/image28.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3.xml"/><Relationship Id="rId5" Type="http://schemas.openxmlformats.org/officeDocument/2006/relationships/chart" Target="../charts/chart131.xml"/><Relationship Id="rId4" Type="http://schemas.openxmlformats.org/officeDocument/2006/relationships/image" Target="../media/image28.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4.xml"/><Relationship Id="rId5" Type="http://schemas.openxmlformats.org/officeDocument/2006/relationships/chart" Target="../charts/chart132.xml"/><Relationship Id="rId4" Type="http://schemas.openxmlformats.org/officeDocument/2006/relationships/image" Target="../media/image28.emf"/></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5.xml"/><Relationship Id="rId5" Type="http://schemas.openxmlformats.org/officeDocument/2006/relationships/chart" Target="../charts/chart133.xml"/><Relationship Id="rId4" Type="http://schemas.openxmlformats.org/officeDocument/2006/relationships/image" Target="../media/image28.emf"/></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6.xml"/><Relationship Id="rId5" Type="http://schemas.openxmlformats.org/officeDocument/2006/relationships/chart" Target="../charts/chart134.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7.xml"/><Relationship Id="rId5" Type="http://schemas.openxmlformats.org/officeDocument/2006/relationships/chart" Target="../charts/chart135.xml"/><Relationship Id="rId4" Type="http://schemas.openxmlformats.org/officeDocument/2006/relationships/image" Target="../media/image28.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8.xml"/><Relationship Id="rId5" Type="http://schemas.openxmlformats.org/officeDocument/2006/relationships/chart" Target="../charts/chart136.xml"/><Relationship Id="rId4" Type="http://schemas.openxmlformats.org/officeDocument/2006/relationships/image" Target="../media/image28.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69.xml"/><Relationship Id="rId5" Type="http://schemas.openxmlformats.org/officeDocument/2006/relationships/chart" Target="../charts/chart137.xml"/><Relationship Id="rId4" Type="http://schemas.openxmlformats.org/officeDocument/2006/relationships/image" Target="../media/image2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0.xml"/><Relationship Id="rId5" Type="http://schemas.openxmlformats.org/officeDocument/2006/relationships/chart" Target="../charts/chart138.xml"/><Relationship Id="rId4" Type="http://schemas.openxmlformats.org/officeDocument/2006/relationships/image" Target="../media/image28.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1.xml"/><Relationship Id="rId5" Type="http://schemas.openxmlformats.org/officeDocument/2006/relationships/chart" Target="../charts/chart139.xml"/><Relationship Id="rId4" Type="http://schemas.openxmlformats.org/officeDocument/2006/relationships/image" Target="../media/image28.emf"/></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2.xml"/><Relationship Id="rId5" Type="http://schemas.openxmlformats.org/officeDocument/2006/relationships/chart" Target="../charts/chart140.xml"/><Relationship Id="rId4" Type="http://schemas.openxmlformats.org/officeDocument/2006/relationships/image" Target="../media/image2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3.xml"/><Relationship Id="rId5" Type="http://schemas.openxmlformats.org/officeDocument/2006/relationships/chart" Target="../charts/chart141.xml"/><Relationship Id="rId4" Type="http://schemas.openxmlformats.org/officeDocument/2006/relationships/image" Target="../media/image28.emf"/></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4.xml"/><Relationship Id="rId5" Type="http://schemas.openxmlformats.org/officeDocument/2006/relationships/chart" Target="../charts/chart142.xml"/><Relationship Id="rId4" Type="http://schemas.openxmlformats.org/officeDocument/2006/relationships/image" Target="../media/image28.emf"/></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5.xml"/><Relationship Id="rId5" Type="http://schemas.openxmlformats.org/officeDocument/2006/relationships/chart" Target="../charts/chart143.xml"/><Relationship Id="rId4" Type="http://schemas.openxmlformats.org/officeDocument/2006/relationships/image" Target="../media/image28.em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6.xml"/><Relationship Id="rId5" Type="http://schemas.openxmlformats.org/officeDocument/2006/relationships/chart" Target="../charts/chart144.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7.xml"/><Relationship Id="rId5" Type="http://schemas.openxmlformats.org/officeDocument/2006/relationships/chart" Target="../charts/chart145.xml"/><Relationship Id="rId4" Type="http://schemas.openxmlformats.org/officeDocument/2006/relationships/image" Target="../media/image28.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8.xml"/><Relationship Id="rId5" Type="http://schemas.openxmlformats.org/officeDocument/2006/relationships/chart" Target="../charts/chart146.xml"/><Relationship Id="rId4" Type="http://schemas.openxmlformats.org/officeDocument/2006/relationships/image" Target="../media/image28.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79.xml"/><Relationship Id="rId5" Type="http://schemas.openxmlformats.org/officeDocument/2006/relationships/chart" Target="../charts/chart147.xml"/><Relationship Id="rId4" Type="http://schemas.openxmlformats.org/officeDocument/2006/relationships/image" Target="../media/image28.emf"/></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0.xml"/><Relationship Id="rId5" Type="http://schemas.openxmlformats.org/officeDocument/2006/relationships/chart" Target="../charts/chart148.xml"/><Relationship Id="rId4" Type="http://schemas.openxmlformats.org/officeDocument/2006/relationships/image" Target="../media/image28.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1.xml"/><Relationship Id="rId5" Type="http://schemas.openxmlformats.org/officeDocument/2006/relationships/chart" Target="../charts/chart149.xml"/><Relationship Id="rId4" Type="http://schemas.openxmlformats.org/officeDocument/2006/relationships/image" Target="../media/image28.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2.xml"/><Relationship Id="rId5" Type="http://schemas.openxmlformats.org/officeDocument/2006/relationships/chart" Target="../charts/chart150.xml"/><Relationship Id="rId4" Type="http://schemas.openxmlformats.org/officeDocument/2006/relationships/image" Target="../media/image28.emf"/></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3.xml"/><Relationship Id="rId5" Type="http://schemas.openxmlformats.org/officeDocument/2006/relationships/chart" Target="../charts/chart151.xml"/><Relationship Id="rId4" Type="http://schemas.openxmlformats.org/officeDocument/2006/relationships/image" Target="../media/image28.emf"/></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4.xml"/><Relationship Id="rId5" Type="http://schemas.openxmlformats.org/officeDocument/2006/relationships/chart" Target="../charts/chart152.xml"/><Relationship Id="rId4" Type="http://schemas.openxmlformats.org/officeDocument/2006/relationships/image" Target="../media/image28.emf"/></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5.xml"/><Relationship Id="rId5" Type="http://schemas.openxmlformats.org/officeDocument/2006/relationships/chart" Target="../charts/chart153.xml"/><Relationship Id="rId4" Type="http://schemas.openxmlformats.org/officeDocument/2006/relationships/image" Target="../media/image28.emf"/></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6.xml"/><Relationship Id="rId5" Type="http://schemas.openxmlformats.org/officeDocument/2006/relationships/chart" Target="../charts/chart154.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7.xml"/><Relationship Id="rId5" Type="http://schemas.openxmlformats.org/officeDocument/2006/relationships/chart" Target="../charts/chart155.xml"/><Relationship Id="rId4" Type="http://schemas.openxmlformats.org/officeDocument/2006/relationships/image" Target="../media/image28.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8.xml"/><Relationship Id="rId5" Type="http://schemas.openxmlformats.org/officeDocument/2006/relationships/chart" Target="../charts/chart156.xml"/><Relationship Id="rId4" Type="http://schemas.openxmlformats.org/officeDocument/2006/relationships/image" Target="../media/image28.emf"/></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89.xml"/><Relationship Id="rId5" Type="http://schemas.openxmlformats.org/officeDocument/2006/relationships/chart" Target="../charts/chart157.xml"/><Relationship Id="rId4" Type="http://schemas.openxmlformats.org/officeDocument/2006/relationships/image" Target="../media/image28.emf"/></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0.xml"/><Relationship Id="rId5" Type="http://schemas.openxmlformats.org/officeDocument/2006/relationships/chart" Target="../charts/chart158.xml"/><Relationship Id="rId4" Type="http://schemas.openxmlformats.org/officeDocument/2006/relationships/image" Target="../media/image28.emf"/></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161.xml"/><Relationship Id="rId2" Type="http://schemas.openxmlformats.org/officeDocument/2006/relationships/slideLayout" Target="../slideLayouts/slideLayout7.xml"/><Relationship Id="rId1" Type="http://schemas.openxmlformats.org/officeDocument/2006/relationships/tags" Target="../tags/tag191.xml"/><Relationship Id="rId6" Type="http://schemas.openxmlformats.org/officeDocument/2006/relationships/chart" Target="../charts/chart160.xml"/><Relationship Id="rId5" Type="http://schemas.openxmlformats.org/officeDocument/2006/relationships/chart" Target="../charts/chart159.xml"/><Relationship Id="rId4" Type="http://schemas.openxmlformats.org/officeDocument/2006/relationships/image" Target="../media/image28.emf"/></Relationships>
</file>

<file path=ppt/slides/_rels/slide165.xml.rels><?xml version="1.0" encoding="UTF-8" standalone="yes"?>
<Relationships xmlns="http://schemas.openxmlformats.org/package/2006/relationships"><Relationship Id="rId8" Type="http://schemas.openxmlformats.org/officeDocument/2006/relationships/chart" Target="../charts/chart165.xml"/><Relationship Id="rId3" Type="http://schemas.openxmlformats.org/officeDocument/2006/relationships/oleObject" Target="../embeddings/oleObject28.bin"/><Relationship Id="rId7" Type="http://schemas.openxmlformats.org/officeDocument/2006/relationships/chart" Target="../charts/chart164.xml"/><Relationship Id="rId2" Type="http://schemas.openxmlformats.org/officeDocument/2006/relationships/slideLayout" Target="../slideLayouts/slideLayout7.xml"/><Relationship Id="rId1" Type="http://schemas.openxmlformats.org/officeDocument/2006/relationships/tags" Target="../tags/tag192.xml"/><Relationship Id="rId6" Type="http://schemas.openxmlformats.org/officeDocument/2006/relationships/chart" Target="../charts/chart163.xml"/><Relationship Id="rId5" Type="http://schemas.openxmlformats.org/officeDocument/2006/relationships/chart" Target="../charts/chart162.xml"/><Relationship Id="rId4" Type="http://schemas.openxmlformats.org/officeDocument/2006/relationships/image" Target="../media/image28.emf"/></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3.xml"/><Relationship Id="rId6" Type="http://schemas.openxmlformats.org/officeDocument/2006/relationships/chart" Target="../charts/chart167.xml"/><Relationship Id="rId5" Type="http://schemas.openxmlformats.org/officeDocument/2006/relationships/chart" Target="../charts/chart166.xml"/><Relationship Id="rId4" Type="http://schemas.openxmlformats.org/officeDocument/2006/relationships/image" Target="../media/image28.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170.xml"/><Relationship Id="rId2" Type="http://schemas.openxmlformats.org/officeDocument/2006/relationships/slideLayout" Target="../slideLayouts/slideLayout7.xml"/><Relationship Id="rId1" Type="http://schemas.openxmlformats.org/officeDocument/2006/relationships/tags" Target="../tags/tag194.xml"/><Relationship Id="rId6" Type="http://schemas.openxmlformats.org/officeDocument/2006/relationships/chart" Target="../charts/chart169.xml"/><Relationship Id="rId5" Type="http://schemas.openxmlformats.org/officeDocument/2006/relationships/chart" Target="../charts/chart168.xml"/><Relationship Id="rId4" Type="http://schemas.openxmlformats.org/officeDocument/2006/relationships/image" Target="../media/image28.emf"/></Relationships>
</file>

<file path=ppt/slides/_rels/slide16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5.xml"/><Relationship Id="rId6" Type="http://schemas.openxmlformats.org/officeDocument/2006/relationships/chart" Target="../charts/chart172.xml"/><Relationship Id="rId5" Type="http://schemas.openxmlformats.org/officeDocument/2006/relationships/chart" Target="../charts/chart171.xml"/><Relationship Id="rId4" Type="http://schemas.openxmlformats.org/officeDocument/2006/relationships/image" Target="../media/image28.emf"/></Relationships>
</file>

<file path=ppt/slides/_rels/slide169.xml.rels><?xml version="1.0" encoding="UTF-8" standalone="yes"?>
<Relationships xmlns="http://schemas.openxmlformats.org/package/2006/relationships"><Relationship Id="rId8" Type="http://schemas.openxmlformats.org/officeDocument/2006/relationships/chart" Target="../charts/chart176.xml"/><Relationship Id="rId3" Type="http://schemas.openxmlformats.org/officeDocument/2006/relationships/oleObject" Target="../embeddings/oleObject28.bin"/><Relationship Id="rId7" Type="http://schemas.openxmlformats.org/officeDocument/2006/relationships/chart" Target="../charts/chart175.xml"/><Relationship Id="rId2" Type="http://schemas.openxmlformats.org/officeDocument/2006/relationships/slideLayout" Target="../slideLayouts/slideLayout7.xml"/><Relationship Id="rId1" Type="http://schemas.openxmlformats.org/officeDocument/2006/relationships/tags" Target="../tags/tag196.xml"/><Relationship Id="rId6" Type="http://schemas.openxmlformats.org/officeDocument/2006/relationships/chart" Target="../charts/chart174.xml"/><Relationship Id="rId5" Type="http://schemas.openxmlformats.org/officeDocument/2006/relationships/chart" Target="../charts/chart173.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7.xml"/><Relationship Id="rId6" Type="http://schemas.openxmlformats.org/officeDocument/2006/relationships/chart" Target="../charts/chart178.xml"/><Relationship Id="rId5" Type="http://schemas.openxmlformats.org/officeDocument/2006/relationships/chart" Target="../charts/chart177.xml"/><Relationship Id="rId4" Type="http://schemas.openxmlformats.org/officeDocument/2006/relationships/image" Target="../media/image28.emf"/></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181.xml"/><Relationship Id="rId2" Type="http://schemas.openxmlformats.org/officeDocument/2006/relationships/slideLayout" Target="../slideLayouts/slideLayout7.xml"/><Relationship Id="rId1" Type="http://schemas.openxmlformats.org/officeDocument/2006/relationships/tags" Target="../tags/tag198.xml"/><Relationship Id="rId6" Type="http://schemas.openxmlformats.org/officeDocument/2006/relationships/chart" Target="../charts/chart180.xml"/><Relationship Id="rId5" Type="http://schemas.openxmlformats.org/officeDocument/2006/relationships/chart" Target="../charts/chart179.xml"/><Relationship Id="rId4" Type="http://schemas.openxmlformats.org/officeDocument/2006/relationships/image" Target="../media/image28.emf"/></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99.xml"/><Relationship Id="rId6" Type="http://schemas.openxmlformats.org/officeDocument/2006/relationships/chart" Target="../charts/chart183.xml"/><Relationship Id="rId5" Type="http://schemas.openxmlformats.org/officeDocument/2006/relationships/chart" Target="../charts/chart182.xml"/><Relationship Id="rId4" Type="http://schemas.openxmlformats.org/officeDocument/2006/relationships/image" Target="../media/image28.emf"/></Relationships>
</file>

<file path=ppt/slides/_rels/slide173.xml.rels><?xml version="1.0" encoding="UTF-8" standalone="yes"?>
<Relationships xmlns="http://schemas.openxmlformats.org/package/2006/relationships"><Relationship Id="rId8" Type="http://schemas.openxmlformats.org/officeDocument/2006/relationships/chart" Target="../charts/chart187.xml"/><Relationship Id="rId3" Type="http://schemas.openxmlformats.org/officeDocument/2006/relationships/oleObject" Target="../embeddings/oleObject28.bin"/><Relationship Id="rId7" Type="http://schemas.openxmlformats.org/officeDocument/2006/relationships/chart" Target="../charts/chart186.xml"/><Relationship Id="rId2" Type="http://schemas.openxmlformats.org/officeDocument/2006/relationships/slideLayout" Target="../slideLayouts/slideLayout7.xml"/><Relationship Id="rId1" Type="http://schemas.openxmlformats.org/officeDocument/2006/relationships/tags" Target="../tags/tag200.xml"/><Relationship Id="rId6" Type="http://schemas.openxmlformats.org/officeDocument/2006/relationships/chart" Target="../charts/chart185.xml"/><Relationship Id="rId5" Type="http://schemas.openxmlformats.org/officeDocument/2006/relationships/chart" Target="../charts/chart184.xml"/><Relationship Id="rId4" Type="http://schemas.openxmlformats.org/officeDocument/2006/relationships/image" Target="../media/image28.emf"/></Relationships>
</file>

<file path=ppt/slides/_rels/slide174.xml.rels><?xml version="1.0" encoding="UTF-8" standalone="yes"?>
<Relationships xmlns="http://schemas.openxmlformats.org/package/2006/relationships"><Relationship Id="rId8" Type="http://schemas.openxmlformats.org/officeDocument/2006/relationships/chart" Target="../charts/chart191.xml"/><Relationship Id="rId3" Type="http://schemas.openxmlformats.org/officeDocument/2006/relationships/oleObject" Target="../embeddings/oleObject28.bin"/><Relationship Id="rId7" Type="http://schemas.openxmlformats.org/officeDocument/2006/relationships/chart" Target="../charts/chart190.xml"/><Relationship Id="rId2" Type="http://schemas.openxmlformats.org/officeDocument/2006/relationships/slideLayout" Target="../slideLayouts/slideLayout7.xml"/><Relationship Id="rId1" Type="http://schemas.openxmlformats.org/officeDocument/2006/relationships/tags" Target="../tags/tag201.xml"/><Relationship Id="rId6" Type="http://schemas.openxmlformats.org/officeDocument/2006/relationships/chart" Target="../charts/chart189.xml"/><Relationship Id="rId5" Type="http://schemas.openxmlformats.org/officeDocument/2006/relationships/chart" Target="../charts/chart188.xml"/><Relationship Id="rId4" Type="http://schemas.openxmlformats.org/officeDocument/2006/relationships/image" Target="../media/image28.emf"/></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2.xml"/><Relationship Id="rId6" Type="http://schemas.openxmlformats.org/officeDocument/2006/relationships/chart" Target="../charts/chart193.xml"/><Relationship Id="rId5" Type="http://schemas.openxmlformats.org/officeDocument/2006/relationships/chart" Target="../charts/chart192.xml"/><Relationship Id="rId4" Type="http://schemas.openxmlformats.org/officeDocument/2006/relationships/image" Target="../media/image28.emf"/></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3.xml"/><Relationship Id="rId6" Type="http://schemas.openxmlformats.org/officeDocument/2006/relationships/chart" Target="../charts/chart195.xml"/><Relationship Id="rId5" Type="http://schemas.openxmlformats.org/officeDocument/2006/relationships/chart" Target="../charts/chart194.xml"/><Relationship Id="rId4" Type="http://schemas.openxmlformats.org/officeDocument/2006/relationships/image" Target="../media/image28.emf"/></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4.xml"/><Relationship Id="rId6" Type="http://schemas.openxmlformats.org/officeDocument/2006/relationships/chart" Target="../charts/chart197.xml"/><Relationship Id="rId5" Type="http://schemas.openxmlformats.org/officeDocument/2006/relationships/chart" Target="../charts/chart196.xml"/><Relationship Id="rId4" Type="http://schemas.openxmlformats.org/officeDocument/2006/relationships/image" Target="../media/image28.emf"/></Relationships>
</file>

<file path=ppt/slides/_rels/slide17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5.xml"/><Relationship Id="rId6" Type="http://schemas.openxmlformats.org/officeDocument/2006/relationships/chart" Target="../charts/chart199.xml"/><Relationship Id="rId5" Type="http://schemas.openxmlformats.org/officeDocument/2006/relationships/chart" Target="../charts/chart198.xml"/><Relationship Id="rId4" Type="http://schemas.openxmlformats.org/officeDocument/2006/relationships/image" Target="../media/image28.emf"/></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6.xml"/><Relationship Id="rId6" Type="http://schemas.openxmlformats.org/officeDocument/2006/relationships/chart" Target="../charts/chart201.xml"/><Relationship Id="rId5" Type="http://schemas.openxmlformats.org/officeDocument/2006/relationships/chart" Target="../charts/chart200.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7.xml"/><Relationship Id="rId6" Type="http://schemas.openxmlformats.org/officeDocument/2006/relationships/chart" Target="../charts/chart203.xml"/><Relationship Id="rId5" Type="http://schemas.openxmlformats.org/officeDocument/2006/relationships/chart" Target="../charts/chart202.xml"/><Relationship Id="rId4" Type="http://schemas.openxmlformats.org/officeDocument/2006/relationships/image" Target="../media/image28.emf"/></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8.xml"/><Relationship Id="rId6" Type="http://schemas.openxmlformats.org/officeDocument/2006/relationships/chart" Target="../charts/chart205.xml"/><Relationship Id="rId5" Type="http://schemas.openxmlformats.org/officeDocument/2006/relationships/chart" Target="../charts/chart204.xml"/><Relationship Id="rId4" Type="http://schemas.openxmlformats.org/officeDocument/2006/relationships/image" Target="../media/image28.emf"/></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09.xml"/><Relationship Id="rId6" Type="http://schemas.openxmlformats.org/officeDocument/2006/relationships/chart" Target="../charts/chart207.xml"/><Relationship Id="rId5" Type="http://schemas.openxmlformats.org/officeDocument/2006/relationships/chart" Target="../charts/chart206.xml"/><Relationship Id="rId4" Type="http://schemas.openxmlformats.org/officeDocument/2006/relationships/image" Target="../media/image28.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0.xml"/><Relationship Id="rId6" Type="http://schemas.openxmlformats.org/officeDocument/2006/relationships/chart" Target="../charts/chart209.xml"/><Relationship Id="rId5" Type="http://schemas.openxmlformats.org/officeDocument/2006/relationships/chart" Target="../charts/chart208.xml"/><Relationship Id="rId4" Type="http://schemas.openxmlformats.org/officeDocument/2006/relationships/image" Target="../media/image28.emf"/></Relationships>
</file>

<file path=ppt/slides/_rels/slide18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1.xml"/><Relationship Id="rId6" Type="http://schemas.openxmlformats.org/officeDocument/2006/relationships/chart" Target="../charts/chart211.xml"/><Relationship Id="rId5" Type="http://schemas.openxmlformats.org/officeDocument/2006/relationships/chart" Target="../charts/chart210.xml"/><Relationship Id="rId4" Type="http://schemas.openxmlformats.org/officeDocument/2006/relationships/image" Target="../media/image28.emf"/></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2.xml"/><Relationship Id="rId6" Type="http://schemas.openxmlformats.org/officeDocument/2006/relationships/chart" Target="../charts/chart213.xml"/><Relationship Id="rId5" Type="http://schemas.openxmlformats.org/officeDocument/2006/relationships/chart" Target="../charts/chart212.xml"/><Relationship Id="rId4" Type="http://schemas.openxmlformats.org/officeDocument/2006/relationships/image" Target="../media/image28.emf"/></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3.xml"/><Relationship Id="rId6" Type="http://schemas.openxmlformats.org/officeDocument/2006/relationships/chart" Target="../charts/chart215.xml"/><Relationship Id="rId5" Type="http://schemas.openxmlformats.org/officeDocument/2006/relationships/chart" Target="../charts/chart214.xml"/><Relationship Id="rId4" Type="http://schemas.openxmlformats.org/officeDocument/2006/relationships/image" Target="../media/image28.emf"/></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4.xml"/><Relationship Id="rId6" Type="http://schemas.openxmlformats.org/officeDocument/2006/relationships/chart" Target="../charts/chart217.xml"/><Relationship Id="rId5" Type="http://schemas.openxmlformats.org/officeDocument/2006/relationships/chart" Target="../charts/chart216.xml"/><Relationship Id="rId4" Type="http://schemas.openxmlformats.org/officeDocument/2006/relationships/image" Target="../media/image28.emf"/></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5.xml"/><Relationship Id="rId6" Type="http://schemas.openxmlformats.org/officeDocument/2006/relationships/chart" Target="../charts/chart219.xml"/><Relationship Id="rId5" Type="http://schemas.openxmlformats.org/officeDocument/2006/relationships/chart" Target="../charts/chart218.xml"/><Relationship Id="rId4" Type="http://schemas.openxmlformats.org/officeDocument/2006/relationships/image" Target="../media/image28.emf"/></Relationships>
</file>

<file path=ppt/slides/_rels/slide18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6.xml"/><Relationship Id="rId6" Type="http://schemas.openxmlformats.org/officeDocument/2006/relationships/chart" Target="../charts/chart221.xml"/><Relationship Id="rId5" Type="http://schemas.openxmlformats.org/officeDocument/2006/relationships/chart" Target="../charts/chart220.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7.xml"/><Relationship Id="rId6" Type="http://schemas.openxmlformats.org/officeDocument/2006/relationships/chart" Target="../charts/chart223.xml"/><Relationship Id="rId5" Type="http://schemas.openxmlformats.org/officeDocument/2006/relationships/chart" Target="../charts/chart222.xml"/><Relationship Id="rId4" Type="http://schemas.openxmlformats.org/officeDocument/2006/relationships/image" Target="../media/image28.emf"/></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8.xml"/><Relationship Id="rId6" Type="http://schemas.openxmlformats.org/officeDocument/2006/relationships/chart" Target="../charts/chart225.xml"/><Relationship Id="rId5" Type="http://schemas.openxmlformats.org/officeDocument/2006/relationships/chart" Target="../charts/chart224.xml"/><Relationship Id="rId4" Type="http://schemas.openxmlformats.org/officeDocument/2006/relationships/image" Target="../media/image28.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19.xml"/><Relationship Id="rId6" Type="http://schemas.openxmlformats.org/officeDocument/2006/relationships/chart" Target="../charts/chart227.xml"/><Relationship Id="rId5" Type="http://schemas.openxmlformats.org/officeDocument/2006/relationships/chart" Target="../charts/chart226.xml"/><Relationship Id="rId4" Type="http://schemas.openxmlformats.org/officeDocument/2006/relationships/image" Target="../media/image28.emf"/></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0.xml"/><Relationship Id="rId6" Type="http://schemas.openxmlformats.org/officeDocument/2006/relationships/chart" Target="../charts/chart229.xml"/><Relationship Id="rId5" Type="http://schemas.openxmlformats.org/officeDocument/2006/relationships/chart" Target="../charts/chart228.xml"/><Relationship Id="rId4" Type="http://schemas.openxmlformats.org/officeDocument/2006/relationships/image" Target="../media/image28.emf"/></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1.xml"/><Relationship Id="rId6" Type="http://schemas.openxmlformats.org/officeDocument/2006/relationships/chart" Target="../charts/chart231.xml"/><Relationship Id="rId5" Type="http://schemas.openxmlformats.org/officeDocument/2006/relationships/chart" Target="../charts/chart230.xml"/><Relationship Id="rId4" Type="http://schemas.openxmlformats.org/officeDocument/2006/relationships/image" Target="../media/image28.emf"/></Relationships>
</file>

<file path=ppt/slides/_rels/slide19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2.xml"/><Relationship Id="rId6" Type="http://schemas.openxmlformats.org/officeDocument/2006/relationships/chart" Target="../charts/chart233.xml"/><Relationship Id="rId5" Type="http://schemas.openxmlformats.org/officeDocument/2006/relationships/chart" Target="../charts/chart232.xml"/><Relationship Id="rId4" Type="http://schemas.openxmlformats.org/officeDocument/2006/relationships/image" Target="../media/image28.emf"/></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23.xml"/><Relationship Id="rId6" Type="http://schemas.openxmlformats.org/officeDocument/2006/relationships/chart" Target="../charts/chart235.xml"/><Relationship Id="rId5" Type="http://schemas.openxmlformats.org/officeDocument/2006/relationships/chart" Target="../charts/chart234.xml"/><Relationship Id="rId4" Type="http://schemas.openxmlformats.org/officeDocument/2006/relationships/image" Target="../media/image28.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24.xml"/><Relationship Id="rId5" Type="http://schemas.openxmlformats.org/officeDocument/2006/relationships/chart" Target="../charts/chart236.xml"/><Relationship Id="rId4" Type="http://schemas.openxmlformats.org/officeDocument/2006/relationships/image" Target="../media/image31.emf"/></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25.xml"/><Relationship Id="rId5" Type="http://schemas.openxmlformats.org/officeDocument/2006/relationships/chart" Target="../charts/chart237.xml"/><Relationship Id="rId4" Type="http://schemas.openxmlformats.org/officeDocument/2006/relationships/image" Target="../media/image31.emf"/></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26.xml"/><Relationship Id="rId6" Type="http://schemas.openxmlformats.org/officeDocument/2006/relationships/chart" Target="../charts/chart239.xml"/><Relationship Id="rId5" Type="http://schemas.openxmlformats.org/officeDocument/2006/relationships/chart" Target="../charts/chart238.xml"/><Relationship Id="rId4" Type="http://schemas.openxmlformats.org/officeDocument/2006/relationships/image" Target="../media/image31.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chart" Target="../charts/chart4.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27.xml"/><Relationship Id="rId6" Type="http://schemas.openxmlformats.org/officeDocument/2006/relationships/chart" Target="../charts/chart241.xml"/><Relationship Id="rId5" Type="http://schemas.openxmlformats.org/officeDocument/2006/relationships/chart" Target="../charts/chart240.xml"/><Relationship Id="rId4" Type="http://schemas.openxmlformats.org/officeDocument/2006/relationships/image" Target="../media/image31.emf"/></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28.xml"/><Relationship Id="rId5" Type="http://schemas.openxmlformats.org/officeDocument/2006/relationships/chart" Target="../charts/chart242.xml"/><Relationship Id="rId4" Type="http://schemas.openxmlformats.org/officeDocument/2006/relationships/image" Target="../media/image31.emf"/></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29.xml"/><Relationship Id="rId5" Type="http://schemas.openxmlformats.org/officeDocument/2006/relationships/chart" Target="../charts/chart243.xml"/><Relationship Id="rId4" Type="http://schemas.openxmlformats.org/officeDocument/2006/relationships/image" Target="../media/image31.emf"/></Relationships>
</file>

<file path=ppt/slides/_rels/slide20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30.xml"/><Relationship Id="rId6" Type="http://schemas.openxmlformats.org/officeDocument/2006/relationships/chart" Target="../charts/chart245.xml"/><Relationship Id="rId5" Type="http://schemas.openxmlformats.org/officeDocument/2006/relationships/chart" Target="../charts/chart244.xml"/><Relationship Id="rId4" Type="http://schemas.openxmlformats.org/officeDocument/2006/relationships/image" Target="../media/image31.emf"/></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231.xml"/><Relationship Id="rId6" Type="http://schemas.openxmlformats.org/officeDocument/2006/relationships/chart" Target="../charts/chart247.xml"/><Relationship Id="rId5" Type="http://schemas.openxmlformats.org/officeDocument/2006/relationships/chart" Target="../charts/chart246.xml"/><Relationship Id="rId4" Type="http://schemas.openxmlformats.org/officeDocument/2006/relationships/image" Target="../media/image31.emf"/></Relationships>
</file>

<file path=ppt/slides/_rels/slide205.xml.rels><?xml version="1.0" encoding="UTF-8" standalone="yes"?>
<Relationships xmlns="http://schemas.openxmlformats.org/package/2006/relationships"><Relationship Id="rId8" Type="http://schemas.openxmlformats.org/officeDocument/2006/relationships/chart" Target="../charts/chart250.xml"/><Relationship Id="rId3" Type="http://schemas.openxmlformats.org/officeDocument/2006/relationships/notesSlide" Target="../notesSlides/notesSlide73.xml"/><Relationship Id="rId7" Type="http://schemas.openxmlformats.org/officeDocument/2006/relationships/chart" Target="../charts/chart249.xml"/><Relationship Id="rId2" Type="http://schemas.openxmlformats.org/officeDocument/2006/relationships/slideLayout" Target="../slideLayouts/slideLayout7.xml"/><Relationship Id="rId1" Type="http://schemas.openxmlformats.org/officeDocument/2006/relationships/tags" Target="../tags/tag232.xml"/><Relationship Id="rId6" Type="http://schemas.openxmlformats.org/officeDocument/2006/relationships/chart" Target="../charts/chart248.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06.xml.rels><?xml version="1.0" encoding="UTF-8" standalone="yes"?>
<Relationships xmlns="http://schemas.openxmlformats.org/package/2006/relationships"><Relationship Id="rId8" Type="http://schemas.openxmlformats.org/officeDocument/2006/relationships/chart" Target="../charts/chart253.xml"/><Relationship Id="rId3" Type="http://schemas.openxmlformats.org/officeDocument/2006/relationships/notesSlide" Target="../notesSlides/notesSlide74.xml"/><Relationship Id="rId7" Type="http://schemas.openxmlformats.org/officeDocument/2006/relationships/chart" Target="../charts/chart252.xml"/><Relationship Id="rId2" Type="http://schemas.openxmlformats.org/officeDocument/2006/relationships/slideLayout" Target="../slideLayouts/slideLayout7.xml"/><Relationship Id="rId1" Type="http://schemas.openxmlformats.org/officeDocument/2006/relationships/tags" Target="../tags/tag233.xml"/><Relationship Id="rId6" Type="http://schemas.openxmlformats.org/officeDocument/2006/relationships/chart" Target="../charts/chart251.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07.xml.rels><?xml version="1.0" encoding="UTF-8" standalone="yes"?>
<Relationships xmlns="http://schemas.openxmlformats.org/package/2006/relationships"><Relationship Id="rId3" Type="http://schemas.openxmlformats.org/officeDocument/2006/relationships/notesSlide" Target="../notesSlides/notesSlide75.xml"/><Relationship Id="rId7" Type="http://schemas.openxmlformats.org/officeDocument/2006/relationships/chart" Target="../charts/chart255.xml"/><Relationship Id="rId2" Type="http://schemas.openxmlformats.org/officeDocument/2006/relationships/slideLayout" Target="../slideLayouts/slideLayout7.xml"/><Relationship Id="rId1" Type="http://schemas.openxmlformats.org/officeDocument/2006/relationships/tags" Target="../tags/tag234.xml"/><Relationship Id="rId6" Type="http://schemas.openxmlformats.org/officeDocument/2006/relationships/chart" Target="../charts/chart254.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08.xml.rels><?xml version="1.0" encoding="UTF-8" standalone="yes"?>
<Relationships xmlns="http://schemas.openxmlformats.org/package/2006/relationships"><Relationship Id="rId8" Type="http://schemas.openxmlformats.org/officeDocument/2006/relationships/chart" Target="../charts/chart258.xml"/><Relationship Id="rId3" Type="http://schemas.openxmlformats.org/officeDocument/2006/relationships/notesSlide" Target="../notesSlides/notesSlide76.xml"/><Relationship Id="rId7" Type="http://schemas.openxmlformats.org/officeDocument/2006/relationships/chart" Target="../charts/chart257.xml"/><Relationship Id="rId2" Type="http://schemas.openxmlformats.org/officeDocument/2006/relationships/slideLayout" Target="../slideLayouts/slideLayout7.xml"/><Relationship Id="rId1" Type="http://schemas.openxmlformats.org/officeDocument/2006/relationships/tags" Target="../tags/tag235.xml"/><Relationship Id="rId6" Type="http://schemas.openxmlformats.org/officeDocument/2006/relationships/chart" Target="../charts/chart256.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09.xml.rels><?xml version="1.0" encoding="UTF-8" standalone="yes"?>
<Relationships xmlns="http://schemas.openxmlformats.org/package/2006/relationships"><Relationship Id="rId3" Type="http://schemas.openxmlformats.org/officeDocument/2006/relationships/notesSlide" Target="../notesSlides/notesSlide77.xml"/><Relationship Id="rId7" Type="http://schemas.openxmlformats.org/officeDocument/2006/relationships/chart" Target="../charts/chart260.xml"/><Relationship Id="rId2" Type="http://schemas.openxmlformats.org/officeDocument/2006/relationships/slideLayout" Target="../slideLayouts/slideLayout7.xml"/><Relationship Id="rId1" Type="http://schemas.openxmlformats.org/officeDocument/2006/relationships/tags" Target="../tags/tag236.xml"/><Relationship Id="rId6" Type="http://schemas.openxmlformats.org/officeDocument/2006/relationships/chart" Target="../charts/chart259.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0.xml.rels><?xml version="1.0" encoding="UTF-8" standalone="yes"?>
<Relationships xmlns="http://schemas.openxmlformats.org/package/2006/relationships"><Relationship Id="rId8" Type="http://schemas.openxmlformats.org/officeDocument/2006/relationships/chart" Target="../charts/chart263.xml"/><Relationship Id="rId3" Type="http://schemas.openxmlformats.org/officeDocument/2006/relationships/notesSlide" Target="../notesSlides/notesSlide78.xml"/><Relationship Id="rId7" Type="http://schemas.openxmlformats.org/officeDocument/2006/relationships/chart" Target="../charts/chart262.xml"/><Relationship Id="rId2" Type="http://schemas.openxmlformats.org/officeDocument/2006/relationships/slideLayout" Target="../slideLayouts/slideLayout7.xml"/><Relationship Id="rId1" Type="http://schemas.openxmlformats.org/officeDocument/2006/relationships/tags" Target="../tags/tag237.xml"/><Relationship Id="rId6" Type="http://schemas.openxmlformats.org/officeDocument/2006/relationships/chart" Target="../charts/chart261.xml"/><Relationship Id="rId5" Type="http://schemas.openxmlformats.org/officeDocument/2006/relationships/image" Target="../media/image32.emf"/><Relationship Id="rId4" Type="http://schemas.openxmlformats.org/officeDocument/2006/relationships/oleObject" Target="../embeddings/oleObject31.bin"/><Relationship Id="rId9" Type="http://schemas.openxmlformats.org/officeDocument/2006/relationships/chart" Target="../charts/chart264.xml"/></Relationships>
</file>

<file path=ppt/slides/_rels/slide211.xml.rels><?xml version="1.0" encoding="UTF-8" standalone="yes"?>
<Relationships xmlns="http://schemas.openxmlformats.org/package/2006/relationships"><Relationship Id="rId3" Type="http://schemas.openxmlformats.org/officeDocument/2006/relationships/notesSlide" Target="../notesSlides/notesSlide79.xml"/><Relationship Id="rId7" Type="http://schemas.openxmlformats.org/officeDocument/2006/relationships/chart" Target="../charts/chart266.xml"/><Relationship Id="rId2" Type="http://schemas.openxmlformats.org/officeDocument/2006/relationships/slideLayout" Target="../slideLayouts/slideLayout7.xml"/><Relationship Id="rId1" Type="http://schemas.openxmlformats.org/officeDocument/2006/relationships/tags" Target="../tags/tag238.xml"/><Relationship Id="rId6" Type="http://schemas.openxmlformats.org/officeDocument/2006/relationships/chart" Target="../charts/chart265.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12.xml.rels><?xml version="1.0" encoding="UTF-8" standalone="yes"?>
<Relationships xmlns="http://schemas.openxmlformats.org/package/2006/relationships"><Relationship Id="rId8" Type="http://schemas.openxmlformats.org/officeDocument/2006/relationships/chart" Target="../charts/chart269.xml"/><Relationship Id="rId3" Type="http://schemas.openxmlformats.org/officeDocument/2006/relationships/notesSlide" Target="../notesSlides/notesSlide80.xml"/><Relationship Id="rId7" Type="http://schemas.openxmlformats.org/officeDocument/2006/relationships/chart" Target="../charts/chart268.xml"/><Relationship Id="rId2" Type="http://schemas.openxmlformats.org/officeDocument/2006/relationships/slideLayout" Target="../slideLayouts/slideLayout7.xml"/><Relationship Id="rId1" Type="http://schemas.openxmlformats.org/officeDocument/2006/relationships/tags" Target="../tags/tag239.xml"/><Relationship Id="rId6" Type="http://schemas.openxmlformats.org/officeDocument/2006/relationships/chart" Target="../charts/chart267.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13.xml.rels><?xml version="1.0" encoding="UTF-8" standalone="yes"?>
<Relationships xmlns="http://schemas.openxmlformats.org/package/2006/relationships"><Relationship Id="rId3" Type="http://schemas.openxmlformats.org/officeDocument/2006/relationships/notesSlide" Target="../notesSlides/notesSlide81.xml"/><Relationship Id="rId7" Type="http://schemas.openxmlformats.org/officeDocument/2006/relationships/chart" Target="../charts/chart271.xml"/><Relationship Id="rId2" Type="http://schemas.openxmlformats.org/officeDocument/2006/relationships/slideLayout" Target="../slideLayouts/slideLayout7.xml"/><Relationship Id="rId1" Type="http://schemas.openxmlformats.org/officeDocument/2006/relationships/tags" Target="../tags/tag240.xml"/><Relationship Id="rId6" Type="http://schemas.openxmlformats.org/officeDocument/2006/relationships/chart" Target="../charts/chart270.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14.xml.rels><?xml version="1.0" encoding="UTF-8" standalone="yes"?>
<Relationships xmlns="http://schemas.openxmlformats.org/package/2006/relationships"><Relationship Id="rId8" Type="http://schemas.openxmlformats.org/officeDocument/2006/relationships/chart" Target="../charts/chart274.xml"/><Relationship Id="rId3" Type="http://schemas.openxmlformats.org/officeDocument/2006/relationships/notesSlide" Target="../notesSlides/notesSlide82.xml"/><Relationship Id="rId7" Type="http://schemas.openxmlformats.org/officeDocument/2006/relationships/chart" Target="../charts/chart273.xml"/><Relationship Id="rId2" Type="http://schemas.openxmlformats.org/officeDocument/2006/relationships/slideLayout" Target="../slideLayouts/slideLayout7.xml"/><Relationship Id="rId1" Type="http://schemas.openxmlformats.org/officeDocument/2006/relationships/tags" Target="../tags/tag241.xml"/><Relationship Id="rId6" Type="http://schemas.openxmlformats.org/officeDocument/2006/relationships/chart" Target="../charts/chart272.x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215.xml.rels><?xml version="1.0" encoding="UTF-8" standalone="yes"?>
<Relationships xmlns="http://schemas.openxmlformats.org/package/2006/relationships"><Relationship Id="rId8" Type="http://schemas.openxmlformats.org/officeDocument/2006/relationships/chart" Target="../charts/chart277.xml"/><Relationship Id="rId3" Type="http://schemas.openxmlformats.org/officeDocument/2006/relationships/notesSlide" Target="../notesSlides/notesSlide83.xml"/><Relationship Id="rId7" Type="http://schemas.openxmlformats.org/officeDocument/2006/relationships/chart" Target="../charts/chart276.xml"/><Relationship Id="rId2" Type="http://schemas.openxmlformats.org/officeDocument/2006/relationships/slideLayout" Target="../slideLayouts/slideLayout7.xml"/><Relationship Id="rId1" Type="http://schemas.openxmlformats.org/officeDocument/2006/relationships/tags" Target="../tags/tag242.xml"/><Relationship Id="rId6" Type="http://schemas.openxmlformats.org/officeDocument/2006/relationships/chart" Target="../charts/chart275.xml"/><Relationship Id="rId5" Type="http://schemas.openxmlformats.org/officeDocument/2006/relationships/image" Target="../media/image32.emf"/><Relationship Id="rId4" Type="http://schemas.openxmlformats.org/officeDocument/2006/relationships/oleObject" Target="../embeddings/oleObject31.bin"/><Relationship Id="rId9" Type="http://schemas.openxmlformats.org/officeDocument/2006/relationships/chart" Target="../charts/chart278.xml"/></Relationships>
</file>

<file path=ppt/slides/_rels/slide216.xml.rels><?xml version="1.0" encoding="UTF-8" standalone="yes"?>
<Relationships xmlns="http://schemas.openxmlformats.org/package/2006/relationships"><Relationship Id="rId3" Type="http://schemas.openxmlformats.org/officeDocument/2006/relationships/notesSlide" Target="../notesSlides/notesSlide84.xml"/><Relationship Id="rId7" Type="http://schemas.openxmlformats.org/officeDocument/2006/relationships/chart" Target="../charts/chart280.xml"/><Relationship Id="rId2" Type="http://schemas.openxmlformats.org/officeDocument/2006/relationships/slideLayout" Target="../slideLayouts/slideLayout7.xml"/><Relationship Id="rId1" Type="http://schemas.openxmlformats.org/officeDocument/2006/relationships/tags" Target="../tags/tag243.xml"/><Relationship Id="rId6" Type="http://schemas.openxmlformats.org/officeDocument/2006/relationships/chart" Target="../charts/chart2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7.xml.rels><?xml version="1.0" encoding="UTF-8" standalone="yes"?>
<Relationships xmlns="http://schemas.openxmlformats.org/package/2006/relationships"><Relationship Id="rId3" Type="http://schemas.openxmlformats.org/officeDocument/2006/relationships/notesSlide" Target="../notesSlides/notesSlide85.xml"/><Relationship Id="rId7" Type="http://schemas.openxmlformats.org/officeDocument/2006/relationships/chart" Target="../charts/chart282.xml"/><Relationship Id="rId2" Type="http://schemas.openxmlformats.org/officeDocument/2006/relationships/slideLayout" Target="../slideLayouts/slideLayout7.xml"/><Relationship Id="rId1" Type="http://schemas.openxmlformats.org/officeDocument/2006/relationships/tags" Target="../tags/tag244.xml"/><Relationship Id="rId6" Type="http://schemas.openxmlformats.org/officeDocument/2006/relationships/chart" Target="../charts/chart2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8.xml.rels><?xml version="1.0" encoding="UTF-8" standalone="yes"?>
<Relationships xmlns="http://schemas.openxmlformats.org/package/2006/relationships"><Relationship Id="rId3" Type="http://schemas.openxmlformats.org/officeDocument/2006/relationships/notesSlide" Target="../notesSlides/notesSlide86.xml"/><Relationship Id="rId7" Type="http://schemas.openxmlformats.org/officeDocument/2006/relationships/chart" Target="../charts/chart284.xml"/><Relationship Id="rId2" Type="http://schemas.openxmlformats.org/officeDocument/2006/relationships/slideLayout" Target="../slideLayouts/slideLayout7.xml"/><Relationship Id="rId1" Type="http://schemas.openxmlformats.org/officeDocument/2006/relationships/tags" Target="../tags/tag245.xml"/><Relationship Id="rId6" Type="http://schemas.openxmlformats.org/officeDocument/2006/relationships/chart" Target="../charts/chart2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9.xml.rels><?xml version="1.0" encoding="UTF-8" standalone="yes"?>
<Relationships xmlns="http://schemas.openxmlformats.org/package/2006/relationships"><Relationship Id="rId3" Type="http://schemas.openxmlformats.org/officeDocument/2006/relationships/notesSlide" Target="../notesSlides/notesSlide87.xml"/><Relationship Id="rId7" Type="http://schemas.openxmlformats.org/officeDocument/2006/relationships/chart" Target="../charts/chart286.xml"/><Relationship Id="rId2" Type="http://schemas.openxmlformats.org/officeDocument/2006/relationships/slideLayout" Target="../slideLayouts/slideLayout7.xml"/><Relationship Id="rId1" Type="http://schemas.openxmlformats.org/officeDocument/2006/relationships/tags" Target="../tags/tag246.xml"/><Relationship Id="rId6" Type="http://schemas.openxmlformats.org/officeDocument/2006/relationships/chart" Target="../charts/chart2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0.xml.rels><?xml version="1.0" encoding="UTF-8" standalone="yes"?>
<Relationships xmlns="http://schemas.openxmlformats.org/package/2006/relationships"><Relationship Id="rId3" Type="http://schemas.openxmlformats.org/officeDocument/2006/relationships/notesSlide" Target="../notesSlides/notesSlide88.xml"/><Relationship Id="rId7" Type="http://schemas.openxmlformats.org/officeDocument/2006/relationships/chart" Target="../charts/chart288.xml"/><Relationship Id="rId2" Type="http://schemas.openxmlformats.org/officeDocument/2006/relationships/slideLayout" Target="../slideLayouts/slideLayout7.xml"/><Relationship Id="rId1" Type="http://schemas.openxmlformats.org/officeDocument/2006/relationships/tags" Target="../tags/tag247.xml"/><Relationship Id="rId6" Type="http://schemas.openxmlformats.org/officeDocument/2006/relationships/chart" Target="../charts/chart2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1.xml.rels><?xml version="1.0" encoding="UTF-8" standalone="yes"?>
<Relationships xmlns="http://schemas.openxmlformats.org/package/2006/relationships"><Relationship Id="rId3" Type="http://schemas.openxmlformats.org/officeDocument/2006/relationships/notesSlide" Target="../notesSlides/notesSlide89.xml"/><Relationship Id="rId7" Type="http://schemas.openxmlformats.org/officeDocument/2006/relationships/chart" Target="../charts/chart290.xml"/><Relationship Id="rId2" Type="http://schemas.openxmlformats.org/officeDocument/2006/relationships/slideLayout" Target="../slideLayouts/slideLayout7.xml"/><Relationship Id="rId1" Type="http://schemas.openxmlformats.org/officeDocument/2006/relationships/tags" Target="../tags/tag248.xml"/><Relationship Id="rId6" Type="http://schemas.openxmlformats.org/officeDocument/2006/relationships/chart" Target="../charts/chart2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2.xml.rels><?xml version="1.0" encoding="UTF-8" standalone="yes"?>
<Relationships xmlns="http://schemas.openxmlformats.org/package/2006/relationships"><Relationship Id="rId3" Type="http://schemas.openxmlformats.org/officeDocument/2006/relationships/notesSlide" Target="../notesSlides/notesSlide90.xml"/><Relationship Id="rId7" Type="http://schemas.openxmlformats.org/officeDocument/2006/relationships/chart" Target="../charts/chart292.xml"/><Relationship Id="rId2" Type="http://schemas.openxmlformats.org/officeDocument/2006/relationships/slideLayout" Target="../slideLayouts/slideLayout7.xml"/><Relationship Id="rId1" Type="http://schemas.openxmlformats.org/officeDocument/2006/relationships/tags" Target="../tags/tag249.xml"/><Relationship Id="rId6" Type="http://schemas.openxmlformats.org/officeDocument/2006/relationships/chart" Target="../charts/chart2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3.xml.rels><?xml version="1.0" encoding="UTF-8" standalone="yes"?>
<Relationships xmlns="http://schemas.openxmlformats.org/package/2006/relationships"><Relationship Id="rId3" Type="http://schemas.openxmlformats.org/officeDocument/2006/relationships/notesSlide" Target="../notesSlides/notesSlide91.xml"/><Relationship Id="rId7" Type="http://schemas.openxmlformats.org/officeDocument/2006/relationships/chart" Target="../charts/chart294.xml"/><Relationship Id="rId2" Type="http://schemas.openxmlformats.org/officeDocument/2006/relationships/slideLayout" Target="../slideLayouts/slideLayout7.xml"/><Relationship Id="rId1" Type="http://schemas.openxmlformats.org/officeDocument/2006/relationships/tags" Target="../tags/tag250.xml"/><Relationship Id="rId6" Type="http://schemas.openxmlformats.org/officeDocument/2006/relationships/chart" Target="../charts/chart2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4.xml.rels><?xml version="1.0" encoding="UTF-8" standalone="yes"?>
<Relationships xmlns="http://schemas.openxmlformats.org/package/2006/relationships"><Relationship Id="rId3" Type="http://schemas.openxmlformats.org/officeDocument/2006/relationships/notesSlide" Target="../notesSlides/notesSlide92.xml"/><Relationship Id="rId7" Type="http://schemas.openxmlformats.org/officeDocument/2006/relationships/chart" Target="../charts/chart296.xml"/><Relationship Id="rId2" Type="http://schemas.openxmlformats.org/officeDocument/2006/relationships/slideLayout" Target="../slideLayouts/slideLayout7.xml"/><Relationship Id="rId1" Type="http://schemas.openxmlformats.org/officeDocument/2006/relationships/tags" Target="../tags/tag251.xml"/><Relationship Id="rId6" Type="http://schemas.openxmlformats.org/officeDocument/2006/relationships/chart" Target="../charts/chart2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5.xml.rels><?xml version="1.0" encoding="UTF-8" standalone="yes"?>
<Relationships xmlns="http://schemas.openxmlformats.org/package/2006/relationships"><Relationship Id="rId3" Type="http://schemas.openxmlformats.org/officeDocument/2006/relationships/notesSlide" Target="../notesSlides/notesSlide93.xml"/><Relationship Id="rId7" Type="http://schemas.openxmlformats.org/officeDocument/2006/relationships/chart" Target="../charts/chart298.xml"/><Relationship Id="rId2" Type="http://schemas.openxmlformats.org/officeDocument/2006/relationships/slideLayout" Target="../slideLayouts/slideLayout7.xml"/><Relationship Id="rId1" Type="http://schemas.openxmlformats.org/officeDocument/2006/relationships/tags" Target="../tags/tag252.xml"/><Relationship Id="rId6" Type="http://schemas.openxmlformats.org/officeDocument/2006/relationships/chart" Target="../charts/chart2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6.xml.rels><?xml version="1.0" encoding="UTF-8" standalone="yes"?>
<Relationships xmlns="http://schemas.openxmlformats.org/package/2006/relationships"><Relationship Id="rId3" Type="http://schemas.openxmlformats.org/officeDocument/2006/relationships/notesSlide" Target="../notesSlides/notesSlide94.xml"/><Relationship Id="rId7" Type="http://schemas.openxmlformats.org/officeDocument/2006/relationships/chart" Target="../charts/chart300.xml"/><Relationship Id="rId2" Type="http://schemas.openxmlformats.org/officeDocument/2006/relationships/slideLayout" Target="../slideLayouts/slideLayout7.xml"/><Relationship Id="rId1" Type="http://schemas.openxmlformats.org/officeDocument/2006/relationships/tags" Target="../tags/tag253.xml"/><Relationship Id="rId6" Type="http://schemas.openxmlformats.org/officeDocument/2006/relationships/chart" Target="../charts/chart2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7.xml.rels><?xml version="1.0" encoding="UTF-8" standalone="yes"?>
<Relationships xmlns="http://schemas.openxmlformats.org/package/2006/relationships"><Relationship Id="rId3" Type="http://schemas.openxmlformats.org/officeDocument/2006/relationships/notesSlide" Target="../notesSlides/notesSlide95.xml"/><Relationship Id="rId7" Type="http://schemas.openxmlformats.org/officeDocument/2006/relationships/chart" Target="../charts/chart302.xml"/><Relationship Id="rId2" Type="http://schemas.openxmlformats.org/officeDocument/2006/relationships/slideLayout" Target="../slideLayouts/slideLayout7.xml"/><Relationship Id="rId1" Type="http://schemas.openxmlformats.org/officeDocument/2006/relationships/tags" Target="../tags/tag254.xml"/><Relationship Id="rId6" Type="http://schemas.openxmlformats.org/officeDocument/2006/relationships/chart" Target="../charts/chart3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8.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7.xml"/><Relationship Id="rId1" Type="http://schemas.openxmlformats.org/officeDocument/2006/relationships/tags" Target="../tags/tag255.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229.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7.xml"/><Relationship Id="rId1" Type="http://schemas.openxmlformats.org/officeDocument/2006/relationships/tags" Target="../tags/tag256.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31.xml"/><Relationship Id="rId4" Type="http://schemas.openxmlformats.org/officeDocument/2006/relationships/image" Target="../media/image28.emf"/></Relationships>
</file>

<file path=ppt/slides/_rels/slide230.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7.xml"/><Relationship Id="rId1" Type="http://schemas.openxmlformats.org/officeDocument/2006/relationships/tags" Target="../tags/tag257.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231.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7.xml"/><Relationship Id="rId1" Type="http://schemas.openxmlformats.org/officeDocument/2006/relationships/tags" Target="../tags/tag258.xml"/><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232.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7.xml"/><Relationship Id="rId1" Type="http://schemas.openxmlformats.org/officeDocument/2006/relationships/tags" Target="../tags/tag259.xml"/><Relationship Id="rId6" Type="http://schemas.openxmlformats.org/officeDocument/2006/relationships/chart" Target="../charts/chart3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3.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7.xml"/><Relationship Id="rId1" Type="http://schemas.openxmlformats.org/officeDocument/2006/relationships/tags" Target="../tags/tag260.xml"/><Relationship Id="rId6" Type="http://schemas.openxmlformats.org/officeDocument/2006/relationships/chart" Target="../charts/chart3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4.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7.xml"/><Relationship Id="rId1" Type="http://schemas.openxmlformats.org/officeDocument/2006/relationships/tags" Target="../tags/tag261.xml"/><Relationship Id="rId6" Type="http://schemas.openxmlformats.org/officeDocument/2006/relationships/chart" Target="../charts/chart3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5.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7.xml"/><Relationship Id="rId1" Type="http://schemas.openxmlformats.org/officeDocument/2006/relationships/tags" Target="../tags/tag262.xml"/><Relationship Id="rId6" Type="http://schemas.openxmlformats.org/officeDocument/2006/relationships/chart" Target="../charts/chart30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6.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7.xml"/><Relationship Id="rId1" Type="http://schemas.openxmlformats.org/officeDocument/2006/relationships/tags" Target="../tags/tag263.xml"/><Relationship Id="rId6" Type="http://schemas.openxmlformats.org/officeDocument/2006/relationships/chart" Target="../charts/chart3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7.xml.rels><?xml version="1.0" encoding="UTF-8" standalone="yes"?>
<Relationships xmlns="http://schemas.openxmlformats.org/package/2006/relationships"><Relationship Id="rId3" Type="http://schemas.openxmlformats.org/officeDocument/2006/relationships/notesSlide" Target="../notesSlides/notesSlide105.xml"/><Relationship Id="rId2" Type="http://schemas.openxmlformats.org/officeDocument/2006/relationships/slideLayout" Target="../slideLayouts/slideLayout7.xml"/><Relationship Id="rId1" Type="http://schemas.openxmlformats.org/officeDocument/2006/relationships/tags" Target="../tags/tag264.xml"/><Relationship Id="rId6" Type="http://schemas.openxmlformats.org/officeDocument/2006/relationships/chart" Target="../charts/chart3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5.xml"/><Relationship Id="rId5" Type="http://schemas.openxmlformats.org/officeDocument/2006/relationships/chart" Target="../charts/chart309.xml"/><Relationship Id="rId4" Type="http://schemas.openxmlformats.org/officeDocument/2006/relationships/image" Target="../media/image28.emf"/></Relationships>
</file>

<file path=ppt/slides/_rels/slide2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6.xml"/><Relationship Id="rId5" Type="http://schemas.openxmlformats.org/officeDocument/2006/relationships/chart" Target="../charts/chart310.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32.xml"/><Relationship Id="rId4" Type="http://schemas.openxmlformats.org/officeDocument/2006/relationships/image" Target="../media/image28.emf"/></Relationships>
</file>

<file path=ppt/slides/_rels/slide2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7.xml"/><Relationship Id="rId5" Type="http://schemas.openxmlformats.org/officeDocument/2006/relationships/chart" Target="../charts/chart311.xml"/><Relationship Id="rId4" Type="http://schemas.openxmlformats.org/officeDocument/2006/relationships/image" Target="../media/image28.emf"/></Relationships>
</file>

<file path=ppt/slides/_rels/slide2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8.xml"/><Relationship Id="rId5" Type="http://schemas.openxmlformats.org/officeDocument/2006/relationships/chart" Target="../charts/chart312.xml"/><Relationship Id="rId4" Type="http://schemas.openxmlformats.org/officeDocument/2006/relationships/image" Target="../media/image28.emf"/></Relationships>
</file>

<file path=ppt/slides/_rels/slide2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9.xml"/><Relationship Id="rId5" Type="http://schemas.openxmlformats.org/officeDocument/2006/relationships/chart" Target="../charts/chart313.xml"/><Relationship Id="rId4" Type="http://schemas.openxmlformats.org/officeDocument/2006/relationships/image" Target="../media/image28.emf"/></Relationships>
</file>

<file path=ppt/slides/_rels/slide2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0.xml"/><Relationship Id="rId5" Type="http://schemas.openxmlformats.org/officeDocument/2006/relationships/chart" Target="../charts/chart314.xml"/><Relationship Id="rId4" Type="http://schemas.openxmlformats.org/officeDocument/2006/relationships/image" Target="../media/image28.emf"/></Relationships>
</file>

<file path=ppt/slides/_rels/slide2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1.xml"/><Relationship Id="rId5" Type="http://schemas.openxmlformats.org/officeDocument/2006/relationships/chart" Target="../charts/chart315.xml"/><Relationship Id="rId4" Type="http://schemas.openxmlformats.org/officeDocument/2006/relationships/image" Target="../media/image28.emf"/></Relationships>
</file>

<file path=ppt/slides/_rels/slide2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2.xml"/><Relationship Id="rId5" Type="http://schemas.openxmlformats.org/officeDocument/2006/relationships/chart" Target="../charts/chart316.xml"/><Relationship Id="rId4" Type="http://schemas.openxmlformats.org/officeDocument/2006/relationships/image" Target="../media/image28.emf"/></Relationships>
</file>

<file path=ppt/slides/_rels/slide2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3.xml"/><Relationship Id="rId5" Type="http://schemas.openxmlformats.org/officeDocument/2006/relationships/chart" Target="../charts/chart317.xml"/><Relationship Id="rId4" Type="http://schemas.openxmlformats.org/officeDocument/2006/relationships/image" Target="../media/image28.emf"/></Relationships>
</file>

<file path=ppt/slides/_rels/slide2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4.xml"/><Relationship Id="rId5" Type="http://schemas.openxmlformats.org/officeDocument/2006/relationships/chart" Target="../charts/chart318.xml"/><Relationship Id="rId4" Type="http://schemas.openxmlformats.org/officeDocument/2006/relationships/image" Target="../media/image28.emf"/></Relationships>
</file>

<file path=ppt/slides/_rels/slide2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5.xml"/><Relationship Id="rId5" Type="http://schemas.openxmlformats.org/officeDocument/2006/relationships/chart" Target="../charts/chart319.xml"/><Relationship Id="rId4" Type="http://schemas.openxmlformats.org/officeDocument/2006/relationships/image" Target="../media/image28.emf"/></Relationships>
</file>

<file path=ppt/slides/_rels/slide2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76.xml"/><Relationship Id="rId5" Type="http://schemas.openxmlformats.org/officeDocument/2006/relationships/chart" Target="../charts/chart320.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33.xml"/><Relationship Id="rId4" Type="http://schemas.openxmlformats.org/officeDocument/2006/relationships/image" Target="../media/image28.emf"/></Relationships>
</file>

<file path=ppt/slides/_rels/slide250.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7.xml"/><Relationship Id="rId1" Type="http://schemas.openxmlformats.org/officeDocument/2006/relationships/tags" Target="../tags/tag277.xml"/><Relationship Id="rId6" Type="http://schemas.openxmlformats.org/officeDocument/2006/relationships/chart" Target="../charts/chart3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1.xml.rels><?xml version="1.0" encoding="UTF-8" standalone="yes"?>
<Relationships xmlns="http://schemas.openxmlformats.org/package/2006/relationships"><Relationship Id="rId3" Type="http://schemas.openxmlformats.org/officeDocument/2006/relationships/notesSlide" Target="../notesSlides/notesSlide107.xml"/><Relationship Id="rId2" Type="http://schemas.openxmlformats.org/officeDocument/2006/relationships/slideLayout" Target="../slideLayouts/slideLayout7.xml"/><Relationship Id="rId1" Type="http://schemas.openxmlformats.org/officeDocument/2006/relationships/tags" Target="../tags/tag278.xml"/><Relationship Id="rId6" Type="http://schemas.openxmlformats.org/officeDocument/2006/relationships/chart" Target="../charts/chart3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2.xml.rels><?xml version="1.0" encoding="UTF-8" standalone="yes"?>
<Relationships xmlns="http://schemas.openxmlformats.org/package/2006/relationships"><Relationship Id="rId3" Type="http://schemas.openxmlformats.org/officeDocument/2006/relationships/notesSlide" Target="../notesSlides/notesSlide108.xml"/><Relationship Id="rId2" Type="http://schemas.openxmlformats.org/officeDocument/2006/relationships/slideLayout" Target="../slideLayouts/slideLayout7.xml"/><Relationship Id="rId1" Type="http://schemas.openxmlformats.org/officeDocument/2006/relationships/tags" Target="../tags/tag279.xml"/><Relationship Id="rId6" Type="http://schemas.openxmlformats.org/officeDocument/2006/relationships/chart" Target="../charts/chart3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3.xml.rels><?xml version="1.0" encoding="UTF-8" standalone="yes"?>
<Relationships xmlns="http://schemas.openxmlformats.org/package/2006/relationships"><Relationship Id="rId3" Type="http://schemas.openxmlformats.org/officeDocument/2006/relationships/notesSlide" Target="../notesSlides/notesSlide109.xml"/><Relationship Id="rId2" Type="http://schemas.openxmlformats.org/officeDocument/2006/relationships/slideLayout" Target="../slideLayouts/slideLayout7.xml"/><Relationship Id="rId1" Type="http://schemas.openxmlformats.org/officeDocument/2006/relationships/tags" Target="../tags/tag280.xml"/><Relationship Id="rId6" Type="http://schemas.openxmlformats.org/officeDocument/2006/relationships/chart" Target="../charts/chart3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4.xml.rels><?xml version="1.0" encoding="UTF-8" standalone="yes"?>
<Relationships xmlns="http://schemas.openxmlformats.org/package/2006/relationships"><Relationship Id="rId3" Type="http://schemas.openxmlformats.org/officeDocument/2006/relationships/notesSlide" Target="../notesSlides/notesSlide110.xml"/><Relationship Id="rId2" Type="http://schemas.openxmlformats.org/officeDocument/2006/relationships/slideLayout" Target="../slideLayouts/slideLayout7.xml"/><Relationship Id="rId1" Type="http://schemas.openxmlformats.org/officeDocument/2006/relationships/tags" Target="../tags/tag281.xml"/><Relationship Id="rId6" Type="http://schemas.openxmlformats.org/officeDocument/2006/relationships/chart" Target="../charts/chart3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5.xml.rels><?xml version="1.0" encoding="UTF-8" standalone="yes"?>
<Relationships xmlns="http://schemas.openxmlformats.org/package/2006/relationships"><Relationship Id="rId3" Type="http://schemas.openxmlformats.org/officeDocument/2006/relationships/notesSlide" Target="../notesSlides/notesSlide111.xml"/><Relationship Id="rId2" Type="http://schemas.openxmlformats.org/officeDocument/2006/relationships/slideLayout" Target="../slideLayouts/slideLayout7.xml"/><Relationship Id="rId1" Type="http://schemas.openxmlformats.org/officeDocument/2006/relationships/tags" Target="../tags/tag282.xml"/><Relationship Id="rId6" Type="http://schemas.openxmlformats.org/officeDocument/2006/relationships/chart" Target="../charts/chart3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34.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35.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36.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37.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8.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39.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40.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41.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42.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43.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44.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45.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46.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47.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chart" Target="../charts/chart8.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48.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49.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50.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51.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52.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53.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54.xml"/><Relationship Id="rId5" Type="http://schemas.openxmlformats.org/officeDocument/2006/relationships/image" Target="../media/image30.emf"/><Relationship Id="rId4" Type="http://schemas.openxmlformats.org/officeDocument/2006/relationships/oleObject" Target="../embeddings/oleObject29.bin"/></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14.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chart" Target="../charts/chart16.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chart" Target="../charts/chart56.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chart" Target="../charts/chart58.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chart" Target="../charts/chart62.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chart" Target="../charts/chart64.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chart" Target="../charts/chart68.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42.xml"/><Relationship Id="rId7" Type="http://schemas.openxmlformats.org/officeDocument/2006/relationships/chart" Target="../charts/chart70.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chart" Target="../charts/chart72.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44.xml"/><Relationship Id="rId7" Type="http://schemas.openxmlformats.org/officeDocument/2006/relationships/chart" Target="../charts/chart74.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chart" Target="../charts/chart76.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chart" Target="../charts/chart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46.xml"/><Relationship Id="rId7" Type="http://schemas.openxmlformats.org/officeDocument/2006/relationships/chart" Target="../charts/chart78.xml"/><Relationship Id="rId2" Type="http://schemas.openxmlformats.org/officeDocument/2006/relationships/slideLayout" Target="../slideLayouts/slideLayout7.xml"/><Relationship Id="rId1" Type="http://schemas.openxmlformats.org/officeDocument/2006/relationships/tags" Target="../tags/tag119.xml"/><Relationship Id="rId6" Type="http://schemas.openxmlformats.org/officeDocument/2006/relationships/chart" Target="../charts/chart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chart" Target="../charts/chart80.xml"/><Relationship Id="rId2" Type="http://schemas.openxmlformats.org/officeDocument/2006/relationships/slideLayout" Target="../slideLayouts/slideLayout7.xml"/><Relationship Id="rId1" Type="http://schemas.openxmlformats.org/officeDocument/2006/relationships/tags" Target="../tags/tag120.xml"/><Relationship Id="rId6" Type="http://schemas.openxmlformats.org/officeDocument/2006/relationships/chart" Target="../charts/chart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48.xml"/><Relationship Id="rId7" Type="http://schemas.openxmlformats.org/officeDocument/2006/relationships/chart" Target="../charts/chart82.xml"/><Relationship Id="rId2" Type="http://schemas.openxmlformats.org/officeDocument/2006/relationships/slideLayout" Target="../slideLayouts/slideLayout7.xml"/><Relationship Id="rId1" Type="http://schemas.openxmlformats.org/officeDocument/2006/relationships/tags" Target="../tags/tag121.xml"/><Relationship Id="rId6" Type="http://schemas.openxmlformats.org/officeDocument/2006/relationships/chart" Target="../charts/chart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chart" Target="../charts/chart84.xml"/><Relationship Id="rId2" Type="http://schemas.openxmlformats.org/officeDocument/2006/relationships/slideLayout" Target="../slideLayouts/slideLayout7.xml"/><Relationship Id="rId1" Type="http://schemas.openxmlformats.org/officeDocument/2006/relationships/tags" Target="../tags/tag122.xml"/><Relationship Id="rId6" Type="http://schemas.openxmlformats.org/officeDocument/2006/relationships/chart" Target="../charts/chart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50.xml"/><Relationship Id="rId7" Type="http://schemas.openxmlformats.org/officeDocument/2006/relationships/chart" Target="../charts/chart86.xml"/><Relationship Id="rId2" Type="http://schemas.openxmlformats.org/officeDocument/2006/relationships/slideLayout" Target="../slideLayouts/slideLayout7.xml"/><Relationship Id="rId1" Type="http://schemas.openxmlformats.org/officeDocument/2006/relationships/tags" Target="../tags/tag123.xml"/><Relationship Id="rId6" Type="http://schemas.openxmlformats.org/officeDocument/2006/relationships/chart" Target="../charts/chart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chart" Target="../charts/chart88.xml"/><Relationship Id="rId2" Type="http://schemas.openxmlformats.org/officeDocument/2006/relationships/slideLayout" Target="../slideLayouts/slideLayout7.xml"/><Relationship Id="rId1" Type="http://schemas.openxmlformats.org/officeDocument/2006/relationships/tags" Target="../tags/tag124.xml"/><Relationship Id="rId6" Type="http://schemas.openxmlformats.org/officeDocument/2006/relationships/chart" Target="../charts/chart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52.xml"/><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125.xml"/><Relationship Id="rId6" Type="http://schemas.openxmlformats.org/officeDocument/2006/relationships/chart" Target="../charts/chart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53.xml"/><Relationship Id="rId7" Type="http://schemas.openxmlformats.org/officeDocument/2006/relationships/chart" Target="../charts/chart92.xml"/><Relationship Id="rId2" Type="http://schemas.openxmlformats.org/officeDocument/2006/relationships/slideLayout" Target="../slideLayouts/slideLayout7.xml"/><Relationship Id="rId1" Type="http://schemas.openxmlformats.org/officeDocument/2006/relationships/tags" Target="../tags/tag126.xml"/><Relationship Id="rId6" Type="http://schemas.openxmlformats.org/officeDocument/2006/relationships/chart" Target="../charts/chart91.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047253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3393019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7589128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8723736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29219660"/>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8573637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9811919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9330285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4306501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1902867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4942296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770561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28973425"/>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78205318"/>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9636724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7325132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0756463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272913">
                <a:tc>
                  <a:txBody>
                    <a:bodyPr/>
                    <a:lstStyle/>
                    <a:p>
                      <a:pPr algn="l" fontAlgn="b"/>
                      <a:r>
                        <a:rPr lang="en-US" sz="900" dirty="0" err="1">
                          <a:solidFill>
                            <a:srgbClr val="575555"/>
                          </a:solidFill>
                          <a:latin typeface="Nexa Bold"/>
                        </a:rPr>
                        <a:t>Arbi</a:t>
                      </a:r>
                      <a:r>
                        <a:rPr lang="en-US" sz="900" dirty="0">
                          <a:solidFill>
                            <a:srgbClr val="575555"/>
                          </a:solidFill>
                          <a:latin typeface="Nexa Bold"/>
                        </a:rPr>
                        <a:t> Dario Sp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074376805"/>
                  </a:ext>
                </a:extLst>
              </a:tr>
              <a:tr h="272913">
                <a:tc>
                  <a:txBody>
                    <a:bodyPr/>
                    <a:lstStyle/>
                    <a:p>
                      <a:pPr algn="l" fontAlgn="b"/>
                      <a:r>
                        <a:rPr lang="en-US" sz="900" dirty="0">
                          <a:solidFill>
                            <a:srgbClr val="575555"/>
                          </a:solidFill>
                          <a:latin typeface="Nexa Bold"/>
                        </a:rPr>
                        <a:t>Esca </a:t>
                      </a:r>
                      <a:r>
                        <a:rPr lang="en-US" sz="900" dirty="0" err="1">
                          <a:solidFill>
                            <a:srgbClr val="575555"/>
                          </a:solidFill>
                          <a:latin typeface="Nexa Bold"/>
                        </a:rPr>
                        <a:t>Srl</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335245974"/>
                  </a:ext>
                </a:extLst>
              </a:tr>
              <a:tr h="272913">
                <a:tc>
                  <a:txBody>
                    <a:bodyPr/>
                    <a:lstStyle/>
                    <a:p>
                      <a:pPr algn="l" fontAlgn="b"/>
                      <a:r>
                        <a:rPr lang="en-US" sz="900" dirty="0">
                          <a:solidFill>
                            <a:srgbClr val="575555"/>
                          </a:solidFill>
                          <a:latin typeface="Nexa Bold"/>
                        </a:rPr>
                        <a:t>Findu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967797037"/>
                  </a:ext>
                </a:extLst>
              </a:tr>
              <a:tr h="272913">
                <a:tc>
                  <a:txBody>
                    <a:bodyPr/>
                    <a:lstStyle/>
                    <a:p>
                      <a:pPr algn="l" fontAlgn="b"/>
                      <a:r>
                        <a:rPr lang="en-US" sz="900" dirty="0" err="1">
                          <a:solidFill>
                            <a:srgbClr val="575555"/>
                          </a:solidFill>
                          <a:latin typeface="Nexa Bold"/>
                        </a:rPr>
                        <a:t>Frost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272913">
                <a:tc>
                  <a:txBody>
                    <a:bodyPr/>
                    <a:lstStyle/>
                    <a:p>
                      <a:pPr algn="l" fontAlgn="b"/>
                      <a:r>
                        <a:rPr lang="en-US" sz="900" dirty="0" err="1">
                          <a:solidFill>
                            <a:srgbClr val="575555"/>
                          </a:solidFill>
                          <a:latin typeface="Nexa Bold"/>
                        </a:rPr>
                        <a:t>Krusta</a:t>
                      </a:r>
                      <a:r>
                        <a:rPr lang="en-US" sz="900" dirty="0">
                          <a:solidFill>
                            <a:srgbClr val="575555"/>
                          </a:solidFill>
                          <a:latin typeface="Nexa Bold"/>
                        </a:rPr>
                        <a:t> Group</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272913">
                <a:tc>
                  <a:txBody>
                    <a:bodyPr/>
                    <a:lstStyle/>
                    <a:p>
                      <a:pPr algn="l" fontAlgn="b"/>
                      <a:r>
                        <a:rPr lang="en-US" sz="900" dirty="0">
                          <a:solidFill>
                            <a:srgbClr val="575555"/>
                          </a:solidFill>
                          <a:latin typeface="Nexa Bold"/>
                        </a:rPr>
                        <a:t>New Foo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272913">
                <a:tc>
                  <a:txBody>
                    <a:bodyPr/>
                    <a:lstStyle/>
                    <a:p>
                      <a:pPr algn="l" fontAlgn="b"/>
                      <a:r>
                        <a:rPr lang="en-US" sz="900" dirty="0" err="1">
                          <a:solidFill>
                            <a:srgbClr val="575555"/>
                          </a:solidFill>
                          <a:latin typeface="Nexa Bold"/>
                        </a:rPr>
                        <a:t>Panapesc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272913">
                <a:tc>
                  <a:txBody>
                    <a:bodyPr/>
                    <a:lstStyle/>
                    <a:p>
                      <a:pPr algn="l" fontAlgn="b"/>
                      <a:r>
                        <a:rPr lang="en-US" sz="900" dirty="0" err="1">
                          <a:solidFill>
                            <a:srgbClr val="575555"/>
                          </a:solidFill>
                          <a:latin typeface="Nexa Bold"/>
                        </a:rPr>
                        <a:t>Pescanova</a:t>
                      </a:r>
                      <a:r>
                        <a:rPr lang="en-US" sz="900" dirty="0">
                          <a:solidFill>
                            <a:srgbClr val="575555"/>
                          </a:solidFill>
                          <a:latin typeface="Nexa Bold"/>
                        </a:rPr>
                        <a:t> S.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272913">
                <a:tc>
                  <a:txBody>
                    <a:bodyPr/>
                    <a:lstStyle/>
                    <a:p>
                      <a:pPr algn="l" fontAlgn="b"/>
                      <a:r>
                        <a:rPr lang="en-US" sz="900" dirty="0">
                          <a:solidFill>
                            <a:srgbClr val="575555"/>
                          </a:solidFill>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272913">
                <a:tc>
                  <a:txBody>
                    <a:bodyPr/>
                    <a:lstStyle/>
                    <a:p>
                      <a:pPr algn="l" fontAlgn="b"/>
                      <a:r>
                        <a:rPr lang="en-US" sz="900" dirty="0">
                          <a:solidFill>
                            <a:srgbClr val="575555"/>
                          </a:solidFill>
                          <a:latin typeface="Nexa Bold"/>
                        </a:rPr>
                        <a:t>Pricing 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0/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a:t>% Promo sales by total siz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45665655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272913">
                <a:tc>
                  <a:txBody>
                    <a:bodyPr/>
                    <a:lstStyle/>
                    <a:p>
                      <a:pPr algn="l" fontAlgn="b"/>
                      <a:r>
                        <a:rPr lang="en-US" sz="900" dirty="0" err="1">
                          <a:solidFill>
                            <a:srgbClr val="575555"/>
                          </a:solidFill>
                          <a:latin typeface="Nexa Bold"/>
                        </a:rPr>
                        <a:t>Arbi</a:t>
                      </a:r>
                      <a:r>
                        <a:rPr lang="en-US" sz="900" dirty="0">
                          <a:solidFill>
                            <a:srgbClr val="575555"/>
                          </a:solidFill>
                          <a:latin typeface="Nexa Bold"/>
                        </a:rPr>
                        <a:t> Dario Sp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074376805"/>
                  </a:ext>
                </a:extLst>
              </a:tr>
              <a:tr h="272913">
                <a:tc>
                  <a:txBody>
                    <a:bodyPr/>
                    <a:lstStyle/>
                    <a:p>
                      <a:pPr algn="l" fontAlgn="b"/>
                      <a:r>
                        <a:rPr lang="en-US" sz="900" dirty="0">
                          <a:solidFill>
                            <a:srgbClr val="575555"/>
                          </a:solidFill>
                          <a:latin typeface="Nexa Bold"/>
                        </a:rPr>
                        <a:t>Esca </a:t>
                      </a:r>
                      <a:r>
                        <a:rPr lang="en-US" sz="900" dirty="0" err="1">
                          <a:solidFill>
                            <a:srgbClr val="575555"/>
                          </a:solidFill>
                          <a:latin typeface="Nexa Bold"/>
                        </a:rPr>
                        <a:t>Srl</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335245974"/>
                  </a:ext>
                </a:extLst>
              </a:tr>
              <a:tr h="272913">
                <a:tc>
                  <a:txBody>
                    <a:bodyPr/>
                    <a:lstStyle/>
                    <a:p>
                      <a:pPr algn="l" fontAlgn="b"/>
                      <a:r>
                        <a:rPr lang="en-US" sz="900" dirty="0">
                          <a:solidFill>
                            <a:srgbClr val="575555"/>
                          </a:solidFill>
                          <a:latin typeface="Nexa Bold"/>
                        </a:rPr>
                        <a:t>Findu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967797037"/>
                  </a:ext>
                </a:extLst>
              </a:tr>
              <a:tr h="272913">
                <a:tc>
                  <a:txBody>
                    <a:bodyPr/>
                    <a:lstStyle/>
                    <a:p>
                      <a:pPr algn="l" fontAlgn="b"/>
                      <a:r>
                        <a:rPr lang="en-US" sz="900" dirty="0" err="1">
                          <a:solidFill>
                            <a:srgbClr val="575555"/>
                          </a:solidFill>
                          <a:latin typeface="Nexa Bold"/>
                        </a:rPr>
                        <a:t>Frost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272913">
                <a:tc>
                  <a:txBody>
                    <a:bodyPr/>
                    <a:lstStyle/>
                    <a:p>
                      <a:pPr algn="l" fontAlgn="b"/>
                      <a:r>
                        <a:rPr lang="en-US" sz="900" dirty="0" err="1">
                          <a:solidFill>
                            <a:srgbClr val="575555"/>
                          </a:solidFill>
                          <a:latin typeface="Nexa Bold"/>
                        </a:rPr>
                        <a:t>Krusta</a:t>
                      </a:r>
                      <a:r>
                        <a:rPr lang="en-US" sz="900" dirty="0">
                          <a:solidFill>
                            <a:srgbClr val="575555"/>
                          </a:solidFill>
                          <a:latin typeface="Nexa Bold"/>
                        </a:rPr>
                        <a:t> Group</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272913">
                <a:tc>
                  <a:txBody>
                    <a:bodyPr/>
                    <a:lstStyle/>
                    <a:p>
                      <a:pPr algn="l" fontAlgn="b"/>
                      <a:r>
                        <a:rPr lang="en-US" sz="900" dirty="0">
                          <a:solidFill>
                            <a:srgbClr val="575555"/>
                          </a:solidFill>
                          <a:latin typeface="Nexa Bold"/>
                        </a:rPr>
                        <a:t>New Foo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272913">
                <a:tc>
                  <a:txBody>
                    <a:bodyPr/>
                    <a:lstStyle/>
                    <a:p>
                      <a:pPr algn="l" fontAlgn="b"/>
                      <a:r>
                        <a:rPr lang="en-US" sz="900" dirty="0" err="1">
                          <a:solidFill>
                            <a:srgbClr val="575555"/>
                          </a:solidFill>
                          <a:latin typeface="Nexa Bold"/>
                        </a:rPr>
                        <a:t>Panapesc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272913">
                <a:tc>
                  <a:txBody>
                    <a:bodyPr/>
                    <a:lstStyle/>
                    <a:p>
                      <a:pPr algn="l" fontAlgn="b"/>
                      <a:r>
                        <a:rPr lang="en-US" sz="900" dirty="0" err="1">
                          <a:solidFill>
                            <a:srgbClr val="575555"/>
                          </a:solidFill>
                          <a:latin typeface="Nexa Bold"/>
                        </a:rPr>
                        <a:t>Pescanova</a:t>
                      </a:r>
                      <a:r>
                        <a:rPr lang="en-US" sz="900" dirty="0">
                          <a:solidFill>
                            <a:srgbClr val="575555"/>
                          </a:solidFill>
                          <a:latin typeface="Nexa Bold"/>
                        </a:rPr>
                        <a:t> S.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272913">
                <a:tc>
                  <a:txBody>
                    <a:bodyPr/>
                    <a:lstStyle/>
                    <a:p>
                      <a:pPr algn="l" fontAlgn="b"/>
                      <a:r>
                        <a:rPr lang="en-US" sz="900" dirty="0">
                          <a:solidFill>
                            <a:srgbClr val="575555"/>
                          </a:solidFill>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272913">
                <a:tc>
                  <a:txBody>
                    <a:bodyPr/>
                    <a:lstStyle/>
                    <a:p>
                      <a:pPr algn="l" fontAlgn="b"/>
                      <a:r>
                        <a:rPr lang="en-US" sz="900" dirty="0">
                          <a:solidFill>
                            <a:srgbClr val="575555"/>
                          </a:solidFill>
                          <a:latin typeface="Nexa Bold"/>
                        </a:rPr>
                        <a:t>Pricing 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0/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a:t>% Promo sales by total siz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322992331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272913">
                <a:tc>
                  <a:txBody>
                    <a:bodyPr/>
                    <a:lstStyle/>
                    <a:p>
                      <a:pPr algn="l" fontAlgn="b"/>
                      <a:r>
                        <a:rPr lang="en-US" sz="900" dirty="0" err="1">
                          <a:solidFill>
                            <a:srgbClr val="575555"/>
                          </a:solidFill>
                          <a:latin typeface="Nexa Bold"/>
                        </a:rPr>
                        <a:t>Arbi</a:t>
                      </a:r>
                      <a:r>
                        <a:rPr lang="en-US" sz="900" dirty="0">
                          <a:solidFill>
                            <a:srgbClr val="575555"/>
                          </a:solidFill>
                          <a:latin typeface="Nexa Bold"/>
                        </a:rPr>
                        <a:t> Dario Sp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074376805"/>
                  </a:ext>
                </a:extLst>
              </a:tr>
              <a:tr h="272913">
                <a:tc>
                  <a:txBody>
                    <a:bodyPr/>
                    <a:lstStyle/>
                    <a:p>
                      <a:pPr algn="l" fontAlgn="b"/>
                      <a:r>
                        <a:rPr lang="en-US" sz="900" dirty="0">
                          <a:solidFill>
                            <a:srgbClr val="575555"/>
                          </a:solidFill>
                          <a:latin typeface="Nexa Bold"/>
                        </a:rPr>
                        <a:t>Esca </a:t>
                      </a:r>
                      <a:r>
                        <a:rPr lang="en-US" sz="900" dirty="0" err="1">
                          <a:solidFill>
                            <a:srgbClr val="575555"/>
                          </a:solidFill>
                          <a:latin typeface="Nexa Bold"/>
                        </a:rPr>
                        <a:t>Srl</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335245974"/>
                  </a:ext>
                </a:extLst>
              </a:tr>
              <a:tr h="272913">
                <a:tc>
                  <a:txBody>
                    <a:bodyPr/>
                    <a:lstStyle/>
                    <a:p>
                      <a:pPr algn="l" fontAlgn="b"/>
                      <a:r>
                        <a:rPr lang="en-US" sz="900" dirty="0">
                          <a:solidFill>
                            <a:srgbClr val="575555"/>
                          </a:solidFill>
                          <a:latin typeface="Nexa Bold"/>
                        </a:rPr>
                        <a:t>Findu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967797037"/>
                  </a:ext>
                </a:extLst>
              </a:tr>
              <a:tr h="272913">
                <a:tc>
                  <a:txBody>
                    <a:bodyPr/>
                    <a:lstStyle/>
                    <a:p>
                      <a:pPr algn="l" fontAlgn="b"/>
                      <a:r>
                        <a:rPr lang="en-US" sz="900" dirty="0" err="1">
                          <a:solidFill>
                            <a:srgbClr val="575555"/>
                          </a:solidFill>
                          <a:latin typeface="Nexa Bold"/>
                        </a:rPr>
                        <a:t>Frost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272913">
                <a:tc>
                  <a:txBody>
                    <a:bodyPr/>
                    <a:lstStyle/>
                    <a:p>
                      <a:pPr algn="l" fontAlgn="b"/>
                      <a:r>
                        <a:rPr lang="en-US" sz="900" dirty="0" err="1">
                          <a:solidFill>
                            <a:srgbClr val="575555"/>
                          </a:solidFill>
                          <a:latin typeface="Nexa Bold"/>
                        </a:rPr>
                        <a:t>Krusta</a:t>
                      </a:r>
                      <a:r>
                        <a:rPr lang="en-US" sz="900" dirty="0">
                          <a:solidFill>
                            <a:srgbClr val="575555"/>
                          </a:solidFill>
                          <a:latin typeface="Nexa Bold"/>
                        </a:rPr>
                        <a:t> Group</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272913">
                <a:tc>
                  <a:txBody>
                    <a:bodyPr/>
                    <a:lstStyle/>
                    <a:p>
                      <a:pPr algn="l" fontAlgn="b"/>
                      <a:r>
                        <a:rPr lang="en-US" sz="900" dirty="0">
                          <a:solidFill>
                            <a:srgbClr val="575555"/>
                          </a:solidFill>
                          <a:latin typeface="Nexa Bold"/>
                        </a:rPr>
                        <a:t>New Foo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272913">
                <a:tc>
                  <a:txBody>
                    <a:bodyPr/>
                    <a:lstStyle/>
                    <a:p>
                      <a:pPr algn="l" fontAlgn="b"/>
                      <a:r>
                        <a:rPr lang="en-US" sz="900" dirty="0" err="1">
                          <a:solidFill>
                            <a:srgbClr val="575555"/>
                          </a:solidFill>
                          <a:latin typeface="Nexa Bold"/>
                        </a:rPr>
                        <a:t>Panapesc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272913">
                <a:tc>
                  <a:txBody>
                    <a:bodyPr/>
                    <a:lstStyle/>
                    <a:p>
                      <a:pPr algn="l" fontAlgn="b"/>
                      <a:r>
                        <a:rPr lang="en-US" sz="900" dirty="0" err="1">
                          <a:solidFill>
                            <a:srgbClr val="575555"/>
                          </a:solidFill>
                          <a:latin typeface="Nexa Bold"/>
                        </a:rPr>
                        <a:t>Pescanova</a:t>
                      </a:r>
                      <a:r>
                        <a:rPr lang="en-US" sz="900" dirty="0">
                          <a:solidFill>
                            <a:srgbClr val="575555"/>
                          </a:solidFill>
                          <a:latin typeface="Nexa Bold"/>
                        </a:rPr>
                        <a:t> S.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272913">
                <a:tc>
                  <a:txBody>
                    <a:bodyPr/>
                    <a:lstStyle/>
                    <a:p>
                      <a:pPr algn="l" fontAlgn="b"/>
                      <a:r>
                        <a:rPr lang="en-US" sz="900" dirty="0">
                          <a:solidFill>
                            <a:srgbClr val="575555"/>
                          </a:solidFill>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272913">
                <a:tc>
                  <a:txBody>
                    <a:bodyPr/>
                    <a:lstStyle/>
                    <a:p>
                      <a:pPr algn="l" fontAlgn="b"/>
                      <a:r>
                        <a:rPr lang="en-US" sz="900" dirty="0">
                          <a:solidFill>
                            <a:srgbClr val="575555"/>
                          </a:solidFill>
                          <a:latin typeface="Nexa Bold"/>
                        </a:rPr>
                        <a:t>Pricing 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0/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a:t>% Promo sales by total siz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2694915802"/>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272913">
                <a:tc>
                  <a:txBody>
                    <a:bodyPr/>
                    <a:lstStyle/>
                    <a:p>
                      <a:pPr algn="l" fontAlgn="b"/>
                      <a:r>
                        <a:rPr lang="en-US" sz="900" dirty="0" err="1">
                          <a:solidFill>
                            <a:srgbClr val="575555"/>
                          </a:solidFill>
                          <a:latin typeface="Nexa Bold"/>
                        </a:rPr>
                        <a:t>Arbi</a:t>
                      </a:r>
                      <a:r>
                        <a:rPr lang="en-US" sz="900" dirty="0">
                          <a:solidFill>
                            <a:srgbClr val="575555"/>
                          </a:solidFill>
                          <a:latin typeface="Nexa Bold"/>
                        </a:rPr>
                        <a:t> Dario Sp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074376805"/>
                  </a:ext>
                </a:extLst>
              </a:tr>
              <a:tr h="272913">
                <a:tc>
                  <a:txBody>
                    <a:bodyPr/>
                    <a:lstStyle/>
                    <a:p>
                      <a:pPr algn="l" fontAlgn="b"/>
                      <a:r>
                        <a:rPr lang="en-US" sz="900" dirty="0">
                          <a:solidFill>
                            <a:srgbClr val="575555"/>
                          </a:solidFill>
                          <a:latin typeface="Nexa Bold"/>
                        </a:rPr>
                        <a:t>Esca </a:t>
                      </a:r>
                      <a:r>
                        <a:rPr lang="en-US" sz="900" dirty="0" err="1">
                          <a:solidFill>
                            <a:srgbClr val="575555"/>
                          </a:solidFill>
                          <a:latin typeface="Nexa Bold"/>
                        </a:rPr>
                        <a:t>Srl</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335245974"/>
                  </a:ext>
                </a:extLst>
              </a:tr>
              <a:tr h="272913">
                <a:tc>
                  <a:txBody>
                    <a:bodyPr/>
                    <a:lstStyle/>
                    <a:p>
                      <a:pPr algn="l" fontAlgn="b"/>
                      <a:r>
                        <a:rPr lang="en-US" sz="900" dirty="0">
                          <a:solidFill>
                            <a:srgbClr val="575555"/>
                          </a:solidFill>
                          <a:latin typeface="Nexa Bold"/>
                        </a:rPr>
                        <a:t>Findu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967797037"/>
                  </a:ext>
                </a:extLst>
              </a:tr>
              <a:tr h="272913">
                <a:tc>
                  <a:txBody>
                    <a:bodyPr/>
                    <a:lstStyle/>
                    <a:p>
                      <a:pPr algn="l" fontAlgn="b"/>
                      <a:r>
                        <a:rPr lang="en-US" sz="900" dirty="0" err="1">
                          <a:solidFill>
                            <a:srgbClr val="575555"/>
                          </a:solidFill>
                          <a:latin typeface="Nexa Bold"/>
                        </a:rPr>
                        <a:t>Frost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272913">
                <a:tc>
                  <a:txBody>
                    <a:bodyPr/>
                    <a:lstStyle/>
                    <a:p>
                      <a:pPr algn="l" fontAlgn="b"/>
                      <a:r>
                        <a:rPr lang="en-US" sz="900" dirty="0" err="1">
                          <a:solidFill>
                            <a:srgbClr val="575555"/>
                          </a:solidFill>
                          <a:latin typeface="Nexa Bold"/>
                        </a:rPr>
                        <a:t>Krusta</a:t>
                      </a:r>
                      <a:r>
                        <a:rPr lang="en-US" sz="900" dirty="0">
                          <a:solidFill>
                            <a:srgbClr val="575555"/>
                          </a:solidFill>
                          <a:latin typeface="Nexa Bold"/>
                        </a:rPr>
                        <a:t> Group</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272913">
                <a:tc>
                  <a:txBody>
                    <a:bodyPr/>
                    <a:lstStyle/>
                    <a:p>
                      <a:pPr algn="l" fontAlgn="b"/>
                      <a:r>
                        <a:rPr lang="en-US" sz="900" dirty="0">
                          <a:solidFill>
                            <a:srgbClr val="575555"/>
                          </a:solidFill>
                          <a:latin typeface="Nexa Bold"/>
                        </a:rPr>
                        <a:t>New Foo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272913">
                <a:tc>
                  <a:txBody>
                    <a:bodyPr/>
                    <a:lstStyle/>
                    <a:p>
                      <a:pPr algn="l" fontAlgn="b"/>
                      <a:r>
                        <a:rPr lang="en-US" sz="900" dirty="0" err="1">
                          <a:solidFill>
                            <a:srgbClr val="575555"/>
                          </a:solidFill>
                          <a:latin typeface="Nexa Bold"/>
                        </a:rPr>
                        <a:t>Panapesc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272913">
                <a:tc>
                  <a:txBody>
                    <a:bodyPr/>
                    <a:lstStyle/>
                    <a:p>
                      <a:pPr algn="l" fontAlgn="b"/>
                      <a:r>
                        <a:rPr lang="en-US" sz="900" dirty="0" err="1">
                          <a:solidFill>
                            <a:srgbClr val="575555"/>
                          </a:solidFill>
                          <a:latin typeface="Nexa Bold"/>
                        </a:rPr>
                        <a:t>Pescanova</a:t>
                      </a:r>
                      <a:r>
                        <a:rPr lang="en-US" sz="900" dirty="0">
                          <a:solidFill>
                            <a:srgbClr val="575555"/>
                          </a:solidFill>
                          <a:latin typeface="Nexa Bold"/>
                        </a:rPr>
                        <a:t> S.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272913">
                <a:tc>
                  <a:txBody>
                    <a:bodyPr/>
                    <a:lstStyle/>
                    <a:p>
                      <a:pPr algn="l" fontAlgn="b"/>
                      <a:r>
                        <a:rPr lang="en-US" sz="900" dirty="0">
                          <a:solidFill>
                            <a:srgbClr val="575555"/>
                          </a:solidFill>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272913">
                <a:tc>
                  <a:txBody>
                    <a:bodyPr/>
                    <a:lstStyle/>
                    <a:p>
                      <a:pPr algn="l" fontAlgn="b"/>
                      <a:r>
                        <a:rPr lang="en-US" sz="900" dirty="0">
                          <a:solidFill>
                            <a:srgbClr val="575555"/>
                          </a:solidFill>
                          <a:latin typeface="Nexa Bold"/>
                        </a:rPr>
                        <a:t>Pricing 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0/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a:t>% Promo sales by total siz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3322033226"/>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272913">
                <a:tc>
                  <a:txBody>
                    <a:bodyPr/>
                    <a:lstStyle/>
                    <a:p>
                      <a:pPr algn="l" fontAlgn="b"/>
                      <a:r>
                        <a:rPr lang="en-US" sz="900" dirty="0" err="1">
                          <a:solidFill>
                            <a:srgbClr val="575555"/>
                          </a:solidFill>
                          <a:latin typeface="Nexa Bold"/>
                        </a:rPr>
                        <a:t>Arbi</a:t>
                      </a:r>
                      <a:r>
                        <a:rPr lang="en-US" sz="900" dirty="0">
                          <a:solidFill>
                            <a:srgbClr val="575555"/>
                          </a:solidFill>
                          <a:latin typeface="Nexa Bold"/>
                        </a:rPr>
                        <a:t> Dario Sp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074376805"/>
                  </a:ext>
                </a:extLst>
              </a:tr>
              <a:tr h="272913">
                <a:tc>
                  <a:txBody>
                    <a:bodyPr/>
                    <a:lstStyle/>
                    <a:p>
                      <a:pPr algn="l" fontAlgn="b"/>
                      <a:r>
                        <a:rPr lang="en-US" sz="900" dirty="0">
                          <a:solidFill>
                            <a:srgbClr val="575555"/>
                          </a:solidFill>
                          <a:latin typeface="Nexa Bold"/>
                        </a:rPr>
                        <a:t>Esca </a:t>
                      </a:r>
                      <a:r>
                        <a:rPr lang="en-US" sz="900" dirty="0" err="1">
                          <a:solidFill>
                            <a:srgbClr val="575555"/>
                          </a:solidFill>
                          <a:latin typeface="Nexa Bold"/>
                        </a:rPr>
                        <a:t>Srl</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335245974"/>
                  </a:ext>
                </a:extLst>
              </a:tr>
              <a:tr h="272913">
                <a:tc>
                  <a:txBody>
                    <a:bodyPr/>
                    <a:lstStyle/>
                    <a:p>
                      <a:pPr algn="l" fontAlgn="b"/>
                      <a:r>
                        <a:rPr lang="en-US" sz="900" dirty="0">
                          <a:solidFill>
                            <a:srgbClr val="575555"/>
                          </a:solidFill>
                          <a:latin typeface="Nexa Bold"/>
                        </a:rPr>
                        <a:t>Findu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967797037"/>
                  </a:ext>
                </a:extLst>
              </a:tr>
              <a:tr h="272913">
                <a:tc>
                  <a:txBody>
                    <a:bodyPr/>
                    <a:lstStyle/>
                    <a:p>
                      <a:pPr algn="l" fontAlgn="b"/>
                      <a:r>
                        <a:rPr lang="en-US" sz="900" dirty="0" err="1">
                          <a:solidFill>
                            <a:srgbClr val="575555"/>
                          </a:solidFill>
                          <a:latin typeface="Nexa Bold"/>
                        </a:rPr>
                        <a:t>Frost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272913">
                <a:tc>
                  <a:txBody>
                    <a:bodyPr/>
                    <a:lstStyle/>
                    <a:p>
                      <a:pPr algn="l" fontAlgn="b"/>
                      <a:r>
                        <a:rPr lang="en-US" sz="900" dirty="0" err="1">
                          <a:solidFill>
                            <a:srgbClr val="575555"/>
                          </a:solidFill>
                          <a:latin typeface="Nexa Bold"/>
                        </a:rPr>
                        <a:t>Krusta</a:t>
                      </a:r>
                      <a:r>
                        <a:rPr lang="en-US" sz="900" dirty="0">
                          <a:solidFill>
                            <a:srgbClr val="575555"/>
                          </a:solidFill>
                          <a:latin typeface="Nexa Bold"/>
                        </a:rPr>
                        <a:t> Group</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272913">
                <a:tc>
                  <a:txBody>
                    <a:bodyPr/>
                    <a:lstStyle/>
                    <a:p>
                      <a:pPr algn="l" fontAlgn="b"/>
                      <a:r>
                        <a:rPr lang="en-US" sz="900" dirty="0">
                          <a:solidFill>
                            <a:srgbClr val="575555"/>
                          </a:solidFill>
                          <a:latin typeface="Nexa Bold"/>
                        </a:rPr>
                        <a:t>New Foo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272913">
                <a:tc>
                  <a:txBody>
                    <a:bodyPr/>
                    <a:lstStyle/>
                    <a:p>
                      <a:pPr algn="l" fontAlgn="b"/>
                      <a:r>
                        <a:rPr lang="en-US" sz="900" dirty="0" err="1">
                          <a:solidFill>
                            <a:srgbClr val="575555"/>
                          </a:solidFill>
                          <a:latin typeface="Nexa Bold"/>
                        </a:rPr>
                        <a:t>Panapesc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272913">
                <a:tc>
                  <a:txBody>
                    <a:bodyPr/>
                    <a:lstStyle/>
                    <a:p>
                      <a:pPr algn="l" fontAlgn="b"/>
                      <a:r>
                        <a:rPr lang="en-US" sz="900" dirty="0" err="1">
                          <a:solidFill>
                            <a:srgbClr val="575555"/>
                          </a:solidFill>
                          <a:latin typeface="Nexa Bold"/>
                        </a:rPr>
                        <a:t>Pescanova</a:t>
                      </a:r>
                      <a:r>
                        <a:rPr lang="en-US" sz="900" dirty="0">
                          <a:solidFill>
                            <a:srgbClr val="575555"/>
                          </a:solidFill>
                          <a:latin typeface="Nexa Bold"/>
                        </a:rPr>
                        <a:t> S.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272913">
                <a:tc>
                  <a:txBody>
                    <a:bodyPr/>
                    <a:lstStyle/>
                    <a:p>
                      <a:pPr algn="l" fontAlgn="b"/>
                      <a:r>
                        <a:rPr lang="en-US" sz="900" dirty="0">
                          <a:solidFill>
                            <a:srgbClr val="575555"/>
                          </a:solidFill>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272913">
                <a:tc>
                  <a:txBody>
                    <a:bodyPr/>
                    <a:lstStyle/>
                    <a:p>
                      <a:pPr algn="l" fontAlgn="b"/>
                      <a:r>
                        <a:rPr lang="en-US" sz="900" dirty="0">
                          <a:solidFill>
                            <a:srgbClr val="575555"/>
                          </a:solidFill>
                          <a:latin typeface="Nexa Bold"/>
                        </a:rPr>
                        <a:t>Pricing 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0/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a:t>% Promo sales by total siz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3604979196"/>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272913">
                <a:tc>
                  <a:txBody>
                    <a:bodyPr/>
                    <a:lstStyle/>
                    <a:p>
                      <a:pPr algn="l" fontAlgn="b"/>
                      <a:r>
                        <a:rPr lang="en-US" sz="900" dirty="0" err="1">
                          <a:solidFill>
                            <a:srgbClr val="575555"/>
                          </a:solidFill>
                          <a:latin typeface="Nexa Bold"/>
                        </a:rPr>
                        <a:t>Arbi</a:t>
                      </a:r>
                      <a:r>
                        <a:rPr lang="en-US" sz="900" dirty="0">
                          <a:solidFill>
                            <a:srgbClr val="575555"/>
                          </a:solidFill>
                          <a:latin typeface="Nexa Bold"/>
                        </a:rPr>
                        <a:t> Dario Sp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074376805"/>
                  </a:ext>
                </a:extLst>
              </a:tr>
              <a:tr h="272913">
                <a:tc>
                  <a:txBody>
                    <a:bodyPr/>
                    <a:lstStyle/>
                    <a:p>
                      <a:pPr algn="l" fontAlgn="b"/>
                      <a:r>
                        <a:rPr lang="en-US" sz="900" dirty="0">
                          <a:solidFill>
                            <a:srgbClr val="575555"/>
                          </a:solidFill>
                          <a:latin typeface="Nexa Bold"/>
                        </a:rPr>
                        <a:t>Esca </a:t>
                      </a:r>
                      <a:r>
                        <a:rPr lang="en-US" sz="900" dirty="0" err="1">
                          <a:solidFill>
                            <a:srgbClr val="575555"/>
                          </a:solidFill>
                          <a:latin typeface="Nexa Bold"/>
                        </a:rPr>
                        <a:t>Srl</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335245974"/>
                  </a:ext>
                </a:extLst>
              </a:tr>
              <a:tr h="272913">
                <a:tc>
                  <a:txBody>
                    <a:bodyPr/>
                    <a:lstStyle/>
                    <a:p>
                      <a:pPr algn="l" fontAlgn="b"/>
                      <a:r>
                        <a:rPr lang="en-US" sz="900" dirty="0">
                          <a:solidFill>
                            <a:srgbClr val="575555"/>
                          </a:solidFill>
                          <a:latin typeface="Nexa Bold"/>
                        </a:rPr>
                        <a:t>Findu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967797037"/>
                  </a:ext>
                </a:extLst>
              </a:tr>
              <a:tr h="272913">
                <a:tc>
                  <a:txBody>
                    <a:bodyPr/>
                    <a:lstStyle/>
                    <a:p>
                      <a:pPr algn="l" fontAlgn="b"/>
                      <a:r>
                        <a:rPr lang="en-US" sz="900" dirty="0" err="1">
                          <a:solidFill>
                            <a:srgbClr val="575555"/>
                          </a:solidFill>
                          <a:latin typeface="Nexa Bold"/>
                        </a:rPr>
                        <a:t>Frost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272913">
                <a:tc>
                  <a:txBody>
                    <a:bodyPr/>
                    <a:lstStyle/>
                    <a:p>
                      <a:pPr algn="l" fontAlgn="b"/>
                      <a:r>
                        <a:rPr lang="en-US" sz="900" dirty="0" err="1">
                          <a:solidFill>
                            <a:srgbClr val="575555"/>
                          </a:solidFill>
                          <a:latin typeface="Nexa Bold"/>
                        </a:rPr>
                        <a:t>Krusta</a:t>
                      </a:r>
                      <a:r>
                        <a:rPr lang="en-US" sz="900" dirty="0">
                          <a:solidFill>
                            <a:srgbClr val="575555"/>
                          </a:solidFill>
                          <a:latin typeface="Nexa Bold"/>
                        </a:rPr>
                        <a:t> Group</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272913">
                <a:tc>
                  <a:txBody>
                    <a:bodyPr/>
                    <a:lstStyle/>
                    <a:p>
                      <a:pPr algn="l" fontAlgn="b"/>
                      <a:r>
                        <a:rPr lang="en-US" sz="900" dirty="0">
                          <a:solidFill>
                            <a:srgbClr val="575555"/>
                          </a:solidFill>
                          <a:latin typeface="Nexa Bold"/>
                        </a:rPr>
                        <a:t>New Foo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272913">
                <a:tc>
                  <a:txBody>
                    <a:bodyPr/>
                    <a:lstStyle/>
                    <a:p>
                      <a:pPr algn="l" fontAlgn="b"/>
                      <a:r>
                        <a:rPr lang="en-US" sz="900" dirty="0" err="1">
                          <a:solidFill>
                            <a:srgbClr val="575555"/>
                          </a:solidFill>
                          <a:latin typeface="Nexa Bold"/>
                        </a:rPr>
                        <a:t>Panapesc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272913">
                <a:tc>
                  <a:txBody>
                    <a:bodyPr/>
                    <a:lstStyle/>
                    <a:p>
                      <a:pPr algn="l" fontAlgn="b"/>
                      <a:r>
                        <a:rPr lang="en-US" sz="900" dirty="0" err="1">
                          <a:solidFill>
                            <a:srgbClr val="575555"/>
                          </a:solidFill>
                          <a:latin typeface="Nexa Bold"/>
                        </a:rPr>
                        <a:t>Pescanova</a:t>
                      </a:r>
                      <a:r>
                        <a:rPr lang="en-US" sz="900" dirty="0">
                          <a:solidFill>
                            <a:srgbClr val="575555"/>
                          </a:solidFill>
                          <a:latin typeface="Nexa Bold"/>
                        </a:rPr>
                        <a:t> S.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272913">
                <a:tc>
                  <a:txBody>
                    <a:bodyPr/>
                    <a:lstStyle/>
                    <a:p>
                      <a:pPr algn="l" fontAlgn="b"/>
                      <a:r>
                        <a:rPr lang="en-US" sz="900" dirty="0">
                          <a:solidFill>
                            <a:srgbClr val="575555"/>
                          </a:solidFill>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272913">
                <a:tc>
                  <a:txBody>
                    <a:bodyPr/>
                    <a:lstStyle/>
                    <a:p>
                      <a:pPr algn="l" fontAlgn="b"/>
                      <a:r>
                        <a:rPr lang="en-US" sz="900" dirty="0">
                          <a:solidFill>
                            <a:srgbClr val="575555"/>
                          </a:solidFill>
                          <a:latin typeface="Nexa Bold"/>
                        </a:rPr>
                        <a:t>Pricing 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0/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a:t>% Promo sales by total siz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27043788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66887446"/>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634219072"/>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49817231"/>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217166106"/>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354957373"/>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25657500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030640677"/>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41413845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848909526"/>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800693425"/>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0412831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0/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rPr lang="en-US"/>
              <a:t>DATA SOURCE: Trade Panel/Retailer Data | Ending Dec 2022</a:t>
            </a:r>
            <a:endParaRPr lang="da-DK"/>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r>
              <a:rPr lang="en-US" dirty="0"/>
              <a:t>Volume sold on deal Summary | By Brand | By Sector | Category | National | P12M</a:t>
            </a:r>
            <a:endParaRPr lang="en-AE" dirty="0"/>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4" cy="3801000"/>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1295060">
                  <a:extLst>
                    <a:ext uri="{9D8B030D-6E8A-4147-A177-3AD203B41FA5}">
                      <a16:colId xmlns:a16="http://schemas.microsoft.com/office/drawing/2014/main" val="8673104"/>
                    </a:ext>
                  </a:extLst>
                </a:gridCol>
                <a:gridCol w="1295060">
                  <a:extLst>
                    <a:ext uri="{9D8B030D-6E8A-4147-A177-3AD203B41FA5}">
                      <a16:colId xmlns:a16="http://schemas.microsoft.com/office/drawing/2014/main" val="1028273140"/>
                    </a:ext>
                  </a:extLst>
                </a:gridCol>
                <a:gridCol w="1295060">
                  <a:extLst>
                    <a:ext uri="{9D8B030D-6E8A-4147-A177-3AD203B41FA5}">
                      <a16:colId xmlns:a16="http://schemas.microsoft.com/office/drawing/2014/main" val="2342841255"/>
                    </a:ext>
                  </a:extLst>
                </a:gridCol>
                <a:gridCol w="1295060">
                  <a:extLst>
                    <a:ext uri="{9D8B030D-6E8A-4147-A177-3AD203B41FA5}">
                      <a16:colId xmlns:a16="http://schemas.microsoft.com/office/drawing/2014/main" val="1336055313"/>
                    </a:ext>
                  </a:extLst>
                </a:gridCol>
                <a:gridCol w="1295060">
                  <a:extLst>
                    <a:ext uri="{9D8B030D-6E8A-4147-A177-3AD203B41FA5}">
                      <a16:colId xmlns:a16="http://schemas.microsoft.com/office/drawing/2014/main" val="481471067"/>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hin</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akeawa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Snacking</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eep</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ietar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6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Goodfella’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3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4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7609235"/>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Chicago Town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96994351"/>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Dr Oetker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5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Gigantic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8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1102018"/>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4105883568"/>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963648270"/>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1</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030045731"/>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2</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242580393"/>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3</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793203043"/>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4</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698915166"/>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5</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163222010"/>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6</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556988888"/>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7</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552692066"/>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8</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177351465"/>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9</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1154613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0/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rPr lang="en-US"/>
              <a:t>DATA SOURCE: Trade Panel/Retailer Data | Ending Dec 2022</a:t>
            </a:r>
            <a:endParaRPr lang="da-DK"/>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r>
              <a:rPr lang="en-US" dirty="0"/>
              <a:t>Volume sold on deal Summary | By Brand | By Sector | Category | National | P12M</a:t>
            </a:r>
            <a:endParaRPr lang="en-AE" dirty="0"/>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4" cy="3801000"/>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1295060">
                  <a:extLst>
                    <a:ext uri="{9D8B030D-6E8A-4147-A177-3AD203B41FA5}">
                      <a16:colId xmlns:a16="http://schemas.microsoft.com/office/drawing/2014/main" val="8673104"/>
                    </a:ext>
                  </a:extLst>
                </a:gridCol>
                <a:gridCol w="1295060">
                  <a:extLst>
                    <a:ext uri="{9D8B030D-6E8A-4147-A177-3AD203B41FA5}">
                      <a16:colId xmlns:a16="http://schemas.microsoft.com/office/drawing/2014/main" val="1028273140"/>
                    </a:ext>
                  </a:extLst>
                </a:gridCol>
                <a:gridCol w="1295060">
                  <a:extLst>
                    <a:ext uri="{9D8B030D-6E8A-4147-A177-3AD203B41FA5}">
                      <a16:colId xmlns:a16="http://schemas.microsoft.com/office/drawing/2014/main" val="2342841255"/>
                    </a:ext>
                  </a:extLst>
                </a:gridCol>
                <a:gridCol w="1295060">
                  <a:extLst>
                    <a:ext uri="{9D8B030D-6E8A-4147-A177-3AD203B41FA5}">
                      <a16:colId xmlns:a16="http://schemas.microsoft.com/office/drawing/2014/main" val="1336055313"/>
                    </a:ext>
                  </a:extLst>
                </a:gridCol>
                <a:gridCol w="1295060">
                  <a:extLst>
                    <a:ext uri="{9D8B030D-6E8A-4147-A177-3AD203B41FA5}">
                      <a16:colId xmlns:a16="http://schemas.microsoft.com/office/drawing/2014/main" val="481471067"/>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hin</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akeawa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Snacking</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eep</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ietar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6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Goodfella’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3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4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7609235"/>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Chicago Town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96994351"/>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Dr Oetker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5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Gigantic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8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1102018"/>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653803491"/>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0</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816167679"/>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1</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295896354"/>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2</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830133894"/>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3</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221069934"/>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4</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014326650"/>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5</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991189638"/>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6</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421478420"/>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7</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854890927"/>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8</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584618353"/>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9</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7390227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0/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rPr lang="en-US"/>
              <a:t>DATA SOURCE: Trade Panel/Retailer Data | Ending Dec 2022</a:t>
            </a:r>
            <a:endParaRPr lang="da-DK"/>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r>
              <a:rPr lang="en-US" dirty="0"/>
              <a:t>Volume sold on deal Summary | By Brand | By Sector | Category | National | P12M</a:t>
            </a:r>
            <a:endParaRPr lang="en-AE" dirty="0"/>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4" cy="3801000"/>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1295060">
                  <a:extLst>
                    <a:ext uri="{9D8B030D-6E8A-4147-A177-3AD203B41FA5}">
                      <a16:colId xmlns:a16="http://schemas.microsoft.com/office/drawing/2014/main" val="8673104"/>
                    </a:ext>
                  </a:extLst>
                </a:gridCol>
                <a:gridCol w="1295060">
                  <a:extLst>
                    <a:ext uri="{9D8B030D-6E8A-4147-A177-3AD203B41FA5}">
                      <a16:colId xmlns:a16="http://schemas.microsoft.com/office/drawing/2014/main" val="1028273140"/>
                    </a:ext>
                  </a:extLst>
                </a:gridCol>
                <a:gridCol w="1295060">
                  <a:extLst>
                    <a:ext uri="{9D8B030D-6E8A-4147-A177-3AD203B41FA5}">
                      <a16:colId xmlns:a16="http://schemas.microsoft.com/office/drawing/2014/main" val="2342841255"/>
                    </a:ext>
                  </a:extLst>
                </a:gridCol>
                <a:gridCol w="1295060">
                  <a:extLst>
                    <a:ext uri="{9D8B030D-6E8A-4147-A177-3AD203B41FA5}">
                      <a16:colId xmlns:a16="http://schemas.microsoft.com/office/drawing/2014/main" val="1336055313"/>
                    </a:ext>
                  </a:extLst>
                </a:gridCol>
                <a:gridCol w="1295060">
                  <a:extLst>
                    <a:ext uri="{9D8B030D-6E8A-4147-A177-3AD203B41FA5}">
                      <a16:colId xmlns:a16="http://schemas.microsoft.com/office/drawing/2014/main" val="481471067"/>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hin</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akeawa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Snacking</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eep</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ietar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6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Goodfella’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3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4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7609235"/>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Chicago Town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96994351"/>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Dr Oetker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5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Gigantic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8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1102018"/>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1872424827"/>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0</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116623923"/>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1</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4235055346"/>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2</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963777821"/>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3</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86235915"/>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4</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891959400"/>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5</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758150098"/>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6</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851206792"/>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7</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373808058"/>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8</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2537860139"/>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9</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30359192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0/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rPr lang="en-US"/>
              <a:t>DATA SOURCE: Trade Panel/Retailer Data | Ending Dec 2022</a:t>
            </a:r>
            <a:endParaRPr lang="da-DK"/>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r>
              <a:rPr lang="en-US" dirty="0"/>
              <a:t>Volume sold on deal Summary | By Brand | By Sector | Category | National | P12M</a:t>
            </a:r>
            <a:endParaRPr lang="en-AE" dirty="0"/>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4" cy="3801000"/>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1295060">
                  <a:extLst>
                    <a:ext uri="{9D8B030D-6E8A-4147-A177-3AD203B41FA5}">
                      <a16:colId xmlns:a16="http://schemas.microsoft.com/office/drawing/2014/main" val="8673104"/>
                    </a:ext>
                  </a:extLst>
                </a:gridCol>
                <a:gridCol w="1295060">
                  <a:extLst>
                    <a:ext uri="{9D8B030D-6E8A-4147-A177-3AD203B41FA5}">
                      <a16:colId xmlns:a16="http://schemas.microsoft.com/office/drawing/2014/main" val="1028273140"/>
                    </a:ext>
                  </a:extLst>
                </a:gridCol>
                <a:gridCol w="1295060">
                  <a:extLst>
                    <a:ext uri="{9D8B030D-6E8A-4147-A177-3AD203B41FA5}">
                      <a16:colId xmlns:a16="http://schemas.microsoft.com/office/drawing/2014/main" val="2342841255"/>
                    </a:ext>
                  </a:extLst>
                </a:gridCol>
                <a:gridCol w="1295060">
                  <a:extLst>
                    <a:ext uri="{9D8B030D-6E8A-4147-A177-3AD203B41FA5}">
                      <a16:colId xmlns:a16="http://schemas.microsoft.com/office/drawing/2014/main" val="1336055313"/>
                    </a:ext>
                  </a:extLst>
                </a:gridCol>
                <a:gridCol w="1295060">
                  <a:extLst>
                    <a:ext uri="{9D8B030D-6E8A-4147-A177-3AD203B41FA5}">
                      <a16:colId xmlns:a16="http://schemas.microsoft.com/office/drawing/2014/main" val="481471067"/>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hin</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akeawa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Snacking</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eep</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ietar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6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Goodfella’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3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4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7609235"/>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Chicago Town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96994351"/>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Dr Oetker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5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Gigantic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8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1102018"/>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4150615728"/>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0</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891082382"/>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1</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1061562747"/>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2</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565953718"/>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pPr lvl="0"/>
            <a:fld id="{C7189E43-AA56-4D05-A464-23A92FE9160C}" type="datetime1">
              <a:rPr lang="en-US" noProof="0"/>
              <a:pPr lvl="0"/>
              <a:t>8/10/2025</a:t>
            </a:fld>
            <a:endParaRPr lang="en-US" noProof="0"/>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3</a:t>
            </a:fld>
            <a:endParaRPr lang="en-US" noProof="0"/>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dirty="0"/>
              <a:t>Promo Frequency learnings | Category | Brand | National</a:t>
            </a:r>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Frequency learnings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63B5D470-F4DB-29B8-E604-CB9F498CE35B}"/>
              </a:ext>
            </a:extLst>
          </p:cNvPr>
          <p:cNvGraphicFramePr>
            <a:graphicFrameLocks/>
          </p:cNvGraphicFramePr>
          <p:nvPr/>
        </p:nvGraphicFramePr>
        <p:xfrm>
          <a:off x="521301" y="1221218"/>
          <a:ext cx="8093845" cy="351032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07E004-2CFB-0600-1307-70B0F42F87DC}"/>
              </a:ext>
            </a:extLst>
          </p:cNvPr>
          <p:cNvSpPr txBox="1"/>
          <p:nvPr/>
        </p:nvSpPr>
        <p:spPr>
          <a:xfrm rot="16200000">
            <a:off x="-64140" y="1788034"/>
            <a:ext cx="977857"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Value Sales (€)</a:t>
            </a:r>
          </a:p>
        </p:txBody>
      </p:sp>
      <p:sp>
        <p:nvSpPr>
          <p:cNvPr id="4" name="TextBox 3">
            <a:extLst>
              <a:ext uri="{FF2B5EF4-FFF2-40B4-BE49-F238E27FC236}">
                <a16:creationId xmlns:a16="http://schemas.microsoft.com/office/drawing/2014/main" id="{CD56191A-9FAA-111D-6583-899FDFE8320E}"/>
              </a:ext>
            </a:extLst>
          </p:cNvPr>
          <p:cNvSpPr txBox="1"/>
          <p:nvPr/>
        </p:nvSpPr>
        <p:spPr>
          <a:xfrm rot="16200000">
            <a:off x="8061372" y="1758270"/>
            <a:ext cx="1308076"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A097"/>
                </a:solidFill>
                <a:effectLst/>
                <a:uLnTx/>
                <a:uFillTx/>
                <a:latin typeface="Nexa Bold" panose="00000800000000000000" pitchFamily="2" charset="0"/>
                <a:ea typeface="+mn-ea"/>
                <a:cs typeface="+mn-cs"/>
              </a:rPr>
              <a:t>% Promo Sales (Value)</a:t>
            </a:r>
          </a:p>
        </p:txBody>
      </p:sp>
      <p:sp>
        <p:nvSpPr>
          <p:cNvPr id="5" name="TextBox 4">
            <a:extLst>
              <a:ext uri="{FF2B5EF4-FFF2-40B4-BE49-F238E27FC236}">
                <a16:creationId xmlns:a16="http://schemas.microsoft.com/office/drawing/2014/main" id="{E6D0DE9D-0F3A-C8D4-E00A-7CA986D1AF45}"/>
              </a:ext>
            </a:extLst>
          </p:cNvPr>
          <p:cNvSpPr txBox="1"/>
          <p:nvPr/>
        </p:nvSpPr>
        <p:spPr>
          <a:xfrm>
            <a:off x="2548549" y="4504576"/>
            <a:ext cx="4050506" cy="43540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Base Sales: What the Brand would have sold without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Promo Value: Brand Sales on Promotion</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rPr>
              <a:t>% Promo Value: % of Brand Sales sold on promotion</a:t>
            </a:r>
          </a:p>
        </p:txBody>
      </p:sp>
    </p:spTree>
    <p:extLst>
      <p:ext uri="{BB962C8B-B14F-4D97-AF65-F5344CB8AC3E}">
        <p14:creationId xmlns:p14="http://schemas.microsoft.com/office/powerpoint/2010/main" val="81065404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4</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704672054"/>
              </p:ext>
            </p:extLst>
          </p:nvPr>
        </p:nvGraphicFramePr>
        <p:xfrm>
          <a:off x="547224" y="1134892"/>
          <a:ext cx="216000" cy="3112854"/>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037618">
                <a:tc>
                  <a:txBody>
                    <a:bodyPr/>
                    <a:lstStyle/>
                    <a:p>
                      <a:pPr algn="ctr"/>
                      <a:r>
                        <a:rPr lang="en-US" sz="800" dirty="0">
                          <a:latin typeface="Nexa Bold" panose="00000800000000000000" pitchFamily="2" charset="0"/>
                        </a:rPr>
                        <a:t>Carrefour</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185244123"/>
                  </a:ext>
                </a:extLst>
              </a:tr>
              <a:tr h="1037618">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1037618">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2" name="Content Placeholder 19">
            <a:extLst>
              <a:ext uri="{FF2B5EF4-FFF2-40B4-BE49-F238E27FC236}">
                <a16:creationId xmlns:a16="http://schemas.microsoft.com/office/drawing/2014/main" id="{F389A7D3-2361-FB29-69DF-956A4DF1D33C}"/>
              </a:ext>
            </a:extLst>
          </p:cNvPr>
          <p:cNvGraphicFramePr>
            <a:graphicFrameLocks/>
          </p:cNvGraphicFramePr>
          <p:nvPr/>
        </p:nvGraphicFramePr>
        <p:xfrm>
          <a:off x="797668" y="1134892"/>
          <a:ext cx="7843095" cy="102988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9">
            <a:extLst>
              <a:ext uri="{FF2B5EF4-FFF2-40B4-BE49-F238E27FC236}">
                <a16:creationId xmlns:a16="http://schemas.microsoft.com/office/drawing/2014/main" id="{AA3374B6-17D3-01C0-46E5-6DB0C44FFE24}"/>
              </a:ext>
            </a:extLst>
          </p:cNvPr>
          <p:cNvGraphicFramePr>
            <a:graphicFrameLocks/>
          </p:cNvGraphicFramePr>
          <p:nvPr/>
        </p:nvGraphicFramePr>
        <p:xfrm>
          <a:off x="797668" y="2290154"/>
          <a:ext cx="7843095" cy="92960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 name="Content Placeholder 19">
            <a:extLst>
              <a:ext uri="{FF2B5EF4-FFF2-40B4-BE49-F238E27FC236}">
                <a16:creationId xmlns:a16="http://schemas.microsoft.com/office/drawing/2014/main" id="{04E8AD50-7F97-85DC-705B-B1CD8452C3D2}"/>
              </a:ext>
            </a:extLst>
          </p:cNvPr>
          <p:cNvGraphicFramePr>
            <a:graphicFrameLocks/>
          </p:cNvGraphicFramePr>
          <p:nvPr>
            <p:extLst>
              <p:ext uri="{D42A27DB-BD31-4B8C-83A1-F6EECF244321}">
                <p14:modId xmlns:p14="http://schemas.microsoft.com/office/powerpoint/2010/main" val="3682642633"/>
              </p:ext>
            </p:extLst>
          </p:nvPr>
        </p:nvGraphicFramePr>
        <p:xfrm>
          <a:off x="797668" y="3324729"/>
          <a:ext cx="7843095" cy="1406951"/>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39689564"/>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5</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dirty="0"/>
              <a:t>Data Source | Trade Panel</a:t>
            </a:r>
            <a:endParaRPr lang="en-GB" dirty="0"/>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347662652"/>
              </p:ext>
            </p:extLst>
          </p:nvPr>
        </p:nvGraphicFramePr>
        <p:xfrm>
          <a:off x="543464" y="1138144"/>
          <a:ext cx="216000" cy="3097884"/>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774471">
                <a:tc>
                  <a:txBody>
                    <a:bodyPr/>
                    <a:lstStyle/>
                    <a:p>
                      <a:pPr algn="ctr"/>
                      <a:r>
                        <a:rPr lang="en-US" sz="800" dirty="0">
                          <a:latin typeface="Nexa Bold" panose="00000800000000000000" pitchFamily="2" charset="0"/>
                        </a:rPr>
                        <a:t>Carrefour</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185244123"/>
                  </a:ext>
                </a:extLst>
              </a:tr>
              <a:tr h="774471">
                <a:tc>
                  <a:txBody>
                    <a:bodyPr/>
                    <a:lstStyle/>
                    <a:p>
                      <a:pPr algn="ctr"/>
                      <a:r>
                        <a:rPr lang="en-US" sz="800">
                          <a:latin typeface="Nexa Bold" panose="00000800000000000000" pitchFamily="2" charset="0"/>
                        </a:rPr>
                        <a:t>Coop Alleanza</a:t>
                      </a:r>
                      <a:endParaRPr lang="en-CH" sz="80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3908580997"/>
                  </a:ext>
                </a:extLst>
              </a:tr>
              <a:tr h="774471">
                <a:tc>
                  <a:txBody>
                    <a:bodyPr/>
                    <a:lstStyle/>
                    <a:p>
                      <a:pPr algn="ctr"/>
                      <a:r>
                        <a:rPr lang="en-US" sz="800">
                          <a:latin typeface="Nexa Bold" panose="00000800000000000000" pitchFamily="2" charset="0"/>
                        </a:rPr>
                        <a:t>Esselunga</a:t>
                      </a:r>
                      <a:endParaRPr lang="en-CH" sz="80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774471">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4" name="Content Placeholder 19">
            <a:extLst>
              <a:ext uri="{FF2B5EF4-FFF2-40B4-BE49-F238E27FC236}">
                <a16:creationId xmlns:a16="http://schemas.microsoft.com/office/drawing/2014/main" id="{8D8A54D8-E668-3C4D-A6B1-85CE8E015A13}"/>
              </a:ext>
            </a:extLst>
          </p:cNvPr>
          <p:cNvGraphicFramePr>
            <a:graphicFrameLocks/>
          </p:cNvGraphicFramePr>
          <p:nvPr/>
        </p:nvGraphicFramePr>
        <p:xfrm>
          <a:off x="796636" y="1140363"/>
          <a:ext cx="7844127" cy="77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 name="Content Placeholder 19">
            <a:extLst>
              <a:ext uri="{FF2B5EF4-FFF2-40B4-BE49-F238E27FC236}">
                <a16:creationId xmlns:a16="http://schemas.microsoft.com/office/drawing/2014/main" id="{DB384682-35BA-7713-45C0-B93BC417A78A}"/>
              </a:ext>
            </a:extLst>
          </p:cNvPr>
          <p:cNvGraphicFramePr>
            <a:graphicFrameLocks/>
          </p:cNvGraphicFramePr>
          <p:nvPr/>
        </p:nvGraphicFramePr>
        <p:xfrm>
          <a:off x="796636" y="2054157"/>
          <a:ext cx="7844127" cy="7765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ontent Placeholder 19">
            <a:extLst>
              <a:ext uri="{FF2B5EF4-FFF2-40B4-BE49-F238E27FC236}">
                <a16:creationId xmlns:a16="http://schemas.microsoft.com/office/drawing/2014/main" id="{122FE7EF-742E-A05E-0CCF-20797CCB1FA3}"/>
              </a:ext>
            </a:extLst>
          </p:cNvPr>
          <p:cNvGraphicFramePr>
            <a:graphicFrameLocks/>
          </p:cNvGraphicFramePr>
          <p:nvPr/>
        </p:nvGraphicFramePr>
        <p:xfrm>
          <a:off x="796636" y="2816307"/>
          <a:ext cx="7844127" cy="7765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Content Placeholder 19">
            <a:extLst>
              <a:ext uri="{FF2B5EF4-FFF2-40B4-BE49-F238E27FC236}">
                <a16:creationId xmlns:a16="http://schemas.microsoft.com/office/drawing/2014/main" id="{CF9222A0-9AAB-C1CF-B74B-1E194C6C0D6B}"/>
              </a:ext>
            </a:extLst>
          </p:cNvPr>
          <p:cNvGraphicFramePr>
            <a:graphicFrameLocks/>
          </p:cNvGraphicFramePr>
          <p:nvPr>
            <p:extLst>
              <p:ext uri="{D42A27DB-BD31-4B8C-83A1-F6EECF244321}">
                <p14:modId xmlns:p14="http://schemas.microsoft.com/office/powerpoint/2010/main" val="1680988584"/>
              </p:ext>
            </p:extLst>
          </p:nvPr>
        </p:nvGraphicFramePr>
        <p:xfrm>
          <a:off x="796636" y="3558344"/>
          <a:ext cx="7844127" cy="117098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416076636"/>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6</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520083078"/>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7</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704672054"/>
              </p:ext>
            </p:extLst>
          </p:nvPr>
        </p:nvGraphicFramePr>
        <p:xfrm>
          <a:off x="547224" y="1134892"/>
          <a:ext cx="216000" cy="3112854"/>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037618">
                <a:tc>
                  <a:txBody>
                    <a:bodyPr/>
                    <a:lstStyle/>
                    <a:p>
                      <a:pPr algn="ctr"/>
                      <a:r>
                        <a:rPr lang="en-US" sz="800" dirty="0">
                          <a:latin typeface="Nexa Bold" panose="00000800000000000000" pitchFamily="2" charset="0"/>
                        </a:rPr>
                        <a:t>Carrefour</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185244123"/>
                  </a:ext>
                </a:extLst>
              </a:tr>
              <a:tr h="1037618">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1037618">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2" name="Content Placeholder 19">
            <a:extLst>
              <a:ext uri="{FF2B5EF4-FFF2-40B4-BE49-F238E27FC236}">
                <a16:creationId xmlns:a16="http://schemas.microsoft.com/office/drawing/2014/main" id="{F389A7D3-2361-FB29-69DF-956A4DF1D33C}"/>
              </a:ext>
            </a:extLst>
          </p:cNvPr>
          <p:cNvGraphicFramePr>
            <a:graphicFrameLocks/>
          </p:cNvGraphicFramePr>
          <p:nvPr/>
        </p:nvGraphicFramePr>
        <p:xfrm>
          <a:off x="797668" y="1134892"/>
          <a:ext cx="7843095" cy="102988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9">
            <a:extLst>
              <a:ext uri="{FF2B5EF4-FFF2-40B4-BE49-F238E27FC236}">
                <a16:creationId xmlns:a16="http://schemas.microsoft.com/office/drawing/2014/main" id="{AA3374B6-17D3-01C0-46E5-6DB0C44FFE24}"/>
              </a:ext>
            </a:extLst>
          </p:cNvPr>
          <p:cNvGraphicFramePr>
            <a:graphicFrameLocks/>
          </p:cNvGraphicFramePr>
          <p:nvPr/>
        </p:nvGraphicFramePr>
        <p:xfrm>
          <a:off x="797668" y="2290154"/>
          <a:ext cx="7843095" cy="92960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 name="Content Placeholder 19">
            <a:extLst>
              <a:ext uri="{FF2B5EF4-FFF2-40B4-BE49-F238E27FC236}">
                <a16:creationId xmlns:a16="http://schemas.microsoft.com/office/drawing/2014/main" id="{04E8AD50-7F97-85DC-705B-B1CD8452C3D2}"/>
              </a:ext>
            </a:extLst>
          </p:cNvPr>
          <p:cNvGraphicFramePr>
            <a:graphicFrameLocks/>
          </p:cNvGraphicFramePr>
          <p:nvPr>
            <p:extLst>
              <p:ext uri="{D42A27DB-BD31-4B8C-83A1-F6EECF244321}">
                <p14:modId xmlns:p14="http://schemas.microsoft.com/office/powerpoint/2010/main" val="3682642633"/>
              </p:ext>
            </p:extLst>
          </p:nvPr>
        </p:nvGraphicFramePr>
        <p:xfrm>
          <a:off x="797668" y="3324729"/>
          <a:ext cx="7843095" cy="1406951"/>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7504772"/>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8</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169939922"/>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9</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dirty="0"/>
              <a:t>Data Source | Trade Panel</a:t>
            </a:r>
            <a:endParaRPr lang="en-GB" dirty="0"/>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347662652"/>
              </p:ext>
            </p:extLst>
          </p:nvPr>
        </p:nvGraphicFramePr>
        <p:xfrm>
          <a:off x="543464" y="1138144"/>
          <a:ext cx="216000" cy="3097884"/>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774471">
                <a:tc>
                  <a:txBody>
                    <a:bodyPr/>
                    <a:lstStyle/>
                    <a:p>
                      <a:pPr algn="ctr"/>
                      <a:r>
                        <a:rPr lang="en-US" sz="800" dirty="0">
                          <a:latin typeface="Nexa Bold" panose="00000800000000000000" pitchFamily="2" charset="0"/>
                        </a:rPr>
                        <a:t>Carrefour</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185244123"/>
                  </a:ext>
                </a:extLst>
              </a:tr>
              <a:tr h="774471">
                <a:tc>
                  <a:txBody>
                    <a:bodyPr/>
                    <a:lstStyle/>
                    <a:p>
                      <a:pPr algn="ctr"/>
                      <a:r>
                        <a:rPr lang="en-US" sz="800">
                          <a:latin typeface="Nexa Bold" panose="00000800000000000000" pitchFamily="2" charset="0"/>
                        </a:rPr>
                        <a:t>Coop Alleanza</a:t>
                      </a:r>
                      <a:endParaRPr lang="en-CH" sz="80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3908580997"/>
                  </a:ext>
                </a:extLst>
              </a:tr>
              <a:tr h="774471">
                <a:tc>
                  <a:txBody>
                    <a:bodyPr/>
                    <a:lstStyle/>
                    <a:p>
                      <a:pPr algn="ctr"/>
                      <a:r>
                        <a:rPr lang="en-US" sz="800">
                          <a:latin typeface="Nexa Bold" panose="00000800000000000000" pitchFamily="2" charset="0"/>
                        </a:rPr>
                        <a:t>Esselunga</a:t>
                      </a:r>
                      <a:endParaRPr lang="en-CH" sz="80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774471">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4" name="Content Placeholder 19">
            <a:extLst>
              <a:ext uri="{FF2B5EF4-FFF2-40B4-BE49-F238E27FC236}">
                <a16:creationId xmlns:a16="http://schemas.microsoft.com/office/drawing/2014/main" id="{8D8A54D8-E668-3C4D-A6B1-85CE8E015A13}"/>
              </a:ext>
            </a:extLst>
          </p:cNvPr>
          <p:cNvGraphicFramePr>
            <a:graphicFrameLocks/>
          </p:cNvGraphicFramePr>
          <p:nvPr/>
        </p:nvGraphicFramePr>
        <p:xfrm>
          <a:off x="796636" y="1140363"/>
          <a:ext cx="7844127" cy="77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 name="Content Placeholder 19">
            <a:extLst>
              <a:ext uri="{FF2B5EF4-FFF2-40B4-BE49-F238E27FC236}">
                <a16:creationId xmlns:a16="http://schemas.microsoft.com/office/drawing/2014/main" id="{DB384682-35BA-7713-45C0-B93BC417A78A}"/>
              </a:ext>
            </a:extLst>
          </p:cNvPr>
          <p:cNvGraphicFramePr>
            <a:graphicFrameLocks/>
          </p:cNvGraphicFramePr>
          <p:nvPr/>
        </p:nvGraphicFramePr>
        <p:xfrm>
          <a:off x="796636" y="2054157"/>
          <a:ext cx="7844127" cy="7765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ontent Placeholder 19">
            <a:extLst>
              <a:ext uri="{FF2B5EF4-FFF2-40B4-BE49-F238E27FC236}">
                <a16:creationId xmlns:a16="http://schemas.microsoft.com/office/drawing/2014/main" id="{122FE7EF-742E-A05E-0CCF-20797CCB1FA3}"/>
              </a:ext>
            </a:extLst>
          </p:cNvPr>
          <p:cNvGraphicFramePr>
            <a:graphicFrameLocks/>
          </p:cNvGraphicFramePr>
          <p:nvPr/>
        </p:nvGraphicFramePr>
        <p:xfrm>
          <a:off x="796636" y="2816307"/>
          <a:ext cx="7844127" cy="7765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Content Placeholder 19">
            <a:extLst>
              <a:ext uri="{FF2B5EF4-FFF2-40B4-BE49-F238E27FC236}">
                <a16:creationId xmlns:a16="http://schemas.microsoft.com/office/drawing/2014/main" id="{CF9222A0-9AAB-C1CF-B74B-1E194C6C0D6B}"/>
              </a:ext>
            </a:extLst>
          </p:cNvPr>
          <p:cNvGraphicFramePr>
            <a:graphicFrameLocks/>
          </p:cNvGraphicFramePr>
          <p:nvPr>
            <p:extLst>
              <p:ext uri="{D42A27DB-BD31-4B8C-83A1-F6EECF244321}">
                <p14:modId xmlns:p14="http://schemas.microsoft.com/office/powerpoint/2010/main" val="1680988584"/>
              </p:ext>
            </p:extLst>
          </p:nvPr>
        </p:nvGraphicFramePr>
        <p:xfrm>
          <a:off x="796636" y="3558344"/>
          <a:ext cx="7844127" cy="117098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3582924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87921420"/>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rPr lang="en-GB"/>
              <a:t>Data Source | Trade Panel | ending Apr 22</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r>
              <a:rPr lang="en-US"/>
              <a:t>Value Uplift by brand | Category/Sector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486807">
                  <a:extLst>
                    <a:ext uri="{9D8B030D-6E8A-4147-A177-3AD203B41FA5}">
                      <a16:colId xmlns:a16="http://schemas.microsoft.com/office/drawing/2014/main" val="3095964032"/>
                    </a:ext>
                  </a:extLst>
                </a:gridCol>
                <a:gridCol w="486807">
                  <a:extLst>
                    <a:ext uri="{9D8B030D-6E8A-4147-A177-3AD203B41FA5}">
                      <a16:colId xmlns:a16="http://schemas.microsoft.com/office/drawing/2014/main" val="1492968221"/>
                    </a:ext>
                  </a:extLst>
                </a:gridCol>
                <a:gridCol w="486807">
                  <a:extLst>
                    <a:ext uri="{9D8B030D-6E8A-4147-A177-3AD203B41FA5}">
                      <a16:colId xmlns:a16="http://schemas.microsoft.com/office/drawing/2014/main" val="1388089212"/>
                    </a:ext>
                  </a:extLst>
                </a:gridCol>
                <a:gridCol w="486807">
                  <a:extLst>
                    <a:ext uri="{9D8B030D-6E8A-4147-A177-3AD203B41FA5}">
                      <a16:colId xmlns:a16="http://schemas.microsoft.com/office/drawing/2014/main" val="653198056"/>
                    </a:ext>
                  </a:extLst>
                </a:gridCol>
                <a:gridCol w="486807">
                  <a:extLst>
                    <a:ext uri="{9D8B030D-6E8A-4147-A177-3AD203B41FA5}">
                      <a16:colId xmlns:a16="http://schemas.microsoft.com/office/drawing/2014/main" val="2597698693"/>
                    </a:ext>
                  </a:extLst>
                </a:gridCol>
                <a:gridCol w="486807">
                  <a:extLst>
                    <a:ext uri="{9D8B030D-6E8A-4147-A177-3AD203B41FA5}">
                      <a16:colId xmlns:a16="http://schemas.microsoft.com/office/drawing/2014/main" val="3679993237"/>
                    </a:ext>
                  </a:extLst>
                </a:gridCol>
                <a:gridCol w="486807">
                  <a:extLst>
                    <a:ext uri="{9D8B030D-6E8A-4147-A177-3AD203B41FA5}">
                      <a16:colId xmlns:a16="http://schemas.microsoft.com/office/drawing/2014/main" val="3222933510"/>
                    </a:ext>
                  </a:extLst>
                </a:gridCol>
                <a:gridCol w="486807">
                  <a:extLst>
                    <a:ext uri="{9D8B030D-6E8A-4147-A177-3AD203B41FA5}">
                      <a16:colId xmlns:a16="http://schemas.microsoft.com/office/drawing/2014/main" val="2120373476"/>
                    </a:ext>
                  </a:extLst>
                </a:gridCol>
                <a:gridCol w="486807">
                  <a:extLst>
                    <a:ext uri="{9D8B030D-6E8A-4147-A177-3AD203B41FA5}">
                      <a16:colId xmlns:a16="http://schemas.microsoft.com/office/drawing/2014/main" val="2675510286"/>
                    </a:ext>
                  </a:extLst>
                </a:gridCol>
                <a:gridCol w="486807">
                  <a:extLst>
                    <a:ext uri="{9D8B030D-6E8A-4147-A177-3AD203B41FA5}">
                      <a16:colId xmlns:a16="http://schemas.microsoft.com/office/drawing/2014/main" val="3000440053"/>
                    </a:ext>
                  </a:extLst>
                </a:gridCol>
                <a:gridCol w="486807">
                  <a:extLst>
                    <a:ext uri="{9D8B030D-6E8A-4147-A177-3AD203B41FA5}">
                      <a16:colId xmlns:a16="http://schemas.microsoft.com/office/drawing/2014/main" val="3214997608"/>
                    </a:ext>
                  </a:extLst>
                </a:gridCol>
                <a:gridCol w="486807">
                  <a:extLst>
                    <a:ext uri="{9D8B030D-6E8A-4147-A177-3AD203B41FA5}">
                      <a16:colId xmlns:a16="http://schemas.microsoft.com/office/drawing/2014/main" val="4271382557"/>
                    </a:ext>
                  </a:extLst>
                </a:gridCol>
                <a:gridCol w="486807">
                  <a:extLst>
                    <a:ext uri="{9D8B030D-6E8A-4147-A177-3AD203B41FA5}">
                      <a16:colId xmlns:a16="http://schemas.microsoft.com/office/drawing/2014/main" val="826016986"/>
                    </a:ext>
                  </a:extLst>
                </a:gridCol>
                <a:gridCol w="486807">
                  <a:extLst>
                    <a:ext uri="{9D8B030D-6E8A-4147-A177-3AD203B41FA5}">
                      <a16:colId xmlns:a16="http://schemas.microsoft.com/office/drawing/2014/main" val="2337481629"/>
                    </a:ext>
                  </a:extLst>
                </a:gridCol>
              </a:tblGrid>
              <a:tr h="278130">
                <a:tc>
                  <a:txBody>
                    <a:bodyPr/>
                    <a:lstStyle/>
                    <a:p>
                      <a:pPr algn="ctr"/>
                      <a:r>
                        <a:rPr lang="en-US" sz="800" b="0" dirty="0">
                          <a:solidFill>
                            <a:schemeClr val="tx2"/>
                          </a:solidFill>
                          <a:latin typeface="Nexa Bold" panose="00000800000000000000" pitchFamily="2" charset="0"/>
                        </a:rPr>
                        <a:t>Carrefour</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Coop </a:t>
                      </a:r>
                      <a:r>
                        <a:rPr lang="en-US" sz="800" b="0" dirty="0" err="1">
                          <a:solidFill>
                            <a:schemeClr val="tx2"/>
                          </a:solidFill>
                          <a:latin typeface="Nexa Bold" panose="00000800000000000000" pitchFamily="2" charset="0"/>
                        </a:rPr>
                        <a:t>Alleanz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err="1">
                          <a:solidFill>
                            <a:schemeClr val="tx2"/>
                          </a:solidFill>
                          <a:latin typeface="Nexa Bold" panose="00000800000000000000" pitchFamily="2" charset="0"/>
                        </a:rPr>
                        <a:t>Esselung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Gruppo Pam</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2614748864"/>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0</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380025721"/>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1</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704672054"/>
              </p:ext>
            </p:extLst>
          </p:nvPr>
        </p:nvGraphicFramePr>
        <p:xfrm>
          <a:off x="547224" y="1134892"/>
          <a:ext cx="216000" cy="3112854"/>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037618">
                <a:tc>
                  <a:txBody>
                    <a:bodyPr/>
                    <a:lstStyle/>
                    <a:p>
                      <a:pPr algn="ctr"/>
                      <a:r>
                        <a:rPr lang="en-US" sz="800" dirty="0">
                          <a:latin typeface="Nexa Bold" panose="00000800000000000000" pitchFamily="2" charset="0"/>
                        </a:rPr>
                        <a:t>Carrefour</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185244123"/>
                  </a:ext>
                </a:extLst>
              </a:tr>
              <a:tr h="1037618">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1037618">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2" name="Content Placeholder 19">
            <a:extLst>
              <a:ext uri="{FF2B5EF4-FFF2-40B4-BE49-F238E27FC236}">
                <a16:creationId xmlns:a16="http://schemas.microsoft.com/office/drawing/2014/main" id="{F389A7D3-2361-FB29-69DF-956A4DF1D33C}"/>
              </a:ext>
            </a:extLst>
          </p:cNvPr>
          <p:cNvGraphicFramePr>
            <a:graphicFrameLocks/>
          </p:cNvGraphicFramePr>
          <p:nvPr/>
        </p:nvGraphicFramePr>
        <p:xfrm>
          <a:off x="797668" y="1134892"/>
          <a:ext cx="7843095" cy="102988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9">
            <a:extLst>
              <a:ext uri="{FF2B5EF4-FFF2-40B4-BE49-F238E27FC236}">
                <a16:creationId xmlns:a16="http://schemas.microsoft.com/office/drawing/2014/main" id="{AA3374B6-17D3-01C0-46E5-6DB0C44FFE24}"/>
              </a:ext>
            </a:extLst>
          </p:cNvPr>
          <p:cNvGraphicFramePr>
            <a:graphicFrameLocks/>
          </p:cNvGraphicFramePr>
          <p:nvPr/>
        </p:nvGraphicFramePr>
        <p:xfrm>
          <a:off x="797668" y="2290154"/>
          <a:ext cx="7843095" cy="92960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 name="Content Placeholder 19">
            <a:extLst>
              <a:ext uri="{FF2B5EF4-FFF2-40B4-BE49-F238E27FC236}">
                <a16:creationId xmlns:a16="http://schemas.microsoft.com/office/drawing/2014/main" id="{04E8AD50-7F97-85DC-705B-B1CD8452C3D2}"/>
              </a:ext>
            </a:extLst>
          </p:cNvPr>
          <p:cNvGraphicFramePr>
            <a:graphicFrameLocks/>
          </p:cNvGraphicFramePr>
          <p:nvPr>
            <p:extLst>
              <p:ext uri="{D42A27DB-BD31-4B8C-83A1-F6EECF244321}">
                <p14:modId xmlns:p14="http://schemas.microsoft.com/office/powerpoint/2010/main" val="3682642633"/>
              </p:ext>
            </p:extLst>
          </p:nvPr>
        </p:nvGraphicFramePr>
        <p:xfrm>
          <a:off x="797668" y="3324729"/>
          <a:ext cx="7843095" cy="1406951"/>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62157046"/>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2</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a:t>Data Source | Trade Panel</a:t>
            </a:r>
            <a:endParaRPr lang="en-GB"/>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ontent Placeholder 19">
            <a:extLst>
              <a:ext uri="{FF2B5EF4-FFF2-40B4-BE49-F238E27FC236}">
                <a16:creationId xmlns:a16="http://schemas.microsoft.com/office/drawing/2014/main" id="{9F2B971D-B103-BD41-69B0-5B94255F8973}"/>
              </a:ext>
            </a:extLst>
          </p:cNvPr>
          <p:cNvGraphicFramePr>
            <a:graphicFrameLocks/>
          </p:cNvGraphicFramePr>
          <p:nvPr>
            <p:extLst>
              <p:ext uri="{D42A27DB-BD31-4B8C-83A1-F6EECF244321}">
                <p14:modId xmlns:p14="http://schemas.microsoft.com/office/powerpoint/2010/main" val="588380682"/>
              </p:ext>
            </p:extLst>
          </p:nvPr>
        </p:nvGraphicFramePr>
        <p:xfrm>
          <a:off x="797668" y="1152000"/>
          <a:ext cx="7842332" cy="1546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1632237063"/>
              </p:ext>
            </p:extLst>
          </p:nvPr>
        </p:nvGraphicFramePr>
        <p:xfrm>
          <a:off x="541177" y="1131888"/>
          <a:ext cx="216000" cy="3104140"/>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1552070">
                <a:tc>
                  <a:txBody>
                    <a:bodyPr/>
                    <a:lstStyle/>
                    <a:p>
                      <a:pPr algn="ctr"/>
                      <a:r>
                        <a:rPr lang="en-US" sz="800" dirty="0" err="1">
                          <a:latin typeface="Nexa Bold" panose="00000800000000000000" pitchFamily="2" charset="0"/>
                        </a:rPr>
                        <a:t>Esselunga</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1552070">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17" name="Content Placeholder 19">
            <a:extLst>
              <a:ext uri="{FF2B5EF4-FFF2-40B4-BE49-F238E27FC236}">
                <a16:creationId xmlns:a16="http://schemas.microsoft.com/office/drawing/2014/main" id="{1211F4F0-6AB6-3860-2E4A-2A50DC22755A}"/>
              </a:ext>
            </a:extLst>
          </p:cNvPr>
          <p:cNvGraphicFramePr>
            <a:graphicFrameLocks/>
          </p:cNvGraphicFramePr>
          <p:nvPr>
            <p:extLst>
              <p:ext uri="{D42A27DB-BD31-4B8C-83A1-F6EECF244321}">
                <p14:modId xmlns:p14="http://schemas.microsoft.com/office/powerpoint/2010/main" val="1436690496"/>
              </p:ext>
            </p:extLst>
          </p:nvPr>
        </p:nvGraphicFramePr>
        <p:xfrm>
          <a:off x="797668" y="2910213"/>
          <a:ext cx="7842332" cy="182254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494005024"/>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3</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dirty="0"/>
              <a:t>Data Source | Trade Panel</a:t>
            </a:r>
            <a:endParaRPr lang="en-GB" dirty="0"/>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347662652"/>
              </p:ext>
            </p:extLst>
          </p:nvPr>
        </p:nvGraphicFramePr>
        <p:xfrm>
          <a:off x="543464" y="1138144"/>
          <a:ext cx="216000" cy="3097884"/>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774471">
                <a:tc>
                  <a:txBody>
                    <a:bodyPr/>
                    <a:lstStyle/>
                    <a:p>
                      <a:pPr algn="ctr"/>
                      <a:r>
                        <a:rPr lang="en-US" sz="800" dirty="0">
                          <a:latin typeface="Nexa Bold" panose="00000800000000000000" pitchFamily="2" charset="0"/>
                        </a:rPr>
                        <a:t>Carrefour</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185244123"/>
                  </a:ext>
                </a:extLst>
              </a:tr>
              <a:tr h="774471">
                <a:tc>
                  <a:txBody>
                    <a:bodyPr/>
                    <a:lstStyle/>
                    <a:p>
                      <a:pPr algn="ctr"/>
                      <a:r>
                        <a:rPr lang="en-US" sz="800">
                          <a:latin typeface="Nexa Bold" panose="00000800000000000000" pitchFamily="2" charset="0"/>
                        </a:rPr>
                        <a:t>Coop Alleanza</a:t>
                      </a:r>
                      <a:endParaRPr lang="en-CH" sz="80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3908580997"/>
                  </a:ext>
                </a:extLst>
              </a:tr>
              <a:tr h="774471">
                <a:tc>
                  <a:txBody>
                    <a:bodyPr/>
                    <a:lstStyle/>
                    <a:p>
                      <a:pPr algn="ctr"/>
                      <a:r>
                        <a:rPr lang="en-US" sz="800">
                          <a:latin typeface="Nexa Bold" panose="00000800000000000000" pitchFamily="2" charset="0"/>
                        </a:rPr>
                        <a:t>Esselunga</a:t>
                      </a:r>
                      <a:endParaRPr lang="en-CH" sz="80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774471">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4" name="Content Placeholder 19">
            <a:extLst>
              <a:ext uri="{FF2B5EF4-FFF2-40B4-BE49-F238E27FC236}">
                <a16:creationId xmlns:a16="http://schemas.microsoft.com/office/drawing/2014/main" id="{8D8A54D8-E668-3C4D-A6B1-85CE8E015A13}"/>
              </a:ext>
            </a:extLst>
          </p:cNvPr>
          <p:cNvGraphicFramePr>
            <a:graphicFrameLocks/>
          </p:cNvGraphicFramePr>
          <p:nvPr/>
        </p:nvGraphicFramePr>
        <p:xfrm>
          <a:off x="796636" y="1140363"/>
          <a:ext cx="7844127" cy="77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 name="Content Placeholder 19">
            <a:extLst>
              <a:ext uri="{FF2B5EF4-FFF2-40B4-BE49-F238E27FC236}">
                <a16:creationId xmlns:a16="http://schemas.microsoft.com/office/drawing/2014/main" id="{DB384682-35BA-7713-45C0-B93BC417A78A}"/>
              </a:ext>
            </a:extLst>
          </p:cNvPr>
          <p:cNvGraphicFramePr>
            <a:graphicFrameLocks/>
          </p:cNvGraphicFramePr>
          <p:nvPr/>
        </p:nvGraphicFramePr>
        <p:xfrm>
          <a:off x="796636" y="2054157"/>
          <a:ext cx="7844127" cy="7765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ontent Placeholder 19">
            <a:extLst>
              <a:ext uri="{FF2B5EF4-FFF2-40B4-BE49-F238E27FC236}">
                <a16:creationId xmlns:a16="http://schemas.microsoft.com/office/drawing/2014/main" id="{122FE7EF-742E-A05E-0CCF-20797CCB1FA3}"/>
              </a:ext>
            </a:extLst>
          </p:cNvPr>
          <p:cNvGraphicFramePr>
            <a:graphicFrameLocks/>
          </p:cNvGraphicFramePr>
          <p:nvPr/>
        </p:nvGraphicFramePr>
        <p:xfrm>
          <a:off x="796636" y="2816307"/>
          <a:ext cx="7844127" cy="7765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Content Placeholder 19">
            <a:extLst>
              <a:ext uri="{FF2B5EF4-FFF2-40B4-BE49-F238E27FC236}">
                <a16:creationId xmlns:a16="http://schemas.microsoft.com/office/drawing/2014/main" id="{CF9222A0-9AAB-C1CF-B74B-1E194C6C0D6B}"/>
              </a:ext>
            </a:extLst>
          </p:cNvPr>
          <p:cNvGraphicFramePr>
            <a:graphicFrameLocks/>
          </p:cNvGraphicFramePr>
          <p:nvPr>
            <p:extLst>
              <p:ext uri="{D42A27DB-BD31-4B8C-83A1-F6EECF244321}">
                <p14:modId xmlns:p14="http://schemas.microsoft.com/office/powerpoint/2010/main" val="1680988584"/>
              </p:ext>
            </p:extLst>
          </p:nvPr>
        </p:nvGraphicFramePr>
        <p:xfrm>
          <a:off x="796636" y="3558344"/>
          <a:ext cx="7844127" cy="117098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630579310"/>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75116C8-04AF-7A38-8A6A-24B0808DA91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075116C8-04AF-7A38-8A6A-24B0808DA91A}"/>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29676198-5E6C-EBEF-CA91-0D93A403E7BE}"/>
              </a:ext>
            </a:extLst>
          </p:cNvPr>
          <p:cNvSpPr>
            <a:spLocks noGrp="1"/>
          </p:cNvSpPr>
          <p:nvPr>
            <p:ph type="dt" sz="half" idx="14"/>
          </p:nvPr>
        </p:nvSpPr>
        <p:spPr>
          <a:xfrm>
            <a:off x="8082390" y="4972050"/>
            <a:ext cx="557609" cy="171450"/>
          </a:xfrm>
        </p:spPr>
        <p:txBody>
          <a:bodyPr/>
          <a:lstStyle/>
          <a:p>
            <a:fld id="{C7189E43-AA56-4D05-A464-23A92FE9160C}" type="datetime1">
              <a:rPr lang="en-US"/>
              <a:pPr/>
              <a:t>8/10/2025</a:t>
            </a:fld>
            <a:endParaRPr lang="en-US"/>
          </a:p>
        </p:txBody>
      </p:sp>
      <p:sp>
        <p:nvSpPr>
          <p:cNvPr id="11" name="Footer Placeholder 10">
            <a:extLst>
              <a:ext uri="{FF2B5EF4-FFF2-40B4-BE49-F238E27FC236}">
                <a16:creationId xmlns:a16="http://schemas.microsoft.com/office/drawing/2014/main" id="{DC13148E-CF2A-D1ED-A0EF-C103BA58FD09}"/>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954D6371-198D-F139-2A7F-C17F648BD30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4</a:t>
            </a:fld>
            <a:endParaRPr lang="en-US"/>
          </a:p>
        </p:txBody>
      </p:sp>
      <p:sp>
        <p:nvSpPr>
          <p:cNvPr id="15" name="Text Placeholder 5">
            <a:extLst>
              <a:ext uri="{FF2B5EF4-FFF2-40B4-BE49-F238E27FC236}">
                <a16:creationId xmlns:a16="http://schemas.microsoft.com/office/drawing/2014/main" id="{CC704080-A07A-7276-5728-CB5E47F4B8B0}"/>
              </a:ext>
            </a:extLst>
          </p:cNvPr>
          <p:cNvSpPr>
            <a:spLocks noGrp="1"/>
          </p:cNvSpPr>
          <p:nvPr>
            <p:ph type="body" sz="quarter" idx="17"/>
          </p:nvPr>
        </p:nvSpPr>
        <p:spPr>
          <a:xfrm>
            <a:off x="0" y="4734106"/>
            <a:ext cx="4572000" cy="222878"/>
          </a:xfrm>
        </p:spPr>
        <p:txBody>
          <a:bodyPr/>
          <a:lstStyle/>
          <a:p>
            <a:r>
              <a:rPr lang="en-US" dirty="0"/>
              <a:t>Data Source | Trade Panel</a:t>
            </a:r>
            <a:endParaRPr lang="en-GB" dirty="0"/>
          </a:p>
        </p:txBody>
      </p:sp>
      <p:sp>
        <p:nvSpPr>
          <p:cNvPr id="12" name="Content Placeholder 11">
            <a:extLst>
              <a:ext uri="{FF2B5EF4-FFF2-40B4-BE49-F238E27FC236}">
                <a16:creationId xmlns:a16="http://schemas.microsoft.com/office/drawing/2014/main" id="{C85E97B4-6268-4DB5-B959-7C21FAA23AED}"/>
              </a:ext>
            </a:extLst>
          </p:cNvPr>
          <p:cNvSpPr>
            <a:spLocks noGrp="1"/>
          </p:cNvSpPr>
          <p:nvPr>
            <p:ph type="body" sz="quarter" idx="18"/>
          </p:nvPr>
        </p:nvSpPr>
        <p:spPr>
          <a:xfrm>
            <a:off x="503238" y="774000"/>
            <a:ext cx="8136762" cy="360000"/>
          </a:xfrm>
        </p:spPr>
        <p:txBody>
          <a:bodyPr/>
          <a:lstStyle/>
          <a:p>
            <a:r>
              <a:rPr lang="en-US"/>
              <a:t>Promo sales per retailer | Findus | Fish Fingers</a:t>
            </a:r>
            <a:endParaRPr lang="en-CH"/>
          </a:p>
        </p:txBody>
      </p:sp>
      <p:sp>
        <p:nvSpPr>
          <p:cNvPr id="10" name="Title 9">
            <a:extLst>
              <a:ext uri="{FF2B5EF4-FFF2-40B4-BE49-F238E27FC236}">
                <a16:creationId xmlns:a16="http://schemas.microsoft.com/office/drawing/2014/main" id="{26C45BA5-B0F6-46C3-91F7-50D2AEFF1EE8}"/>
              </a:ext>
            </a:extLst>
          </p:cNvPr>
          <p:cNvSpPr>
            <a:spLocks noGrp="1"/>
          </p:cNvSpPr>
          <p:nvPr>
            <p:ph type="title"/>
          </p:nvPr>
        </p:nvSpPr>
        <p:spPr>
          <a:xfrm>
            <a:off x="504000" y="-1"/>
            <a:ext cx="8136000" cy="771525"/>
          </a:xfrm>
        </p:spPr>
        <p:txBody>
          <a:bodyPr vert="horz"/>
          <a:lstStyle/>
          <a:p>
            <a:r>
              <a:rPr lang="en-US" dirty="0">
                <a:highlight>
                  <a:srgbClr val="FFFF00"/>
                </a:highlight>
              </a:rPr>
              <a:t>Promo sales per retailer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7">
            <a:extLst>
              <a:ext uri="{FF2B5EF4-FFF2-40B4-BE49-F238E27FC236}">
                <a16:creationId xmlns:a16="http://schemas.microsoft.com/office/drawing/2014/main" id="{CA3B52E0-4834-AF52-69AA-FB2130391410}"/>
              </a:ext>
            </a:extLst>
          </p:cNvPr>
          <p:cNvGraphicFramePr>
            <a:graphicFrameLocks noGrp="1"/>
          </p:cNvGraphicFramePr>
          <p:nvPr>
            <p:extLst>
              <p:ext uri="{D42A27DB-BD31-4B8C-83A1-F6EECF244321}">
                <p14:modId xmlns:p14="http://schemas.microsoft.com/office/powerpoint/2010/main" val="3347662652"/>
              </p:ext>
            </p:extLst>
          </p:nvPr>
        </p:nvGraphicFramePr>
        <p:xfrm>
          <a:off x="543464" y="1138144"/>
          <a:ext cx="216000" cy="3097884"/>
        </p:xfrm>
        <a:graphic>
          <a:graphicData uri="http://schemas.openxmlformats.org/drawingml/2006/table">
            <a:tbl>
              <a:tblPr>
                <a:tableStyleId>{5C22544A-7EE6-4342-B048-85BDC9FD1C3A}</a:tableStyleId>
              </a:tblPr>
              <a:tblGrid>
                <a:gridCol w="216000">
                  <a:extLst>
                    <a:ext uri="{9D8B030D-6E8A-4147-A177-3AD203B41FA5}">
                      <a16:colId xmlns:a16="http://schemas.microsoft.com/office/drawing/2014/main" val="901811580"/>
                    </a:ext>
                  </a:extLst>
                </a:gridCol>
              </a:tblGrid>
              <a:tr h="774471">
                <a:tc>
                  <a:txBody>
                    <a:bodyPr/>
                    <a:lstStyle/>
                    <a:p>
                      <a:pPr algn="ctr"/>
                      <a:r>
                        <a:rPr lang="en-US" sz="800" dirty="0">
                          <a:latin typeface="Nexa Bold" panose="00000800000000000000" pitchFamily="2" charset="0"/>
                        </a:rPr>
                        <a:t>Carrefour</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185244123"/>
                  </a:ext>
                </a:extLst>
              </a:tr>
              <a:tr h="774471">
                <a:tc>
                  <a:txBody>
                    <a:bodyPr/>
                    <a:lstStyle/>
                    <a:p>
                      <a:pPr algn="ctr"/>
                      <a:r>
                        <a:rPr lang="en-US" sz="800">
                          <a:latin typeface="Nexa Bold" panose="00000800000000000000" pitchFamily="2" charset="0"/>
                        </a:rPr>
                        <a:t>Coop Alleanza</a:t>
                      </a:r>
                      <a:endParaRPr lang="en-CH" sz="80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3908580997"/>
                  </a:ext>
                </a:extLst>
              </a:tr>
              <a:tr h="774471">
                <a:tc>
                  <a:txBody>
                    <a:bodyPr/>
                    <a:lstStyle/>
                    <a:p>
                      <a:pPr algn="ctr"/>
                      <a:r>
                        <a:rPr lang="en-US" sz="800">
                          <a:latin typeface="Nexa Bold" panose="00000800000000000000" pitchFamily="2" charset="0"/>
                        </a:rPr>
                        <a:t>Esselunga</a:t>
                      </a:r>
                      <a:endParaRPr lang="en-CH" sz="80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2799006142"/>
                  </a:ext>
                </a:extLst>
              </a:tr>
              <a:tr h="774471">
                <a:tc>
                  <a:txBody>
                    <a:bodyPr/>
                    <a:lstStyle/>
                    <a:p>
                      <a:pPr algn="ctr"/>
                      <a:r>
                        <a:rPr lang="en-US" sz="800" dirty="0">
                          <a:latin typeface="Nexa Bold" panose="00000800000000000000" pitchFamily="2" charset="0"/>
                        </a:rPr>
                        <a:t>Gruppo Pam</a:t>
                      </a:r>
                      <a:endParaRPr lang="en-CH" sz="800" dirty="0">
                        <a:latin typeface="Nexa Bold" panose="00000800000000000000" pitchFamily="2" charset="0"/>
                      </a:endParaRPr>
                    </a:p>
                  </a:txBody>
                  <a:tcPr marL="68580" marR="68580" marT="34290" marB="34290" vert="vert270" anchor="ctr">
                    <a:solidFill>
                      <a:schemeClr val="bg2"/>
                    </a:solidFill>
                  </a:tcPr>
                </a:tc>
                <a:extLst>
                  <a:ext uri="{0D108BD9-81ED-4DB2-BD59-A6C34878D82A}">
                    <a16:rowId xmlns:a16="http://schemas.microsoft.com/office/drawing/2014/main" val="772538266"/>
                  </a:ext>
                </a:extLst>
              </a:tr>
            </a:tbl>
          </a:graphicData>
        </a:graphic>
      </p:graphicFrame>
      <p:graphicFrame>
        <p:nvGraphicFramePr>
          <p:cNvPr id="4" name="Content Placeholder 19">
            <a:extLst>
              <a:ext uri="{FF2B5EF4-FFF2-40B4-BE49-F238E27FC236}">
                <a16:creationId xmlns:a16="http://schemas.microsoft.com/office/drawing/2014/main" id="{8D8A54D8-E668-3C4D-A6B1-85CE8E015A13}"/>
              </a:ext>
            </a:extLst>
          </p:cNvPr>
          <p:cNvGraphicFramePr>
            <a:graphicFrameLocks/>
          </p:cNvGraphicFramePr>
          <p:nvPr/>
        </p:nvGraphicFramePr>
        <p:xfrm>
          <a:off x="796636" y="1140363"/>
          <a:ext cx="7844127" cy="77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 name="Content Placeholder 19">
            <a:extLst>
              <a:ext uri="{FF2B5EF4-FFF2-40B4-BE49-F238E27FC236}">
                <a16:creationId xmlns:a16="http://schemas.microsoft.com/office/drawing/2014/main" id="{DB384682-35BA-7713-45C0-B93BC417A78A}"/>
              </a:ext>
            </a:extLst>
          </p:cNvPr>
          <p:cNvGraphicFramePr>
            <a:graphicFrameLocks/>
          </p:cNvGraphicFramePr>
          <p:nvPr/>
        </p:nvGraphicFramePr>
        <p:xfrm>
          <a:off x="796636" y="2054157"/>
          <a:ext cx="7844127" cy="7765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ontent Placeholder 19">
            <a:extLst>
              <a:ext uri="{FF2B5EF4-FFF2-40B4-BE49-F238E27FC236}">
                <a16:creationId xmlns:a16="http://schemas.microsoft.com/office/drawing/2014/main" id="{122FE7EF-742E-A05E-0CCF-20797CCB1FA3}"/>
              </a:ext>
            </a:extLst>
          </p:cNvPr>
          <p:cNvGraphicFramePr>
            <a:graphicFrameLocks/>
          </p:cNvGraphicFramePr>
          <p:nvPr/>
        </p:nvGraphicFramePr>
        <p:xfrm>
          <a:off x="796636" y="2816307"/>
          <a:ext cx="7844127" cy="7765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Content Placeholder 19">
            <a:extLst>
              <a:ext uri="{FF2B5EF4-FFF2-40B4-BE49-F238E27FC236}">
                <a16:creationId xmlns:a16="http://schemas.microsoft.com/office/drawing/2014/main" id="{CF9222A0-9AAB-C1CF-B74B-1E194C6C0D6B}"/>
              </a:ext>
            </a:extLst>
          </p:cNvPr>
          <p:cNvGraphicFramePr>
            <a:graphicFrameLocks/>
          </p:cNvGraphicFramePr>
          <p:nvPr>
            <p:extLst>
              <p:ext uri="{D42A27DB-BD31-4B8C-83A1-F6EECF244321}">
                <p14:modId xmlns:p14="http://schemas.microsoft.com/office/powerpoint/2010/main" val="1680988584"/>
              </p:ext>
            </p:extLst>
          </p:nvPr>
        </p:nvGraphicFramePr>
        <p:xfrm>
          <a:off x="796636" y="3558344"/>
          <a:ext cx="7844127" cy="117098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717974380"/>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5</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03770930"/>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6</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507238587"/>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7</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595320887"/>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8</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857225550"/>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9</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2075101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87921420"/>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rPr lang="en-GB"/>
              <a:t>Data Source | Trade Panel | ending Apr 22</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r>
              <a:rPr lang="en-US"/>
              <a:t>Value Uplift by brand | Category/Sector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486807">
                  <a:extLst>
                    <a:ext uri="{9D8B030D-6E8A-4147-A177-3AD203B41FA5}">
                      <a16:colId xmlns:a16="http://schemas.microsoft.com/office/drawing/2014/main" val="3095964032"/>
                    </a:ext>
                  </a:extLst>
                </a:gridCol>
                <a:gridCol w="486807">
                  <a:extLst>
                    <a:ext uri="{9D8B030D-6E8A-4147-A177-3AD203B41FA5}">
                      <a16:colId xmlns:a16="http://schemas.microsoft.com/office/drawing/2014/main" val="1492968221"/>
                    </a:ext>
                  </a:extLst>
                </a:gridCol>
                <a:gridCol w="486807">
                  <a:extLst>
                    <a:ext uri="{9D8B030D-6E8A-4147-A177-3AD203B41FA5}">
                      <a16:colId xmlns:a16="http://schemas.microsoft.com/office/drawing/2014/main" val="1388089212"/>
                    </a:ext>
                  </a:extLst>
                </a:gridCol>
                <a:gridCol w="486807">
                  <a:extLst>
                    <a:ext uri="{9D8B030D-6E8A-4147-A177-3AD203B41FA5}">
                      <a16:colId xmlns:a16="http://schemas.microsoft.com/office/drawing/2014/main" val="653198056"/>
                    </a:ext>
                  </a:extLst>
                </a:gridCol>
                <a:gridCol w="486807">
                  <a:extLst>
                    <a:ext uri="{9D8B030D-6E8A-4147-A177-3AD203B41FA5}">
                      <a16:colId xmlns:a16="http://schemas.microsoft.com/office/drawing/2014/main" val="2597698693"/>
                    </a:ext>
                  </a:extLst>
                </a:gridCol>
                <a:gridCol w="486807">
                  <a:extLst>
                    <a:ext uri="{9D8B030D-6E8A-4147-A177-3AD203B41FA5}">
                      <a16:colId xmlns:a16="http://schemas.microsoft.com/office/drawing/2014/main" val="3679993237"/>
                    </a:ext>
                  </a:extLst>
                </a:gridCol>
                <a:gridCol w="486807">
                  <a:extLst>
                    <a:ext uri="{9D8B030D-6E8A-4147-A177-3AD203B41FA5}">
                      <a16:colId xmlns:a16="http://schemas.microsoft.com/office/drawing/2014/main" val="3222933510"/>
                    </a:ext>
                  </a:extLst>
                </a:gridCol>
                <a:gridCol w="486807">
                  <a:extLst>
                    <a:ext uri="{9D8B030D-6E8A-4147-A177-3AD203B41FA5}">
                      <a16:colId xmlns:a16="http://schemas.microsoft.com/office/drawing/2014/main" val="2120373476"/>
                    </a:ext>
                  </a:extLst>
                </a:gridCol>
                <a:gridCol w="486807">
                  <a:extLst>
                    <a:ext uri="{9D8B030D-6E8A-4147-A177-3AD203B41FA5}">
                      <a16:colId xmlns:a16="http://schemas.microsoft.com/office/drawing/2014/main" val="2675510286"/>
                    </a:ext>
                  </a:extLst>
                </a:gridCol>
                <a:gridCol w="486807">
                  <a:extLst>
                    <a:ext uri="{9D8B030D-6E8A-4147-A177-3AD203B41FA5}">
                      <a16:colId xmlns:a16="http://schemas.microsoft.com/office/drawing/2014/main" val="3000440053"/>
                    </a:ext>
                  </a:extLst>
                </a:gridCol>
                <a:gridCol w="486807">
                  <a:extLst>
                    <a:ext uri="{9D8B030D-6E8A-4147-A177-3AD203B41FA5}">
                      <a16:colId xmlns:a16="http://schemas.microsoft.com/office/drawing/2014/main" val="3214997608"/>
                    </a:ext>
                  </a:extLst>
                </a:gridCol>
                <a:gridCol w="486807">
                  <a:extLst>
                    <a:ext uri="{9D8B030D-6E8A-4147-A177-3AD203B41FA5}">
                      <a16:colId xmlns:a16="http://schemas.microsoft.com/office/drawing/2014/main" val="4271382557"/>
                    </a:ext>
                  </a:extLst>
                </a:gridCol>
                <a:gridCol w="486807">
                  <a:extLst>
                    <a:ext uri="{9D8B030D-6E8A-4147-A177-3AD203B41FA5}">
                      <a16:colId xmlns:a16="http://schemas.microsoft.com/office/drawing/2014/main" val="826016986"/>
                    </a:ext>
                  </a:extLst>
                </a:gridCol>
                <a:gridCol w="486807">
                  <a:extLst>
                    <a:ext uri="{9D8B030D-6E8A-4147-A177-3AD203B41FA5}">
                      <a16:colId xmlns:a16="http://schemas.microsoft.com/office/drawing/2014/main" val="2337481629"/>
                    </a:ext>
                  </a:extLst>
                </a:gridCol>
              </a:tblGrid>
              <a:tr h="278130">
                <a:tc>
                  <a:txBody>
                    <a:bodyPr/>
                    <a:lstStyle/>
                    <a:p>
                      <a:pPr algn="ctr"/>
                      <a:r>
                        <a:rPr lang="en-US" sz="800" b="0" dirty="0">
                          <a:solidFill>
                            <a:schemeClr val="tx2"/>
                          </a:solidFill>
                          <a:latin typeface="Nexa Bold" panose="00000800000000000000" pitchFamily="2" charset="0"/>
                        </a:rPr>
                        <a:t>Carrefour</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Coop </a:t>
                      </a:r>
                      <a:r>
                        <a:rPr lang="en-US" sz="800" b="0" dirty="0" err="1">
                          <a:solidFill>
                            <a:schemeClr val="tx2"/>
                          </a:solidFill>
                          <a:latin typeface="Nexa Bold" panose="00000800000000000000" pitchFamily="2" charset="0"/>
                        </a:rPr>
                        <a:t>Alleanz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err="1">
                          <a:solidFill>
                            <a:schemeClr val="tx2"/>
                          </a:solidFill>
                          <a:latin typeface="Nexa Bold" panose="00000800000000000000" pitchFamily="2" charset="0"/>
                        </a:rPr>
                        <a:t>Esselung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Gruppo Pam</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192193125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0</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55787677"/>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1</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879641027"/>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2</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538359187"/>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3</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004173281"/>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4</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862968285"/>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5</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457254471"/>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6</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498001498"/>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7</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354129953"/>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8</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081611986"/>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9</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6864112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87921420"/>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rPr lang="en-GB"/>
              <a:t>Data Source | Trade Panel | ending Apr 22</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r>
              <a:rPr lang="en-US"/>
              <a:t>Value Uplift by brand | Category/Sector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486807">
                  <a:extLst>
                    <a:ext uri="{9D8B030D-6E8A-4147-A177-3AD203B41FA5}">
                      <a16:colId xmlns:a16="http://schemas.microsoft.com/office/drawing/2014/main" val="3095964032"/>
                    </a:ext>
                  </a:extLst>
                </a:gridCol>
                <a:gridCol w="486807">
                  <a:extLst>
                    <a:ext uri="{9D8B030D-6E8A-4147-A177-3AD203B41FA5}">
                      <a16:colId xmlns:a16="http://schemas.microsoft.com/office/drawing/2014/main" val="1492968221"/>
                    </a:ext>
                  </a:extLst>
                </a:gridCol>
                <a:gridCol w="486807">
                  <a:extLst>
                    <a:ext uri="{9D8B030D-6E8A-4147-A177-3AD203B41FA5}">
                      <a16:colId xmlns:a16="http://schemas.microsoft.com/office/drawing/2014/main" val="1388089212"/>
                    </a:ext>
                  </a:extLst>
                </a:gridCol>
                <a:gridCol w="486807">
                  <a:extLst>
                    <a:ext uri="{9D8B030D-6E8A-4147-A177-3AD203B41FA5}">
                      <a16:colId xmlns:a16="http://schemas.microsoft.com/office/drawing/2014/main" val="653198056"/>
                    </a:ext>
                  </a:extLst>
                </a:gridCol>
                <a:gridCol w="486807">
                  <a:extLst>
                    <a:ext uri="{9D8B030D-6E8A-4147-A177-3AD203B41FA5}">
                      <a16:colId xmlns:a16="http://schemas.microsoft.com/office/drawing/2014/main" val="2597698693"/>
                    </a:ext>
                  </a:extLst>
                </a:gridCol>
                <a:gridCol w="486807">
                  <a:extLst>
                    <a:ext uri="{9D8B030D-6E8A-4147-A177-3AD203B41FA5}">
                      <a16:colId xmlns:a16="http://schemas.microsoft.com/office/drawing/2014/main" val="3679993237"/>
                    </a:ext>
                  </a:extLst>
                </a:gridCol>
                <a:gridCol w="486807">
                  <a:extLst>
                    <a:ext uri="{9D8B030D-6E8A-4147-A177-3AD203B41FA5}">
                      <a16:colId xmlns:a16="http://schemas.microsoft.com/office/drawing/2014/main" val="3222933510"/>
                    </a:ext>
                  </a:extLst>
                </a:gridCol>
                <a:gridCol w="486807">
                  <a:extLst>
                    <a:ext uri="{9D8B030D-6E8A-4147-A177-3AD203B41FA5}">
                      <a16:colId xmlns:a16="http://schemas.microsoft.com/office/drawing/2014/main" val="2120373476"/>
                    </a:ext>
                  </a:extLst>
                </a:gridCol>
                <a:gridCol w="486807">
                  <a:extLst>
                    <a:ext uri="{9D8B030D-6E8A-4147-A177-3AD203B41FA5}">
                      <a16:colId xmlns:a16="http://schemas.microsoft.com/office/drawing/2014/main" val="2675510286"/>
                    </a:ext>
                  </a:extLst>
                </a:gridCol>
                <a:gridCol w="486807">
                  <a:extLst>
                    <a:ext uri="{9D8B030D-6E8A-4147-A177-3AD203B41FA5}">
                      <a16:colId xmlns:a16="http://schemas.microsoft.com/office/drawing/2014/main" val="3000440053"/>
                    </a:ext>
                  </a:extLst>
                </a:gridCol>
                <a:gridCol w="486807">
                  <a:extLst>
                    <a:ext uri="{9D8B030D-6E8A-4147-A177-3AD203B41FA5}">
                      <a16:colId xmlns:a16="http://schemas.microsoft.com/office/drawing/2014/main" val="3214997608"/>
                    </a:ext>
                  </a:extLst>
                </a:gridCol>
                <a:gridCol w="486807">
                  <a:extLst>
                    <a:ext uri="{9D8B030D-6E8A-4147-A177-3AD203B41FA5}">
                      <a16:colId xmlns:a16="http://schemas.microsoft.com/office/drawing/2014/main" val="4271382557"/>
                    </a:ext>
                  </a:extLst>
                </a:gridCol>
                <a:gridCol w="486807">
                  <a:extLst>
                    <a:ext uri="{9D8B030D-6E8A-4147-A177-3AD203B41FA5}">
                      <a16:colId xmlns:a16="http://schemas.microsoft.com/office/drawing/2014/main" val="826016986"/>
                    </a:ext>
                  </a:extLst>
                </a:gridCol>
                <a:gridCol w="486807">
                  <a:extLst>
                    <a:ext uri="{9D8B030D-6E8A-4147-A177-3AD203B41FA5}">
                      <a16:colId xmlns:a16="http://schemas.microsoft.com/office/drawing/2014/main" val="2337481629"/>
                    </a:ext>
                  </a:extLst>
                </a:gridCol>
              </a:tblGrid>
              <a:tr h="278130">
                <a:tc>
                  <a:txBody>
                    <a:bodyPr/>
                    <a:lstStyle/>
                    <a:p>
                      <a:pPr algn="ctr"/>
                      <a:r>
                        <a:rPr lang="en-US" sz="800" b="0" dirty="0">
                          <a:solidFill>
                            <a:schemeClr val="tx2"/>
                          </a:solidFill>
                          <a:latin typeface="Nexa Bold" panose="00000800000000000000" pitchFamily="2" charset="0"/>
                        </a:rPr>
                        <a:t>Carrefour</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Coop </a:t>
                      </a:r>
                      <a:r>
                        <a:rPr lang="en-US" sz="800" b="0" dirty="0" err="1">
                          <a:solidFill>
                            <a:schemeClr val="tx2"/>
                          </a:solidFill>
                          <a:latin typeface="Nexa Bold" panose="00000800000000000000" pitchFamily="2" charset="0"/>
                        </a:rPr>
                        <a:t>Alleanz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err="1">
                          <a:solidFill>
                            <a:schemeClr val="tx2"/>
                          </a:solidFill>
                          <a:latin typeface="Nexa Bold" panose="00000800000000000000" pitchFamily="2" charset="0"/>
                        </a:rPr>
                        <a:t>Esselung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Gruppo Pam</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623693949"/>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0</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05086201"/>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1</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138407713"/>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2</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307187710"/>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3</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899668471"/>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4</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092955282"/>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5</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95225283"/>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B964B1-14CC-84D7-1710-D56FE62AEA7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DFB964B1-14CC-84D7-1710-D56FE62AEA7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298565BD-951F-4D2F-979B-57F766BC21EE}" type="datetime1">
              <a:rPr lang="en-US"/>
              <a:pPr/>
              <a:t>8/10/2025</a:t>
            </a:fld>
            <a:endParaRPr lang="en-US"/>
          </a:p>
        </p:txBody>
      </p:sp>
      <p:sp>
        <p:nvSpPr>
          <p:cNvPr id="12" name="Footer Placeholder 11">
            <a:extLst>
              <a:ext uri="{FF2B5EF4-FFF2-40B4-BE49-F238E27FC236}">
                <a16:creationId xmlns:a16="http://schemas.microsoft.com/office/drawing/2014/main" id="{AF8368D3-3D63-AF51-C473-3172FFDCCC38}"/>
              </a:ext>
            </a:extLst>
          </p:cNvPr>
          <p:cNvSpPr>
            <a:spLocks noGrp="1"/>
          </p:cNvSpPr>
          <p:nvPr>
            <p:ph type="ftr" sz="quarter" idx="15"/>
          </p:nvPr>
        </p:nvSpPr>
        <p:spPr>
          <a:xfrm>
            <a:off x="546969" y="4970700"/>
            <a:ext cx="6451742" cy="174151"/>
          </a:xfrm>
        </p:spPr>
        <p:txBody>
          <a:bodyPr/>
          <a:lstStyle/>
          <a:p>
            <a:endParaRPr lang="en-US"/>
          </a:p>
        </p:txBody>
      </p:sp>
      <p:sp>
        <p:nvSpPr>
          <p:cNvPr id="10" name="Slide Number Placeholder 9">
            <a:extLst>
              <a:ext uri="{FF2B5EF4-FFF2-40B4-BE49-F238E27FC236}">
                <a16:creationId xmlns:a16="http://schemas.microsoft.com/office/drawing/2014/main" id="{BEC7961F-38FA-8372-E331-641C9E4875C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6</a:t>
            </a:fld>
            <a:endParaRPr lang="en-US"/>
          </a:p>
        </p:txBody>
      </p:sp>
      <p:sp>
        <p:nvSpPr>
          <p:cNvPr id="3" name="Text Placeholder 2">
            <a:extLst>
              <a:ext uri="{FF2B5EF4-FFF2-40B4-BE49-F238E27FC236}">
                <a16:creationId xmlns:a16="http://schemas.microsoft.com/office/drawing/2014/main" id="{2C03859C-54AE-565E-5E07-F99E4BDAB7F3}"/>
              </a:ext>
            </a:extLst>
          </p:cNvPr>
          <p:cNvSpPr>
            <a:spLocks noGrp="1"/>
          </p:cNvSpPr>
          <p:nvPr>
            <p:ph type="body" sz="quarter" idx="17"/>
          </p:nvPr>
        </p:nvSpPr>
        <p:spPr>
          <a:xfrm>
            <a:off x="0" y="4734106"/>
            <a:ext cx="4572000" cy="222878"/>
          </a:xfrm>
        </p:spPr>
        <p:txBody>
          <a:bodyPr/>
          <a:lstStyle/>
          <a:p>
            <a:r>
              <a:rPr lang="en-US" dirty="0"/>
              <a:t>Data Source | </a:t>
            </a:r>
            <a:r>
              <a:rPr lang="en-US"/>
              <a:t>Trade Panel</a:t>
            </a:r>
            <a:endParaRPr lang="en-GB"/>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alue Uplift vs discount depth | By Event | Category/Sector | Brand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alu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5" name="Content Placeholder 10">
            <a:extLst>
              <a:ext uri="{FF2B5EF4-FFF2-40B4-BE49-F238E27FC236}">
                <a16:creationId xmlns:a16="http://schemas.microsoft.com/office/drawing/2014/main" id="{C9D8F785-D9D5-B016-033D-824915530E67}"/>
              </a:ext>
            </a:extLst>
          </p:cNvPr>
          <p:cNvGraphicFramePr>
            <a:graphicFrameLocks/>
          </p:cNvGraphicFramePr>
          <p:nvPr>
            <p:extLst>
              <p:ext uri="{D42A27DB-BD31-4B8C-83A1-F6EECF244321}">
                <p14:modId xmlns:p14="http://schemas.microsoft.com/office/powerpoint/2010/main" val="1960373859"/>
              </p:ext>
            </p:extLst>
          </p:nvPr>
        </p:nvGraphicFramePr>
        <p:xfrm>
          <a:off x="541200" y="1131889"/>
          <a:ext cx="3816113" cy="35937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ontent Placeholder 10">
            <a:extLst>
              <a:ext uri="{FF2B5EF4-FFF2-40B4-BE49-F238E27FC236}">
                <a16:creationId xmlns:a16="http://schemas.microsoft.com/office/drawing/2014/main" id="{72F896FC-E720-15EE-7230-5E703FB6E121}"/>
              </a:ext>
            </a:extLst>
          </p:cNvPr>
          <p:cNvGraphicFramePr>
            <a:graphicFrameLocks/>
          </p:cNvGraphicFramePr>
          <p:nvPr>
            <p:extLst>
              <p:ext uri="{D42A27DB-BD31-4B8C-83A1-F6EECF244321}">
                <p14:modId xmlns:p14="http://schemas.microsoft.com/office/powerpoint/2010/main" val="3956455726"/>
              </p:ext>
            </p:extLst>
          </p:nvPr>
        </p:nvGraphicFramePr>
        <p:xfrm>
          <a:off x="4828031" y="1138144"/>
          <a:ext cx="3816113" cy="35937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493759332"/>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5CF73-FB89-0B93-0441-FDF373A036EC}"/>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AB13B13-F7D6-AB1A-272B-46EBC1B9E54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41E7C470-70FD-74A4-7110-38731C308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D8EE896-E39A-D9A3-82FC-83118032EF6C}"/>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0/2025</a:t>
            </a:fld>
            <a:endParaRPr lang="en-US" noProof="0"/>
          </a:p>
        </p:txBody>
      </p:sp>
      <p:sp>
        <p:nvSpPr>
          <p:cNvPr id="4" name="Footer" hidden="1">
            <a:extLst>
              <a:ext uri="{FF2B5EF4-FFF2-40B4-BE49-F238E27FC236}">
                <a16:creationId xmlns:a16="http://schemas.microsoft.com/office/drawing/2014/main" id="{AB28F48E-D5E4-D538-CB9A-E9C13BFCEAE0}"/>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BA2CC67-B5B8-0EB8-BBDE-2724EE1E3FF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7</a:t>
            </a:fld>
            <a:endParaRPr lang="en-US" noProof="0"/>
          </a:p>
        </p:txBody>
      </p:sp>
      <p:sp>
        <p:nvSpPr>
          <p:cNvPr id="15" name="Data Source">
            <a:extLst>
              <a:ext uri="{FF2B5EF4-FFF2-40B4-BE49-F238E27FC236}">
                <a16:creationId xmlns:a16="http://schemas.microsoft.com/office/drawing/2014/main" id="{38CC35B7-7F02-B941-A370-376CD60D8FD0}"/>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5C8672B9-8DFE-21DE-D66C-D147E4B826BF}"/>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A8A34122-56EC-F352-D73B-2D45A1E7F2E1}"/>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14B7B400-46BB-5B96-87CC-231336D4FB5E}"/>
              </a:ext>
            </a:extLst>
          </p:cNvPr>
          <p:cNvGraphicFramePr>
            <a:graphicFrameLocks noGrp="1"/>
          </p:cNvGraphicFramePr>
          <p:nvPr>
            <p:extLst>
              <p:ext uri="{D42A27DB-BD31-4B8C-83A1-F6EECF244321}">
                <p14:modId xmlns:p14="http://schemas.microsoft.com/office/powerpoint/2010/main" val="96233226"/>
              </p:ext>
            </p:extLst>
          </p:nvPr>
        </p:nvGraphicFramePr>
        <p:xfrm>
          <a:off x="543331" y="1131888"/>
          <a:ext cx="303523" cy="1724763"/>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0613F4CC-2F1F-C5A5-BDE8-AA9221D44A00}"/>
              </a:ext>
            </a:extLst>
          </p:cNvPr>
          <p:cNvGraphicFramePr>
            <a:graphicFrameLocks/>
          </p:cNvGraphicFramePr>
          <p:nvPr>
            <p:extLst>
              <p:ext uri="{D42A27DB-BD31-4B8C-83A1-F6EECF244321}">
                <p14:modId xmlns:p14="http://schemas.microsoft.com/office/powerpoint/2010/main" val="3918470"/>
              </p:ext>
            </p:extLst>
          </p:nvPr>
        </p:nvGraphicFramePr>
        <p:xfrm>
          <a:off x="940093" y="1104344"/>
          <a:ext cx="7740000" cy="19259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02872435"/>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5CF73-FB89-0B93-0441-FDF373A036EC}"/>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AB13B13-F7D6-AB1A-272B-46EBC1B9E54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41E7C470-70FD-74A4-7110-38731C308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D8EE896-E39A-D9A3-82FC-83118032EF6C}"/>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0/2025</a:t>
            </a:fld>
            <a:endParaRPr lang="en-US" noProof="0"/>
          </a:p>
        </p:txBody>
      </p:sp>
      <p:sp>
        <p:nvSpPr>
          <p:cNvPr id="4" name="Footer" hidden="1">
            <a:extLst>
              <a:ext uri="{FF2B5EF4-FFF2-40B4-BE49-F238E27FC236}">
                <a16:creationId xmlns:a16="http://schemas.microsoft.com/office/drawing/2014/main" id="{AB28F48E-D5E4-D538-CB9A-E9C13BFCEAE0}"/>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BA2CC67-B5B8-0EB8-BBDE-2724EE1E3FF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8</a:t>
            </a:fld>
            <a:endParaRPr lang="en-US" noProof="0"/>
          </a:p>
        </p:txBody>
      </p:sp>
      <p:sp>
        <p:nvSpPr>
          <p:cNvPr id="15" name="Data Source">
            <a:extLst>
              <a:ext uri="{FF2B5EF4-FFF2-40B4-BE49-F238E27FC236}">
                <a16:creationId xmlns:a16="http://schemas.microsoft.com/office/drawing/2014/main" id="{38CC35B7-7F02-B941-A370-376CD60D8FD0}"/>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5C8672B9-8DFE-21DE-D66C-D147E4B826BF}"/>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A8A34122-56EC-F352-D73B-2D45A1E7F2E1}"/>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14B7B400-46BB-5B96-87CC-231336D4FB5E}"/>
              </a:ext>
            </a:extLst>
          </p:cNvPr>
          <p:cNvGraphicFramePr>
            <a:graphicFrameLocks noGrp="1"/>
          </p:cNvGraphicFramePr>
          <p:nvPr>
            <p:extLst>
              <p:ext uri="{D42A27DB-BD31-4B8C-83A1-F6EECF244321}">
                <p14:modId xmlns:p14="http://schemas.microsoft.com/office/powerpoint/2010/main" val="96233226"/>
              </p:ext>
            </p:extLst>
          </p:nvPr>
        </p:nvGraphicFramePr>
        <p:xfrm>
          <a:off x="543331" y="1131888"/>
          <a:ext cx="303523" cy="1724763"/>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0613F4CC-2F1F-C5A5-BDE8-AA9221D44A00}"/>
              </a:ext>
            </a:extLst>
          </p:cNvPr>
          <p:cNvGraphicFramePr>
            <a:graphicFrameLocks/>
          </p:cNvGraphicFramePr>
          <p:nvPr>
            <p:extLst>
              <p:ext uri="{D42A27DB-BD31-4B8C-83A1-F6EECF244321}">
                <p14:modId xmlns:p14="http://schemas.microsoft.com/office/powerpoint/2010/main" val="3918470"/>
              </p:ext>
            </p:extLst>
          </p:nvPr>
        </p:nvGraphicFramePr>
        <p:xfrm>
          <a:off x="940093" y="1104344"/>
          <a:ext cx="7740000" cy="19259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12789476"/>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E8954-1515-D7C7-CADE-697E5B1B6CF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1E7C470-70FD-74A4-7110-38731C308BE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31311B7-7F72-87F6-55E7-1BC91CD3C2E7}"/>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0/2025</a:t>
            </a:fld>
            <a:endParaRPr lang="en-US" noProof="0"/>
          </a:p>
        </p:txBody>
      </p:sp>
      <p:sp>
        <p:nvSpPr>
          <p:cNvPr id="4" name="Footer" hidden="1">
            <a:extLst>
              <a:ext uri="{FF2B5EF4-FFF2-40B4-BE49-F238E27FC236}">
                <a16:creationId xmlns:a16="http://schemas.microsoft.com/office/drawing/2014/main" id="{5457E92C-FE8F-068A-AB01-8E89F7BC925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D3DAB0AB-0BA9-EB58-0EDC-64D2F6D79EC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9</a:t>
            </a:fld>
            <a:endParaRPr lang="en-US" noProof="0"/>
          </a:p>
        </p:txBody>
      </p:sp>
      <p:sp>
        <p:nvSpPr>
          <p:cNvPr id="15" name="Data Source">
            <a:extLst>
              <a:ext uri="{FF2B5EF4-FFF2-40B4-BE49-F238E27FC236}">
                <a16:creationId xmlns:a16="http://schemas.microsoft.com/office/drawing/2014/main" id="{ADE960CF-89BD-5FBC-2BEA-F1C9A35B7B89}"/>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F9773734-2E19-E380-3F9E-EAD09C6E5058}"/>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F980C054-4AD2-36DA-DF8D-72F9EAC5DF19}"/>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FD3FCF59-4D3D-63C9-1DFC-522E85B6F473}"/>
              </a:ext>
            </a:extLst>
          </p:cNvPr>
          <p:cNvGraphicFramePr>
            <a:graphicFrameLocks noGrp="1"/>
          </p:cNvGraphicFramePr>
          <p:nvPr>
            <p:extLst>
              <p:ext uri="{D42A27DB-BD31-4B8C-83A1-F6EECF244321}">
                <p14:modId xmlns:p14="http://schemas.microsoft.com/office/powerpoint/2010/main" val="1035235721"/>
              </p:ext>
            </p:extLst>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fontAlgn="b"/>
                      <a:r>
                        <a:rPr lang="en-US" sz="800" b="0" kern="1200" dirty="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724763">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26" name="C2">
            <a:extLst>
              <a:ext uri="{FF2B5EF4-FFF2-40B4-BE49-F238E27FC236}">
                <a16:creationId xmlns:a16="http://schemas.microsoft.com/office/drawing/2014/main" id="{C9AD43ED-F4F6-AE24-ED0E-A55367C3D320}"/>
              </a:ext>
            </a:extLst>
          </p:cNvPr>
          <p:cNvGraphicFramePr>
            <a:graphicFrameLocks/>
          </p:cNvGraphicFramePr>
          <p:nvPr>
            <p:extLst>
              <p:ext uri="{D42A27DB-BD31-4B8C-83A1-F6EECF244321}">
                <p14:modId xmlns:p14="http://schemas.microsoft.com/office/powerpoint/2010/main" val="3145327643"/>
              </p:ext>
            </p:extLst>
          </p:nvPr>
        </p:nvGraphicFramePr>
        <p:xfrm>
          <a:off x="899999" y="1131887"/>
          <a:ext cx="7740000" cy="172061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2">
            <a:extLst>
              <a:ext uri="{FF2B5EF4-FFF2-40B4-BE49-F238E27FC236}">
                <a16:creationId xmlns:a16="http://schemas.microsoft.com/office/drawing/2014/main" id="{5EA9E6B5-135B-7DC7-61F1-7E527BE5562D}"/>
              </a:ext>
            </a:extLst>
          </p:cNvPr>
          <p:cNvGraphicFramePr>
            <a:graphicFrameLocks/>
          </p:cNvGraphicFramePr>
          <p:nvPr>
            <p:extLst>
              <p:ext uri="{D42A27DB-BD31-4B8C-83A1-F6EECF244321}">
                <p14:modId xmlns:p14="http://schemas.microsoft.com/office/powerpoint/2010/main" val="355700526"/>
              </p:ext>
            </p:extLst>
          </p:nvPr>
        </p:nvGraphicFramePr>
        <p:xfrm>
          <a:off x="907981" y="2853850"/>
          <a:ext cx="7740000" cy="192596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0366405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535722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87921420"/>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rPr lang="en-GB"/>
              <a:t>Data Source | Trade Panel | ending Apr 22</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r>
              <a:rPr lang="en-US"/>
              <a:t>Value Uplift by brand | Category/Sector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486807">
                  <a:extLst>
                    <a:ext uri="{9D8B030D-6E8A-4147-A177-3AD203B41FA5}">
                      <a16:colId xmlns:a16="http://schemas.microsoft.com/office/drawing/2014/main" val="3095964032"/>
                    </a:ext>
                  </a:extLst>
                </a:gridCol>
                <a:gridCol w="486807">
                  <a:extLst>
                    <a:ext uri="{9D8B030D-6E8A-4147-A177-3AD203B41FA5}">
                      <a16:colId xmlns:a16="http://schemas.microsoft.com/office/drawing/2014/main" val="1492968221"/>
                    </a:ext>
                  </a:extLst>
                </a:gridCol>
                <a:gridCol w="486807">
                  <a:extLst>
                    <a:ext uri="{9D8B030D-6E8A-4147-A177-3AD203B41FA5}">
                      <a16:colId xmlns:a16="http://schemas.microsoft.com/office/drawing/2014/main" val="1388089212"/>
                    </a:ext>
                  </a:extLst>
                </a:gridCol>
                <a:gridCol w="486807">
                  <a:extLst>
                    <a:ext uri="{9D8B030D-6E8A-4147-A177-3AD203B41FA5}">
                      <a16:colId xmlns:a16="http://schemas.microsoft.com/office/drawing/2014/main" val="653198056"/>
                    </a:ext>
                  </a:extLst>
                </a:gridCol>
                <a:gridCol w="486807">
                  <a:extLst>
                    <a:ext uri="{9D8B030D-6E8A-4147-A177-3AD203B41FA5}">
                      <a16:colId xmlns:a16="http://schemas.microsoft.com/office/drawing/2014/main" val="2597698693"/>
                    </a:ext>
                  </a:extLst>
                </a:gridCol>
                <a:gridCol w="486807">
                  <a:extLst>
                    <a:ext uri="{9D8B030D-6E8A-4147-A177-3AD203B41FA5}">
                      <a16:colId xmlns:a16="http://schemas.microsoft.com/office/drawing/2014/main" val="3679993237"/>
                    </a:ext>
                  </a:extLst>
                </a:gridCol>
                <a:gridCol w="486807">
                  <a:extLst>
                    <a:ext uri="{9D8B030D-6E8A-4147-A177-3AD203B41FA5}">
                      <a16:colId xmlns:a16="http://schemas.microsoft.com/office/drawing/2014/main" val="3222933510"/>
                    </a:ext>
                  </a:extLst>
                </a:gridCol>
                <a:gridCol w="486807">
                  <a:extLst>
                    <a:ext uri="{9D8B030D-6E8A-4147-A177-3AD203B41FA5}">
                      <a16:colId xmlns:a16="http://schemas.microsoft.com/office/drawing/2014/main" val="2120373476"/>
                    </a:ext>
                  </a:extLst>
                </a:gridCol>
                <a:gridCol w="486807">
                  <a:extLst>
                    <a:ext uri="{9D8B030D-6E8A-4147-A177-3AD203B41FA5}">
                      <a16:colId xmlns:a16="http://schemas.microsoft.com/office/drawing/2014/main" val="2675510286"/>
                    </a:ext>
                  </a:extLst>
                </a:gridCol>
                <a:gridCol w="486807">
                  <a:extLst>
                    <a:ext uri="{9D8B030D-6E8A-4147-A177-3AD203B41FA5}">
                      <a16:colId xmlns:a16="http://schemas.microsoft.com/office/drawing/2014/main" val="3000440053"/>
                    </a:ext>
                  </a:extLst>
                </a:gridCol>
                <a:gridCol w="486807">
                  <a:extLst>
                    <a:ext uri="{9D8B030D-6E8A-4147-A177-3AD203B41FA5}">
                      <a16:colId xmlns:a16="http://schemas.microsoft.com/office/drawing/2014/main" val="3214997608"/>
                    </a:ext>
                  </a:extLst>
                </a:gridCol>
                <a:gridCol w="486807">
                  <a:extLst>
                    <a:ext uri="{9D8B030D-6E8A-4147-A177-3AD203B41FA5}">
                      <a16:colId xmlns:a16="http://schemas.microsoft.com/office/drawing/2014/main" val="4271382557"/>
                    </a:ext>
                  </a:extLst>
                </a:gridCol>
                <a:gridCol w="486807">
                  <a:extLst>
                    <a:ext uri="{9D8B030D-6E8A-4147-A177-3AD203B41FA5}">
                      <a16:colId xmlns:a16="http://schemas.microsoft.com/office/drawing/2014/main" val="826016986"/>
                    </a:ext>
                  </a:extLst>
                </a:gridCol>
                <a:gridCol w="486807">
                  <a:extLst>
                    <a:ext uri="{9D8B030D-6E8A-4147-A177-3AD203B41FA5}">
                      <a16:colId xmlns:a16="http://schemas.microsoft.com/office/drawing/2014/main" val="2337481629"/>
                    </a:ext>
                  </a:extLst>
                </a:gridCol>
              </a:tblGrid>
              <a:tr h="278130">
                <a:tc>
                  <a:txBody>
                    <a:bodyPr/>
                    <a:lstStyle/>
                    <a:p>
                      <a:pPr algn="ctr"/>
                      <a:r>
                        <a:rPr lang="en-US" sz="800" b="0" dirty="0">
                          <a:solidFill>
                            <a:schemeClr val="tx2"/>
                          </a:solidFill>
                          <a:latin typeface="Nexa Bold" panose="00000800000000000000" pitchFamily="2" charset="0"/>
                        </a:rPr>
                        <a:t>Carrefour</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Coop </a:t>
                      </a:r>
                      <a:r>
                        <a:rPr lang="en-US" sz="800" b="0" dirty="0" err="1">
                          <a:solidFill>
                            <a:schemeClr val="tx2"/>
                          </a:solidFill>
                          <a:latin typeface="Nexa Bold" panose="00000800000000000000" pitchFamily="2" charset="0"/>
                        </a:rPr>
                        <a:t>Alleanz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err="1">
                          <a:solidFill>
                            <a:schemeClr val="tx2"/>
                          </a:solidFill>
                          <a:latin typeface="Nexa Bold" panose="00000800000000000000" pitchFamily="2" charset="0"/>
                        </a:rPr>
                        <a:t>Esselung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Gruppo Pam</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3617748632"/>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E8954-1515-D7C7-CADE-697E5B1B6CF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1E7C470-70FD-74A4-7110-38731C308BE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31311B7-7F72-87F6-55E7-1BC91CD3C2E7}"/>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0/2025</a:t>
            </a:fld>
            <a:endParaRPr lang="en-US" noProof="0"/>
          </a:p>
        </p:txBody>
      </p:sp>
      <p:sp>
        <p:nvSpPr>
          <p:cNvPr id="4" name="Footer" hidden="1">
            <a:extLst>
              <a:ext uri="{FF2B5EF4-FFF2-40B4-BE49-F238E27FC236}">
                <a16:creationId xmlns:a16="http://schemas.microsoft.com/office/drawing/2014/main" id="{5457E92C-FE8F-068A-AB01-8E89F7BC925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D3DAB0AB-0BA9-EB58-0EDC-64D2F6D79EC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0</a:t>
            </a:fld>
            <a:endParaRPr lang="en-US" noProof="0"/>
          </a:p>
        </p:txBody>
      </p:sp>
      <p:sp>
        <p:nvSpPr>
          <p:cNvPr id="15" name="Data Source">
            <a:extLst>
              <a:ext uri="{FF2B5EF4-FFF2-40B4-BE49-F238E27FC236}">
                <a16:creationId xmlns:a16="http://schemas.microsoft.com/office/drawing/2014/main" id="{ADE960CF-89BD-5FBC-2BEA-F1C9A35B7B89}"/>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F9773734-2E19-E380-3F9E-EAD09C6E5058}"/>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F980C054-4AD2-36DA-DF8D-72F9EAC5DF19}"/>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FD3FCF59-4D3D-63C9-1DFC-522E85B6F473}"/>
              </a:ext>
            </a:extLst>
          </p:cNvPr>
          <p:cNvGraphicFramePr>
            <a:graphicFrameLocks noGrp="1"/>
          </p:cNvGraphicFramePr>
          <p:nvPr>
            <p:extLst>
              <p:ext uri="{D42A27DB-BD31-4B8C-83A1-F6EECF244321}">
                <p14:modId xmlns:p14="http://schemas.microsoft.com/office/powerpoint/2010/main" val="1035235721"/>
              </p:ext>
            </p:extLst>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fontAlgn="b"/>
                      <a:r>
                        <a:rPr lang="en-US" sz="800" b="0" kern="1200" dirty="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724763">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26" name="C2">
            <a:extLst>
              <a:ext uri="{FF2B5EF4-FFF2-40B4-BE49-F238E27FC236}">
                <a16:creationId xmlns:a16="http://schemas.microsoft.com/office/drawing/2014/main" id="{C9AD43ED-F4F6-AE24-ED0E-A55367C3D320}"/>
              </a:ext>
            </a:extLst>
          </p:cNvPr>
          <p:cNvGraphicFramePr>
            <a:graphicFrameLocks/>
          </p:cNvGraphicFramePr>
          <p:nvPr>
            <p:extLst>
              <p:ext uri="{D42A27DB-BD31-4B8C-83A1-F6EECF244321}">
                <p14:modId xmlns:p14="http://schemas.microsoft.com/office/powerpoint/2010/main" val="3145327643"/>
              </p:ext>
            </p:extLst>
          </p:nvPr>
        </p:nvGraphicFramePr>
        <p:xfrm>
          <a:off x="899999" y="1131887"/>
          <a:ext cx="7740000" cy="172061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2">
            <a:extLst>
              <a:ext uri="{FF2B5EF4-FFF2-40B4-BE49-F238E27FC236}">
                <a16:creationId xmlns:a16="http://schemas.microsoft.com/office/drawing/2014/main" id="{5EA9E6B5-135B-7DC7-61F1-7E527BE5562D}"/>
              </a:ext>
            </a:extLst>
          </p:cNvPr>
          <p:cNvGraphicFramePr>
            <a:graphicFrameLocks/>
          </p:cNvGraphicFramePr>
          <p:nvPr>
            <p:extLst>
              <p:ext uri="{D42A27DB-BD31-4B8C-83A1-F6EECF244321}">
                <p14:modId xmlns:p14="http://schemas.microsoft.com/office/powerpoint/2010/main" val="355700526"/>
              </p:ext>
            </p:extLst>
          </p:nvPr>
        </p:nvGraphicFramePr>
        <p:xfrm>
          <a:off x="907981" y="2853850"/>
          <a:ext cx="7740000" cy="192596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912449518"/>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5CF73-FB89-0B93-0441-FDF373A036EC}"/>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AB13B13-F7D6-AB1A-272B-46EBC1B9E54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41E7C470-70FD-74A4-7110-38731C308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D8EE896-E39A-D9A3-82FC-83118032EF6C}"/>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0/2025</a:t>
            </a:fld>
            <a:endParaRPr lang="en-US" noProof="0"/>
          </a:p>
        </p:txBody>
      </p:sp>
      <p:sp>
        <p:nvSpPr>
          <p:cNvPr id="4" name="Footer" hidden="1">
            <a:extLst>
              <a:ext uri="{FF2B5EF4-FFF2-40B4-BE49-F238E27FC236}">
                <a16:creationId xmlns:a16="http://schemas.microsoft.com/office/drawing/2014/main" id="{AB28F48E-D5E4-D538-CB9A-E9C13BFCEAE0}"/>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BA2CC67-B5B8-0EB8-BBDE-2724EE1E3FF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1</a:t>
            </a:fld>
            <a:endParaRPr lang="en-US" noProof="0"/>
          </a:p>
        </p:txBody>
      </p:sp>
      <p:sp>
        <p:nvSpPr>
          <p:cNvPr id="15" name="Data Source">
            <a:extLst>
              <a:ext uri="{FF2B5EF4-FFF2-40B4-BE49-F238E27FC236}">
                <a16:creationId xmlns:a16="http://schemas.microsoft.com/office/drawing/2014/main" id="{38CC35B7-7F02-B941-A370-376CD60D8FD0}"/>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5C8672B9-8DFE-21DE-D66C-D147E4B826BF}"/>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A8A34122-56EC-F352-D73B-2D45A1E7F2E1}"/>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14B7B400-46BB-5B96-87CC-231336D4FB5E}"/>
              </a:ext>
            </a:extLst>
          </p:cNvPr>
          <p:cNvGraphicFramePr>
            <a:graphicFrameLocks noGrp="1"/>
          </p:cNvGraphicFramePr>
          <p:nvPr>
            <p:extLst>
              <p:ext uri="{D42A27DB-BD31-4B8C-83A1-F6EECF244321}">
                <p14:modId xmlns:p14="http://schemas.microsoft.com/office/powerpoint/2010/main" val="96233226"/>
              </p:ext>
            </p:extLst>
          </p:nvPr>
        </p:nvGraphicFramePr>
        <p:xfrm>
          <a:off x="543331" y="1131888"/>
          <a:ext cx="303523" cy="1724763"/>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0613F4CC-2F1F-C5A5-BDE8-AA9221D44A00}"/>
              </a:ext>
            </a:extLst>
          </p:cNvPr>
          <p:cNvGraphicFramePr>
            <a:graphicFrameLocks/>
          </p:cNvGraphicFramePr>
          <p:nvPr>
            <p:extLst>
              <p:ext uri="{D42A27DB-BD31-4B8C-83A1-F6EECF244321}">
                <p14:modId xmlns:p14="http://schemas.microsoft.com/office/powerpoint/2010/main" val="3918470"/>
              </p:ext>
            </p:extLst>
          </p:nvPr>
        </p:nvGraphicFramePr>
        <p:xfrm>
          <a:off x="940093" y="1104344"/>
          <a:ext cx="7740000" cy="19259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51563206"/>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5CF73-FB89-0B93-0441-FDF373A036EC}"/>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AB13B13-F7D6-AB1A-272B-46EBC1B9E54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41E7C470-70FD-74A4-7110-38731C308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D8EE896-E39A-D9A3-82FC-83118032EF6C}"/>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0/2025</a:t>
            </a:fld>
            <a:endParaRPr lang="en-US" noProof="0"/>
          </a:p>
        </p:txBody>
      </p:sp>
      <p:sp>
        <p:nvSpPr>
          <p:cNvPr id="4" name="Footer" hidden="1">
            <a:extLst>
              <a:ext uri="{FF2B5EF4-FFF2-40B4-BE49-F238E27FC236}">
                <a16:creationId xmlns:a16="http://schemas.microsoft.com/office/drawing/2014/main" id="{AB28F48E-D5E4-D538-CB9A-E9C13BFCEAE0}"/>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BA2CC67-B5B8-0EB8-BBDE-2724EE1E3FF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2</a:t>
            </a:fld>
            <a:endParaRPr lang="en-US" noProof="0"/>
          </a:p>
        </p:txBody>
      </p:sp>
      <p:sp>
        <p:nvSpPr>
          <p:cNvPr id="15" name="Data Source">
            <a:extLst>
              <a:ext uri="{FF2B5EF4-FFF2-40B4-BE49-F238E27FC236}">
                <a16:creationId xmlns:a16="http://schemas.microsoft.com/office/drawing/2014/main" id="{38CC35B7-7F02-B941-A370-376CD60D8FD0}"/>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5C8672B9-8DFE-21DE-D66C-D147E4B826BF}"/>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A8A34122-56EC-F352-D73B-2D45A1E7F2E1}"/>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14B7B400-46BB-5B96-87CC-231336D4FB5E}"/>
              </a:ext>
            </a:extLst>
          </p:cNvPr>
          <p:cNvGraphicFramePr>
            <a:graphicFrameLocks noGrp="1"/>
          </p:cNvGraphicFramePr>
          <p:nvPr>
            <p:extLst>
              <p:ext uri="{D42A27DB-BD31-4B8C-83A1-F6EECF244321}">
                <p14:modId xmlns:p14="http://schemas.microsoft.com/office/powerpoint/2010/main" val="96233226"/>
              </p:ext>
            </p:extLst>
          </p:nvPr>
        </p:nvGraphicFramePr>
        <p:xfrm>
          <a:off x="543331" y="1131888"/>
          <a:ext cx="303523" cy="1724763"/>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7" name="C2">
            <a:extLst>
              <a:ext uri="{FF2B5EF4-FFF2-40B4-BE49-F238E27FC236}">
                <a16:creationId xmlns:a16="http://schemas.microsoft.com/office/drawing/2014/main" id="{0613F4CC-2F1F-C5A5-BDE8-AA9221D44A00}"/>
              </a:ext>
            </a:extLst>
          </p:cNvPr>
          <p:cNvGraphicFramePr>
            <a:graphicFrameLocks/>
          </p:cNvGraphicFramePr>
          <p:nvPr>
            <p:extLst>
              <p:ext uri="{D42A27DB-BD31-4B8C-83A1-F6EECF244321}">
                <p14:modId xmlns:p14="http://schemas.microsoft.com/office/powerpoint/2010/main" val="3918470"/>
              </p:ext>
            </p:extLst>
          </p:nvPr>
        </p:nvGraphicFramePr>
        <p:xfrm>
          <a:off x="940093" y="1104344"/>
          <a:ext cx="7740000" cy="19259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54117020"/>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E8954-1515-D7C7-CADE-697E5B1B6CF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1E7C470-70FD-74A4-7110-38731C308BE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31311B7-7F72-87F6-55E7-1BC91CD3C2E7}"/>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0/2025</a:t>
            </a:fld>
            <a:endParaRPr lang="en-US" noProof="0"/>
          </a:p>
        </p:txBody>
      </p:sp>
      <p:sp>
        <p:nvSpPr>
          <p:cNvPr id="4" name="Footer" hidden="1">
            <a:extLst>
              <a:ext uri="{FF2B5EF4-FFF2-40B4-BE49-F238E27FC236}">
                <a16:creationId xmlns:a16="http://schemas.microsoft.com/office/drawing/2014/main" id="{5457E92C-FE8F-068A-AB01-8E89F7BC925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D3DAB0AB-0BA9-EB58-0EDC-64D2F6D79EC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3</a:t>
            </a:fld>
            <a:endParaRPr lang="en-US" noProof="0"/>
          </a:p>
        </p:txBody>
      </p:sp>
      <p:sp>
        <p:nvSpPr>
          <p:cNvPr id="15" name="Data Source">
            <a:extLst>
              <a:ext uri="{FF2B5EF4-FFF2-40B4-BE49-F238E27FC236}">
                <a16:creationId xmlns:a16="http://schemas.microsoft.com/office/drawing/2014/main" id="{ADE960CF-89BD-5FBC-2BEA-F1C9A35B7B89}"/>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F9773734-2E19-E380-3F9E-EAD09C6E5058}"/>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F980C054-4AD2-36DA-DF8D-72F9EAC5DF19}"/>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FD3FCF59-4D3D-63C9-1DFC-522E85B6F473}"/>
              </a:ext>
            </a:extLst>
          </p:cNvPr>
          <p:cNvGraphicFramePr>
            <a:graphicFrameLocks noGrp="1"/>
          </p:cNvGraphicFramePr>
          <p:nvPr>
            <p:extLst>
              <p:ext uri="{D42A27DB-BD31-4B8C-83A1-F6EECF244321}">
                <p14:modId xmlns:p14="http://schemas.microsoft.com/office/powerpoint/2010/main" val="1035235721"/>
              </p:ext>
            </p:extLst>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fontAlgn="b"/>
                      <a:r>
                        <a:rPr lang="en-US" sz="800" b="0" kern="1200" dirty="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724763">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26" name="C2">
            <a:extLst>
              <a:ext uri="{FF2B5EF4-FFF2-40B4-BE49-F238E27FC236}">
                <a16:creationId xmlns:a16="http://schemas.microsoft.com/office/drawing/2014/main" id="{C9AD43ED-F4F6-AE24-ED0E-A55367C3D320}"/>
              </a:ext>
            </a:extLst>
          </p:cNvPr>
          <p:cNvGraphicFramePr>
            <a:graphicFrameLocks/>
          </p:cNvGraphicFramePr>
          <p:nvPr>
            <p:extLst>
              <p:ext uri="{D42A27DB-BD31-4B8C-83A1-F6EECF244321}">
                <p14:modId xmlns:p14="http://schemas.microsoft.com/office/powerpoint/2010/main" val="3145327643"/>
              </p:ext>
            </p:extLst>
          </p:nvPr>
        </p:nvGraphicFramePr>
        <p:xfrm>
          <a:off x="899999" y="1131887"/>
          <a:ext cx="7740000" cy="172061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2">
            <a:extLst>
              <a:ext uri="{FF2B5EF4-FFF2-40B4-BE49-F238E27FC236}">
                <a16:creationId xmlns:a16="http://schemas.microsoft.com/office/drawing/2014/main" id="{5EA9E6B5-135B-7DC7-61F1-7E527BE5562D}"/>
              </a:ext>
            </a:extLst>
          </p:cNvPr>
          <p:cNvGraphicFramePr>
            <a:graphicFrameLocks/>
          </p:cNvGraphicFramePr>
          <p:nvPr>
            <p:extLst>
              <p:ext uri="{D42A27DB-BD31-4B8C-83A1-F6EECF244321}">
                <p14:modId xmlns:p14="http://schemas.microsoft.com/office/powerpoint/2010/main" val="355700526"/>
              </p:ext>
            </p:extLst>
          </p:nvPr>
        </p:nvGraphicFramePr>
        <p:xfrm>
          <a:off x="907981" y="2853850"/>
          <a:ext cx="7740000" cy="192596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626187616"/>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E8954-1515-D7C7-CADE-697E5B1B6CF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1E7C470-70FD-74A4-7110-38731C308BE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A31CD73C-E590-EB05-5ED8-56326A9D19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A31311B7-7F72-87F6-55E7-1BC91CD3C2E7}"/>
              </a:ext>
            </a:extLst>
          </p:cNvPr>
          <p:cNvSpPr>
            <a:spLocks noGrp="1"/>
          </p:cNvSpPr>
          <p:nvPr>
            <p:ph type="dt" sz="half" idx="14"/>
          </p:nvPr>
        </p:nvSpPr>
        <p:spPr>
          <a:xfrm>
            <a:off x="8082390" y="4972050"/>
            <a:ext cx="557609" cy="171450"/>
          </a:xfrm>
        </p:spPr>
        <p:txBody>
          <a:bodyPr/>
          <a:lstStyle/>
          <a:p>
            <a:pPr lvl="0"/>
            <a:fld id="{E2914C24-0C17-4941-9B50-E6DD9154D9EF}" type="datetime1">
              <a:rPr lang="en-US" noProof="0" smtClean="0"/>
              <a:pPr lvl="0"/>
              <a:t>8/10/2025</a:t>
            </a:fld>
            <a:endParaRPr lang="en-US" noProof="0"/>
          </a:p>
        </p:txBody>
      </p:sp>
      <p:sp>
        <p:nvSpPr>
          <p:cNvPr id="4" name="Footer" hidden="1">
            <a:extLst>
              <a:ext uri="{FF2B5EF4-FFF2-40B4-BE49-F238E27FC236}">
                <a16:creationId xmlns:a16="http://schemas.microsoft.com/office/drawing/2014/main" id="{5457E92C-FE8F-068A-AB01-8E89F7BC9259}"/>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D3DAB0AB-0BA9-EB58-0EDC-64D2F6D79EC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4</a:t>
            </a:fld>
            <a:endParaRPr lang="en-US" noProof="0"/>
          </a:p>
        </p:txBody>
      </p:sp>
      <p:sp>
        <p:nvSpPr>
          <p:cNvPr id="15" name="Data Source">
            <a:extLst>
              <a:ext uri="{FF2B5EF4-FFF2-40B4-BE49-F238E27FC236}">
                <a16:creationId xmlns:a16="http://schemas.microsoft.com/office/drawing/2014/main" id="{ADE960CF-89BD-5FBC-2BEA-F1C9A35B7B89}"/>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12" name="Heading">
            <a:extLst>
              <a:ext uri="{FF2B5EF4-FFF2-40B4-BE49-F238E27FC236}">
                <a16:creationId xmlns:a16="http://schemas.microsoft.com/office/drawing/2014/main" id="{F9773734-2E19-E380-3F9E-EAD09C6E5058}"/>
              </a:ext>
            </a:extLst>
          </p:cNvPr>
          <p:cNvSpPr>
            <a:spLocks noGrp="1"/>
          </p:cNvSpPr>
          <p:nvPr>
            <p:ph type="body" sz="quarter" idx="18"/>
          </p:nvPr>
        </p:nvSpPr>
        <p:spPr>
          <a:xfrm>
            <a:off x="503238" y="774000"/>
            <a:ext cx="8136762" cy="360000"/>
          </a:xfrm>
        </p:spPr>
        <p:txBody>
          <a:bodyPr/>
          <a:lstStyle/>
          <a:p>
            <a:r>
              <a:rPr lang="en-US"/>
              <a:t>Seasonality Index | By Sector | National | P3Y</a:t>
            </a:r>
          </a:p>
        </p:txBody>
      </p:sp>
      <p:sp>
        <p:nvSpPr>
          <p:cNvPr id="10" name="Title">
            <a:extLst>
              <a:ext uri="{FF2B5EF4-FFF2-40B4-BE49-F238E27FC236}">
                <a16:creationId xmlns:a16="http://schemas.microsoft.com/office/drawing/2014/main" id="{F980C054-4AD2-36DA-DF8D-72F9EAC5DF19}"/>
              </a:ext>
            </a:extLst>
          </p:cNvPr>
          <p:cNvSpPr>
            <a:spLocks noGrp="1"/>
          </p:cNvSpPr>
          <p:nvPr>
            <p:ph type="title"/>
          </p:nvPr>
        </p:nvSpPr>
        <p:spPr>
          <a:xfrm>
            <a:off x="504000" y="-1"/>
            <a:ext cx="8136000" cy="771525"/>
          </a:xfrm>
        </p:spPr>
        <p:txBody>
          <a:bodyPr vert="horz"/>
          <a:lstStyle/>
          <a:p>
            <a:r>
              <a:rPr lang="en-US" dirty="0">
                <a:highlight>
                  <a:srgbClr val="FFFF00"/>
                </a:highlight>
              </a:rPr>
              <a:t>Seasonality Inde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6" name="T1">
            <a:extLst>
              <a:ext uri="{FF2B5EF4-FFF2-40B4-BE49-F238E27FC236}">
                <a16:creationId xmlns:a16="http://schemas.microsoft.com/office/drawing/2014/main" id="{FD3FCF59-4D3D-63C9-1DFC-522E85B6F473}"/>
              </a:ext>
            </a:extLst>
          </p:cNvPr>
          <p:cNvGraphicFramePr>
            <a:graphicFrameLocks noGrp="1"/>
          </p:cNvGraphicFramePr>
          <p:nvPr>
            <p:extLst>
              <p:ext uri="{D42A27DB-BD31-4B8C-83A1-F6EECF244321}">
                <p14:modId xmlns:p14="http://schemas.microsoft.com/office/powerpoint/2010/main" val="1035235721"/>
              </p:ext>
            </p:extLst>
          </p:nvPr>
        </p:nvGraphicFramePr>
        <p:xfrm>
          <a:off x="543331" y="1131888"/>
          <a:ext cx="303523" cy="3449526"/>
        </p:xfrm>
        <a:graphic>
          <a:graphicData uri="http://schemas.openxmlformats.org/drawingml/2006/table">
            <a:tbl>
              <a:tblPr>
                <a:tableStyleId>{5C22544A-7EE6-4342-B048-85BDC9FD1C3A}</a:tableStyleId>
              </a:tblPr>
              <a:tblGrid>
                <a:gridCol w="303523">
                  <a:extLst>
                    <a:ext uri="{9D8B030D-6E8A-4147-A177-3AD203B41FA5}">
                      <a16:colId xmlns:a16="http://schemas.microsoft.com/office/drawing/2014/main" val="901811580"/>
                    </a:ext>
                  </a:extLst>
                </a:gridCol>
              </a:tblGrid>
              <a:tr h="1724763">
                <a:tc>
                  <a:txBody>
                    <a:bodyPr/>
                    <a:lstStyle/>
                    <a:p>
                      <a:pPr algn="ctr" fontAlgn="b"/>
                      <a:r>
                        <a:rPr lang="en-US" sz="800" b="0" kern="1200" dirty="0">
                          <a:solidFill>
                            <a:srgbClr val="575555"/>
                          </a:solidFill>
                          <a:latin typeface="Nexa Bold"/>
                          <a:ea typeface="+mn-ea"/>
                          <a:cs typeface="+mn-cs"/>
                        </a:rPr>
                        <a:t>Small PET</a:t>
                      </a:r>
                    </a:p>
                  </a:txBody>
                  <a:tcPr marL="4763" marR="4763" marT="4763" marB="0" vert="vert270" anchor="ctr">
                    <a:solidFill>
                      <a:schemeClr val="bg1">
                        <a:lumMod val="95000"/>
                      </a:schemeClr>
                    </a:solidFill>
                  </a:tcPr>
                </a:tc>
                <a:extLst>
                  <a:ext uri="{0D108BD9-81ED-4DB2-BD59-A6C34878D82A}">
                    <a16:rowId xmlns:a16="http://schemas.microsoft.com/office/drawing/2014/main" val="2824268041"/>
                  </a:ext>
                </a:extLst>
              </a:tr>
              <a:tr h="1724763">
                <a:tc>
                  <a:txBody>
                    <a:bodyPr/>
                    <a:lstStyle/>
                    <a:p>
                      <a:pPr algn="ctr" fontAlgn="b"/>
                      <a:r>
                        <a:rPr lang="en-US" sz="800" b="0" kern="1200" dirty="0">
                          <a:solidFill>
                            <a:srgbClr val="575555"/>
                          </a:solidFill>
                          <a:latin typeface="Nexa Bold"/>
                          <a:ea typeface="+mn-ea"/>
                          <a:cs typeface="+mn-cs"/>
                        </a:rPr>
                        <a:t>RGB</a:t>
                      </a:r>
                    </a:p>
                  </a:txBody>
                  <a:tcPr marL="4763" marR="4763" marT="4763" marB="0" vert="vert270" anchor="ctr">
                    <a:solidFill>
                      <a:schemeClr val="bg1">
                        <a:lumMod val="95000"/>
                      </a:schemeClr>
                    </a:solidFill>
                  </a:tcPr>
                </a:tc>
                <a:extLst>
                  <a:ext uri="{0D108BD9-81ED-4DB2-BD59-A6C34878D82A}">
                    <a16:rowId xmlns:a16="http://schemas.microsoft.com/office/drawing/2014/main" val="108894925"/>
                  </a:ext>
                </a:extLst>
              </a:tr>
            </a:tbl>
          </a:graphicData>
        </a:graphic>
      </p:graphicFrame>
      <p:graphicFrame>
        <p:nvGraphicFramePr>
          <p:cNvPr id="26" name="C2">
            <a:extLst>
              <a:ext uri="{FF2B5EF4-FFF2-40B4-BE49-F238E27FC236}">
                <a16:creationId xmlns:a16="http://schemas.microsoft.com/office/drawing/2014/main" id="{C9AD43ED-F4F6-AE24-ED0E-A55367C3D320}"/>
              </a:ext>
            </a:extLst>
          </p:cNvPr>
          <p:cNvGraphicFramePr>
            <a:graphicFrameLocks/>
          </p:cNvGraphicFramePr>
          <p:nvPr>
            <p:extLst>
              <p:ext uri="{D42A27DB-BD31-4B8C-83A1-F6EECF244321}">
                <p14:modId xmlns:p14="http://schemas.microsoft.com/office/powerpoint/2010/main" val="3145327643"/>
              </p:ext>
            </p:extLst>
          </p:nvPr>
        </p:nvGraphicFramePr>
        <p:xfrm>
          <a:off x="899999" y="1131887"/>
          <a:ext cx="7740000" cy="172061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2">
            <a:extLst>
              <a:ext uri="{FF2B5EF4-FFF2-40B4-BE49-F238E27FC236}">
                <a16:creationId xmlns:a16="http://schemas.microsoft.com/office/drawing/2014/main" id="{5EA9E6B5-135B-7DC7-61F1-7E527BE5562D}"/>
              </a:ext>
            </a:extLst>
          </p:cNvPr>
          <p:cNvGraphicFramePr>
            <a:graphicFrameLocks/>
          </p:cNvGraphicFramePr>
          <p:nvPr>
            <p:extLst>
              <p:ext uri="{D42A27DB-BD31-4B8C-83A1-F6EECF244321}">
                <p14:modId xmlns:p14="http://schemas.microsoft.com/office/powerpoint/2010/main" val="355700526"/>
              </p:ext>
            </p:extLst>
          </p:nvPr>
        </p:nvGraphicFramePr>
        <p:xfrm>
          <a:off x="907981" y="2853850"/>
          <a:ext cx="7740000" cy="192596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52165241"/>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6B1BB7-0332-B88C-6619-0986C527E75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183FC888-5F26-8EB6-D0E3-95394288A47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AA8D690-7502-DA41-FEC8-0B8878AD7C4D}"/>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0/2025</a:t>
            </a:fld>
            <a:endParaRPr lang="en-US" noProof="0"/>
          </a:p>
        </p:txBody>
      </p:sp>
      <p:sp>
        <p:nvSpPr>
          <p:cNvPr id="2" name="Footer Placeholder 1">
            <a:extLst>
              <a:ext uri="{FF2B5EF4-FFF2-40B4-BE49-F238E27FC236}">
                <a16:creationId xmlns:a16="http://schemas.microsoft.com/office/drawing/2014/main" id="{66107D41-CF1E-DEF7-E36E-2F9BBF21962E}"/>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CFCE79D-D48C-971A-FEDA-189A66F55B5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5</a:t>
            </a:fld>
            <a:endParaRPr lang="en-US" noProof="0"/>
          </a:p>
        </p:txBody>
      </p:sp>
      <p:sp>
        <p:nvSpPr>
          <p:cNvPr id="4" name="Text Placeholder 3">
            <a:extLst>
              <a:ext uri="{FF2B5EF4-FFF2-40B4-BE49-F238E27FC236}">
                <a16:creationId xmlns:a16="http://schemas.microsoft.com/office/drawing/2014/main" id="{DEEAB759-D984-C34D-E421-C858B285971B}"/>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6206781B-F7E9-C270-6371-CAA70F71363A}"/>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04A4CE9A-975A-EB66-B458-C49A28474E63}"/>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36DCD526-CC4E-88E3-27A8-6CC5E3D60C91}"/>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A94F9C3B-C5BF-23EA-4A7F-4DF025209883}"/>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47BC1835-4097-DEF2-FFEF-AECDAE757A21}"/>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FD7CD205-0326-1EA9-C370-F8E9863E18A0}"/>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15" name="Table 14">
            <a:extLst>
              <a:ext uri="{FF2B5EF4-FFF2-40B4-BE49-F238E27FC236}">
                <a16:creationId xmlns:a16="http://schemas.microsoft.com/office/drawing/2014/main" id="{6064F70F-20AA-3AA4-E150-7E77F8111238}"/>
              </a:ext>
            </a:extLst>
          </p:cNvPr>
          <p:cNvGraphicFramePr>
            <a:graphicFrameLocks noGrp="1"/>
          </p:cNvGraphicFramePr>
          <p:nvPr/>
        </p:nvGraphicFramePr>
        <p:xfrm>
          <a:off x="546968" y="1364051"/>
          <a:ext cx="801009" cy="2872668"/>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a:highlight>
                            <a:srgbClr val="FFFF00"/>
                          </a:highlight>
                          <a:latin typeface="Nexa Bold" panose="00000800000000000000" pitchFamily="2" charset="0"/>
                        </a:rPr>
                        <a:t>Kaufland</a:t>
                      </a:r>
                      <a:endParaRPr lang="en-CH"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r h="957556">
                <a:tc>
                  <a:txBody>
                    <a:bodyPr/>
                    <a:lstStyle/>
                    <a:p>
                      <a:r>
                        <a:rPr lang="en-US" sz="900" err="1">
                          <a:highlight>
                            <a:srgbClr val="FFFF00"/>
                          </a:highlight>
                          <a:latin typeface="Nexa Bold" panose="00000800000000000000" pitchFamily="2" charset="0"/>
                        </a:rPr>
                        <a:t>Profi</a:t>
                      </a:r>
                      <a:endParaRPr lang="en-US"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7" name="Chart 16">
            <a:extLst>
              <a:ext uri="{FF2B5EF4-FFF2-40B4-BE49-F238E27FC236}">
                <a16:creationId xmlns:a16="http://schemas.microsoft.com/office/drawing/2014/main" id="{DC110851-97B6-D171-DE71-0D1E5AF9BDB5}"/>
              </a:ext>
            </a:extLst>
          </p:cNvPr>
          <p:cNvGraphicFramePr/>
          <p:nvPr>
            <p:extLst>
              <p:ext uri="{D42A27DB-BD31-4B8C-83A1-F6EECF244321}">
                <p14:modId xmlns:p14="http://schemas.microsoft.com/office/powerpoint/2010/main" val="2645161283"/>
              </p:ext>
            </p:extLst>
          </p:nvPr>
        </p:nvGraphicFramePr>
        <p:xfrm>
          <a:off x="1347977" y="1366269"/>
          <a:ext cx="7300565"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Chart 17">
            <a:extLst>
              <a:ext uri="{FF2B5EF4-FFF2-40B4-BE49-F238E27FC236}">
                <a16:creationId xmlns:a16="http://schemas.microsoft.com/office/drawing/2014/main" id="{4660185D-F73E-33A3-1659-B3CB7E065790}"/>
              </a:ext>
            </a:extLst>
          </p:cNvPr>
          <p:cNvGraphicFramePr/>
          <p:nvPr/>
        </p:nvGraphicFramePr>
        <p:xfrm>
          <a:off x="1347977" y="2315962"/>
          <a:ext cx="7292024" cy="96206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Chart 18">
            <a:extLst>
              <a:ext uri="{FF2B5EF4-FFF2-40B4-BE49-F238E27FC236}">
                <a16:creationId xmlns:a16="http://schemas.microsoft.com/office/drawing/2014/main" id="{5560D566-CFA0-CB82-9821-A877BE9412B1}"/>
              </a:ext>
            </a:extLst>
          </p:cNvPr>
          <p:cNvGraphicFramePr/>
          <p:nvPr>
            <p:extLst>
              <p:ext uri="{D42A27DB-BD31-4B8C-83A1-F6EECF244321}">
                <p14:modId xmlns:p14="http://schemas.microsoft.com/office/powerpoint/2010/main" val="3625103377"/>
              </p:ext>
            </p:extLst>
          </p:nvPr>
        </p:nvGraphicFramePr>
        <p:xfrm>
          <a:off x="1347976" y="3278024"/>
          <a:ext cx="7300566" cy="151038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4211643981"/>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6B1BB7-0332-B88C-6619-0986C527E75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183FC888-5F26-8EB6-D0E3-95394288A47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AA8D690-7502-DA41-FEC8-0B8878AD7C4D}"/>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0/2025</a:t>
            </a:fld>
            <a:endParaRPr lang="en-US" noProof="0"/>
          </a:p>
        </p:txBody>
      </p:sp>
      <p:sp>
        <p:nvSpPr>
          <p:cNvPr id="2" name="Footer Placeholder 1">
            <a:extLst>
              <a:ext uri="{FF2B5EF4-FFF2-40B4-BE49-F238E27FC236}">
                <a16:creationId xmlns:a16="http://schemas.microsoft.com/office/drawing/2014/main" id="{66107D41-CF1E-DEF7-E36E-2F9BBF21962E}"/>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CFCE79D-D48C-971A-FEDA-189A66F55B5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6</a:t>
            </a:fld>
            <a:endParaRPr lang="en-US" noProof="0"/>
          </a:p>
        </p:txBody>
      </p:sp>
      <p:sp>
        <p:nvSpPr>
          <p:cNvPr id="4" name="Text Placeholder 3">
            <a:extLst>
              <a:ext uri="{FF2B5EF4-FFF2-40B4-BE49-F238E27FC236}">
                <a16:creationId xmlns:a16="http://schemas.microsoft.com/office/drawing/2014/main" id="{DEEAB759-D984-C34D-E421-C858B285971B}"/>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6206781B-F7E9-C270-6371-CAA70F71363A}"/>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04A4CE9A-975A-EB66-B458-C49A28474E63}"/>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36DCD526-CC4E-88E3-27A8-6CC5E3D60C91}"/>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A94F9C3B-C5BF-23EA-4A7F-4DF025209883}"/>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47BC1835-4097-DEF2-FFEF-AECDAE757A21}"/>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FD7CD205-0326-1EA9-C370-F8E9863E18A0}"/>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15" name="Table 14">
            <a:extLst>
              <a:ext uri="{FF2B5EF4-FFF2-40B4-BE49-F238E27FC236}">
                <a16:creationId xmlns:a16="http://schemas.microsoft.com/office/drawing/2014/main" id="{6064F70F-20AA-3AA4-E150-7E77F8111238}"/>
              </a:ext>
            </a:extLst>
          </p:cNvPr>
          <p:cNvGraphicFramePr>
            <a:graphicFrameLocks noGrp="1"/>
          </p:cNvGraphicFramePr>
          <p:nvPr/>
        </p:nvGraphicFramePr>
        <p:xfrm>
          <a:off x="546968" y="1364051"/>
          <a:ext cx="801009" cy="2872668"/>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a:highlight>
                            <a:srgbClr val="FFFF00"/>
                          </a:highlight>
                          <a:latin typeface="Nexa Bold" panose="00000800000000000000" pitchFamily="2" charset="0"/>
                        </a:rPr>
                        <a:t>Kaufland</a:t>
                      </a:r>
                      <a:endParaRPr lang="en-CH"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r h="957556">
                <a:tc>
                  <a:txBody>
                    <a:bodyPr/>
                    <a:lstStyle/>
                    <a:p>
                      <a:r>
                        <a:rPr lang="en-US" sz="900" err="1">
                          <a:highlight>
                            <a:srgbClr val="FFFF00"/>
                          </a:highlight>
                          <a:latin typeface="Nexa Bold" panose="00000800000000000000" pitchFamily="2" charset="0"/>
                        </a:rPr>
                        <a:t>Profi</a:t>
                      </a:r>
                      <a:endParaRPr lang="en-US"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7" name="Chart 16">
            <a:extLst>
              <a:ext uri="{FF2B5EF4-FFF2-40B4-BE49-F238E27FC236}">
                <a16:creationId xmlns:a16="http://schemas.microsoft.com/office/drawing/2014/main" id="{DC110851-97B6-D171-DE71-0D1E5AF9BDB5}"/>
              </a:ext>
            </a:extLst>
          </p:cNvPr>
          <p:cNvGraphicFramePr/>
          <p:nvPr>
            <p:extLst>
              <p:ext uri="{D42A27DB-BD31-4B8C-83A1-F6EECF244321}">
                <p14:modId xmlns:p14="http://schemas.microsoft.com/office/powerpoint/2010/main" val="2645161283"/>
              </p:ext>
            </p:extLst>
          </p:nvPr>
        </p:nvGraphicFramePr>
        <p:xfrm>
          <a:off x="1347977" y="1366269"/>
          <a:ext cx="7300565"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Chart 17">
            <a:extLst>
              <a:ext uri="{FF2B5EF4-FFF2-40B4-BE49-F238E27FC236}">
                <a16:creationId xmlns:a16="http://schemas.microsoft.com/office/drawing/2014/main" id="{4660185D-F73E-33A3-1659-B3CB7E065790}"/>
              </a:ext>
            </a:extLst>
          </p:cNvPr>
          <p:cNvGraphicFramePr/>
          <p:nvPr/>
        </p:nvGraphicFramePr>
        <p:xfrm>
          <a:off x="1347977" y="2315962"/>
          <a:ext cx="7292024" cy="96206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Chart 18">
            <a:extLst>
              <a:ext uri="{FF2B5EF4-FFF2-40B4-BE49-F238E27FC236}">
                <a16:creationId xmlns:a16="http://schemas.microsoft.com/office/drawing/2014/main" id="{5560D566-CFA0-CB82-9821-A877BE9412B1}"/>
              </a:ext>
            </a:extLst>
          </p:cNvPr>
          <p:cNvGraphicFramePr/>
          <p:nvPr>
            <p:extLst>
              <p:ext uri="{D42A27DB-BD31-4B8C-83A1-F6EECF244321}">
                <p14:modId xmlns:p14="http://schemas.microsoft.com/office/powerpoint/2010/main" val="3625103377"/>
              </p:ext>
            </p:extLst>
          </p:nvPr>
        </p:nvGraphicFramePr>
        <p:xfrm>
          <a:off x="1347976" y="3278024"/>
          <a:ext cx="7300566" cy="151038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541886038"/>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err="1">
                          <a:highlight>
                            <a:srgbClr val="FFFF00"/>
                          </a:highlight>
                          <a:latin typeface="Nexa Bold" panose="00000800000000000000" pitchFamily="2" charset="0"/>
                        </a:rPr>
                        <a:t>Profi</a:t>
                      </a:r>
                      <a:endParaRPr lang="en-US"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57512814"/>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6B1BB7-0332-B88C-6619-0986C527E75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183FC888-5F26-8EB6-D0E3-95394288A47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AA8D690-7502-DA41-FEC8-0B8878AD7C4D}"/>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0/2025</a:t>
            </a:fld>
            <a:endParaRPr lang="en-US" noProof="0"/>
          </a:p>
        </p:txBody>
      </p:sp>
      <p:sp>
        <p:nvSpPr>
          <p:cNvPr id="2" name="Footer Placeholder 1">
            <a:extLst>
              <a:ext uri="{FF2B5EF4-FFF2-40B4-BE49-F238E27FC236}">
                <a16:creationId xmlns:a16="http://schemas.microsoft.com/office/drawing/2014/main" id="{66107D41-CF1E-DEF7-E36E-2F9BBF21962E}"/>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CFCE79D-D48C-971A-FEDA-189A66F55B5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8</a:t>
            </a:fld>
            <a:endParaRPr lang="en-US" noProof="0"/>
          </a:p>
        </p:txBody>
      </p:sp>
      <p:sp>
        <p:nvSpPr>
          <p:cNvPr id="4" name="Text Placeholder 3">
            <a:extLst>
              <a:ext uri="{FF2B5EF4-FFF2-40B4-BE49-F238E27FC236}">
                <a16:creationId xmlns:a16="http://schemas.microsoft.com/office/drawing/2014/main" id="{DEEAB759-D984-C34D-E421-C858B285971B}"/>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6206781B-F7E9-C270-6371-CAA70F71363A}"/>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04A4CE9A-975A-EB66-B458-C49A28474E63}"/>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36DCD526-CC4E-88E3-27A8-6CC5E3D60C91}"/>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A94F9C3B-C5BF-23EA-4A7F-4DF025209883}"/>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47BC1835-4097-DEF2-FFEF-AECDAE757A21}"/>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FD7CD205-0326-1EA9-C370-F8E9863E18A0}"/>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15" name="Table 14">
            <a:extLst>
              <a:ext uri="{FF2B5EF4-FFF2-40B4-BE49-F238E27FC236}">
                <a16:creationId xmlns:a16="http://schemas.microsoft.com/office/drawing/2014/main" id="{6064F70F-20AA-3AA4-E150-7E77F8111238}"/>
              </a:ext>
            </a:extLst>
          </p:cNvPr>
          <p:cNvGraphicFramePr>
            <a:graphicFrameLocks noGrp="1"/>
          </p:cNvGraphicFramePr>
          <p:nvPr/>
        </p:nvGraphicFramePr>
        <p:xfrm>
          <a:off x="546968" y="1364051"/>
          <a:ext cx="801009" cy="2872668"/>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a:highlight>
                            <a:srgbClr val="FFFF00"/>
                          </a:highlight>
                          <a:latin typeface="Nexa Bold" panose="00000800000000000000" pitchFamily="2" charset="0"/>
                        </a:rPr>
                        <a:t>Kaufland</a:t>
                      </a:r>
                      <a:endParaRPr lang="en-CH"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r h="957556">
                <a:tc>
                  <a:txBody>
                    <a:bodyPr/>
                    <a:lstStyle/>
                    <a:p>
                      <a:r>
                        <a:rPr lang="en-US" sz="900" err="1">
                          <a:highlight>
                            <a:srgbClr val="FFFF00"/>
                          </a:highlight>
                          <a:latin typeface="Nexa Bold" panose="00000800000000000000" pitchFamily="2" charset="0"/>
                        </a:rPr>
                        <a:t>Profi</a:t>
                      </a:r>
                      <a:endParaRPr lang="en-US"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7" name="Chart 16">
            <a:extLst>
              <a:ext uri="{FF2B5EF4-FFF2-40B4-BE49-F238E27FC236}">
                <a16:creationId xmlns:a16="http://schemas.microsoft.com/office/drawing/2014/main" id="{DC110851-97B6-D171-DE71-0D1E5AF9BDB5}"/>
              </a:ext>
            </a:extLst>
          </p:cNvPr>
          <p:cNvGraphicFramePr/>
          <p:nvPr>
            <p:extLst>
              <p:ext uri="{D42A27DB-BD31-4B8C-83A1-F6EECF244321}">
                <p14:modId xmlns:p14="http://schemas.microsoft.com/office/powerpoint/2010/main" val="2645161283"/>
              </p:ext>
            </p:extLst>
          </p:nvPr>
        </p:nvGraphicFramePr>
        <p:xfrm>
          <a:off x="1347977" y="1366269"/>
          <a:ext cx="7300565"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Chart 17">
            <a:extLst>
              <a:ext uri="{FF2B5EF4-FFF2-40B4-BE49-F238E27FC236}">
                <a16:creationId xmlns:a16="http://schemas.microsoft.com/office/drawing/2014/main" id="{4660185D-F73E-33A3-1659-B3CB7E065790}"/>
              </a:ext>
            </a:extLst>
          </p:cNvPr>
          <p:cNvGraphicFramePr/>
          <p:nvPr/>
        </p:nvGraphicFramePr>
        <p:xfrm>
          <a:off x="1347977" y="2315962"/>
          <a:ext cx="7292024" cy="96206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Chart 18">
            <a:extLst>
              <a:ext uri="{FF2B5EF4-FFF2-40B4-BE49-F238E27FC236}">
                <a16:creationId xmlns:a16="http://schemas.microsoft.com/office/drawing/2014/main" id="{5560D566-CFA0-CB82-9821-A877BE9412B1}"/>
              </a:ext>
            </a:extLst>
          </p:cNvPr>
          <p:cNvGraphicFramePr/>
          <p:nvPr>
            <p:extLst>
              <p:ext uri="{D42A27DB-BD31-4B8C-83A1-F6EECF244321}">
                <p14:modId xmlns:p14="http://schemas.microsoft.com/office/powerpoint/2010/main" val="3625103377"/>
              </p:ext>
            </p:extLst>
          </p:nvPr>
        </p:nvGraphicFramePr>
        <p:xfrm>
          <a:off x="1347976" y="3278024"/>
          <a:ext cx="7300566" cy="151038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595529667"/>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err="1">
                          <a:highlight>
                            <a:srgbClr val="FFFF00"/>
                          </a:highlight>
                          <a:latin typeface="Nexa Bold" panose="00000800000000000000" pitchFamily="2" charset="0"/>
                        </a:rPr>
                        <a:t>Profi</a:t>
                      </a:r>
                      <a:endParaRPr lang="en-US"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932319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87921420"/>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rPr lang="en-GB"/>
              <a:t>Data Source | Trade Panel | ending Apr 22</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r>
              <a:rPr lang="en-US"/>
              <a:t>Value Uplift by brand | Category/Sector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486807">
                  <a:extLst>
                    <a:ext uri="{9D8B030D-6E8A-4147-A177-3AD203B41FA5}">
                      <a16:colId xmlns:a16="http://schemas.microsoft.com/office/drawing/2014/main" val="3095964032"/>
                    </a:ext>
                  </a:extLst>
                </a:gridCol>
                <a:gridCol w="486807">
                  <a:extLst>
                    <a:ext uri="{9D8B030D-6E8A-4147-A177-3AD203B41FA5}">
                      <a16:colId xmlns:a16="http://schemas.microsoft.com/office/drawing/2014/main" val="1492968221"/>
                    </a:ext>
                  </a:extLst>
                </a:gridCol>
                <a:gridCol w="486807">
                  <a:extLst>
                    <a:ext uri="{9D8B030D-6E8A-4147-A177-3AD203B41FA5}">
                      <a16:colId xmlns:a16="http://schemas.microsoft.com/office/drawing/2014/main" val="1388089212"/>
                    </a:ext>
                  </a:extLst>
                </a:gridCol>
                <a:gridCol w="486807">
                  <a:extLst>
                    <a:ext uri="{9D8B030D-6E8A-4147-A177-3AD203B41FA5}">
                      <a16:colId xmlns:a16="http://schemas.microsoft.com/office/drawing/2014/main" val="653198056"/>
                    </a:ext>
                  </a:extLst>
                </a:gridCol>
                <a:gridCol w="486807">
                  <a:extLst>
                    <a:ext uri="{9D8B030D-6E8A-4147-A177-3AD203B41FA5}">
                      <a16:colId xmlns:a16="http://schemas.microsoft.com/office/drawing/2014/main" val="2597698693"/>
                    </a:ext>
                  </a:extLst>
                </a:gridCol>
                <a:gridCol w="486807">
                  <a:extLst>
                    <a:ext uri="{9D8B030D-6E8A-4147-A177-3AD203B41FA5}">
                      <a16:colId xmlns:a16="http://schemas.microsoft.com/office/drawing/2014/main" val="3679993237"/>
                    </a:ext>
                  </a:extLst>
                </a:gridCol>
                <a:gridCol w="486807">
                  <a:extLst>
                    <a:ext uri="{9D8B030D-6E8A-4147-A177-3AD203B41FA5}">
                      <a16:colId xmlns:a16="http://schemas.microsoft.com/office/drawing/2014/main" val="3222933510"/>
                    </a:ext>
                  </a:extLst>
                </a:gridCol>
                <a:gridCol w="486807">
                  <a:extLst>
                    <a:ext uri="{9D8B030D-6E8A-4147-A177-3AD203B41FA5}">
                      <a16:colId xmlns:a16="http://schemas.microsoft.com/office/drawing/2014/main" val="2120373476"/>
                    </a:ext>
                  </a:extLst>
                </a:gridCol>
                <a:gridCol w="486807">
                  <a:extLst>
                    <a:ext uri="{9D8B030D-6E8A-4147-A177-3AD203B41FA5}">
                      <a16:colId xmlns:a16="http://schemas.microsoft.com/office/drawing/2014/main" val="2675510286"/>
                    </a:ext>
                  </a:extLst>
                </a:gridCol>
                <a:gridCol w="486807">
                  <a:extLst>
                    <a:ext uri="{9D8B030D-6E8A-4147-A177-3AD203B41FA5}">
                      <a16:colId xmlns:a16="http://schemas.microsoft.com/office/drawing/2014/main" val="3000440053"/>
                    </a:ext>
                  </a:extLst>
                </a:gridCol>
                <a:gridCol w="486807">
                  <a:extLst>
                    <a:ext uri="{9D8B030D-6E8A-4147-A177-3AD203B41FA5}">
                      <a16:colId xmlns:a16="http://schemas.microsoft.com/office/drawing/2014/main" val="3214997608"/>
                    </a:ext>
                  </a:extLst>
                </a:gridCol>
                <a:gridCol w="486807">
                  <a:extLst>
                    <a:ext uri="{9D8B030D-6E8A-4147-A177-3AD203B41FA5}">
                      <a16:colId xmlns:a16="http://schemas.microsoft.com/office/drawing/2014/main" val="4271382557"/>
                    </a:ext>
                  </a:extLst>
                </a:gridCol>
                <a:gridCol w="486807">
                  <a:extLst>
                    <a:ext uri="{9D8B030D-6E8A-4147-A177-3AD203B41FA5}">
                      <a16:colId xmlns:a16="http://schemas.microsoft.com/office/drawing/2014/main" val="826016986"/>
                    </a:ext>
                  </a:extLst>
                </a:gridCol>
                <a:gridCol w="486807">
                  <a:extLst>
                    <a:ext uri="{9D8B030D-6E8A-4147-A177-3AD203B41FA5}">
                      <a16:colId xmlns:a16="http://schemas.microsoft.com/office/drawing/2014/main" val="2337481629"/>
                    </a:ext>
                  </a:extLst>
                </a:gridCol>
              </a:tblGrid>
              <a:tr h="278130">
                <a:tc>
                  <a:txBody>
                    <a:bodyPr/>
                    <a:lstStyle/>
                    <a:p>
                      <a:pPr algn="ctr"/>
                      <a:r>
                        <a:rPr lang="en-US" sz="800" b="0" dirty="0">
                          <a:solidFill>
                            <a:schemeClr val="tx2"/>
                          </a:solidFill>
                          <a:latin typeface="Nexa Bold" panose="00000800000000000000" pitchFamily="2" charset="0"/>
                        </a:rPr>
                        <a:t>Carrefour</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Coop </a:t>
                      </a:r>
                      <a:r>
                        <a:rPr lang="en-US" sz="800" b="0" dirty="0" err="1">
                          <a:solidFill>
                            <a:schemeClr val="tx2"/>
                          </a:solidFill>
                          <a:latin typeface="Nexa Bold" panose="00000800000000000000" pitchFamily="2" charset="0"/>
                        </a:rPr>
                        <a:t>Alleanz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err="1">
                          <a:solidFill>
                            <a:schemeClr val="tx2"/>
                          </a:solidFill>
                          <a:latin typeface="Nexa Bold" panose="00000800000000000000" pitchFamily="2" charset="0"/>
                        </a:rPr>
                        <a:t>Esselung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Gruppo Pam</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197715647"/>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16F2A5-DBD1-6183-266E-7BE86D66DE1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0371FAE5-2F64-DD77-CB90-903A08FC003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6AC208-DA89-A6A3-A884-845C6DCDC93E}"/>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26D5B2F0-F981-240A-2FBB-9AACD883931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4103ADAF-02C4-DF4E-65FB-8DDFC41C8C6D}"/>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D179FF8-F84C-C588-7117-E73BD453C01F}"/>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B07141CB-DEB2-7B63-561B-BD884F3201EE}"/>
              </a:ext>
            </a:extLst>
          </p:cNvPr>
          <p:cNvSpPr>
            <a:spLocks noGrp="1"/>
          </p:cNvSpPr>
          <p:nvPr>
            <p:ph type="body" sz="quarter" idx="18"/>
          </p:nvPr>
        </p:nvSpPr>
        <p:spPr>
          <a:xfrm>
            <a:off x="503238" y="774000"/>
            <a:ext cx="8136762" cy="360000"/>
          </a:xfrm>
        </p:spPr>
        <p:txBody>
          <a:bodyPr/>
          <a:lstStyle/>
          <a:p>
            <a:r>
              <a:rPr lang="en-GB" dirty="0"/>
              <a:t>Promotional Frequency Analysis | Economy | </a:t>
            </a:r>
            <a:r>
              <a:rPr lang="en-GB" dirty="0" err="1"/>
              <a:t>Bucegi</a:t>
            </a:r>
            <a:r>
              <a:rPr lang="en-GB" dirty="0"/>
              <a:t> | P12M</a:t>
            </a:r>
          </a:p>
        </p:txBody>
      </p:sp>
      <p:sp>
        <p:nvSpPr>
          <p:cNvPr id="20" name="Title 19">
            <a:extLst>
              <a:ext uri="{FF2B5EF4-FFF2-40B4-BE49-F238E27FC236}">
                <a16:creationId xmlns:a16="http://schemas.microsoft.com/office/drawing/2014/main" id="{6ABA3CE5-FEC1-1B17-6619-B7E8BA616072}"/>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A5DC073-21B5-16A1-D0D1-8C9DAA727F9D}"/>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1AB84F46-B1E9-AA76-1B1C-45D99A7CD1D7}"/>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630CA1B3-8FA2-738A-0EDD-2BC4AA11D0B7}"/>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AC3E286C-A597-6CAF-1963-CFDCB0FA9E61}"/>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18" name="Table 17">
            <a:extLst>
              <a:ext uri="{FF2B5EF4-FFF2-40B4-BE49-F238E27FC236}">
                <a16:creationId xmlns:a16="http://schemas.microsoft.com/office/drawing/2014/main" id="{22B3E0BE-E67D-26F4-F11D-C964DB076F17}"/>
              </a:ext>
            </a:extLst>
          </p:cNvPr>
          <p:cNvGraphicFramePr>
            <a:graphicFrameLocks noGrp="1"/>
          </p:cNvGraphicFramePr>
          <p:nvPr/>
        </p:nvGraphicFramePr>
        <p:xfrm>
          <a:off x="546968" y="1364051"/>
          <a:ext cx="801009" cy="2852528"/>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713132">
                <a:tc>
                  <a:txBody>
                    <a:bodyPr/>
                    <a:lstStyle/>
                    <a:p>
                      <a:r>
                        <a:rPr lang="en-US" sz="900">
                          <a:highlight>
                            <a:srgbClr val="FFFF00"/>
                          </a:highlight>
                          <a:latin typeface="Nexa Bold" panose="00000800000000000000" pitchFamily="2" charset="0"/>
                        </a:rPr>
                        <a:t>Kaufland</a:t>
                      </a:r>
                      <a:endParaRPr lang="en-CH"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32267898"/>
                  </a:ext>
                </a:extLst>
              </a:tr>
              <a:tr h="713132">
                <a:tc>
                  <a:txBody>
                    <a:bodyPr/>
                    <a:lstStyle/>
                    <a:p>
                      <a:r>
                        <a:rPr lang="en-US" sz="900">
                          <a:highlight>
                            <a:srgbClr val="FFFF00"/>
                          </a:highlight>
                          <a:latin typeface="Nexa Bold" panose="00000800000000000000" pitchFamily="2" charset="0"/>
                        </a:rPr>
                        <a:t>Kaufland</a:t>
                      </a:r>
                      <a:endParaRPr lang="en-CH"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r h="713132">
                <a:tc>
                  <a:txBody>
                    <a:bodyPr/>
                    <a:lstStyle/>
                    <a:p>
                      <a:r>
                        <a:rPr lang="en-US" sz="900" err="1">
                          <a:highlight>
                            <a:srgbClr val="FFFF00"/>
                          </a:highlight>
                          <a:latin typeface="Nexa Bold" panose="00000800000000000000" pitchFamily="2" charset="0"/>
                        </a:rPr>
                        <a:t>Profi</a:t>
                      </a:r>
                      <a:endParaRPr lang="en-US"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713132">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9" name="Chart 18">
            <a:extLst>
              <a:ext uri="{FF2B5EF4-FFF2-40B4-BE49-F238E27FC236}">
                <a16:creationId xmlns:a16="http://schemas.microsoft.com/office/drawing/2014/main" id="{9B1673E6-73E0-EF8C-82ED-CD3A03B96FB8}"/>
              </a:ext>
            </a:extLst>
          </p:cNvPr>
          <p:cNvGraphicFramePr/>
          <p:nvPr>
            <p:extLst>
              <p:ext uri="{D42A27DB-BD31-4B8C-83A1-F6EECF244321}">
                <p14:modId xmlns:p14="http://schemas.microsoft.com/office/powerpoint/2010/main" val="3203422091"/>
              </p:ext>
            </p:extLst>
          </p:nvPr>
        </p:nvGraphicFramePr>
        <p:xfrm>
          <a:off x="1347977" y="1366269"/>
          <a:ext cx="7300565" cy="70809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1" name="Chart 20">
            <a:extLst>
              <a:ext uri="{FF2B5EF4-FFF2-40B4-BE49-F238E27FC236}">
                <a16:creationId xmlns:a16="http://schemas.microsoft.com/office/drawing/2014/main" id="{BD2D4B5E-F49A-3634-5C61-7F1B97F6B924}"/>
              </a:ext>
            </a:extLst>
          </p:cNvPr>
          <p:cNvGraphicFramePr/>
          <p:nvPr/>
        </p:nvGraphicFramePr>
        <p:xfrm>
          <a:off x="1347977" y="2088079"/>
          <a:ext cx="7292024" cy="70809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2" name="Chart 21">
            <a:extLst>
              <a:ext uri="{FF2B5EF4-FFF2-40B4-BE49-F238E27FC236}">
                <a16:creationId xmlns:a16="http://schemas.microsoft.com/office/drawing/2014/main" id="{F58FF1DC-468D-96E2-29C7-85AE66661781}"/>
              </a:ext>
            </a:extLst>
          </p:cNvPr>
          <p:cNvGraphicFramePr/>
          <p:nvPr/>
        </p:nvGraphicFramePr>
        <p:xfrm>
          <a:off x="1390519" y="2809891"/>
          <a:ext cx="7292024" cy="698288"/>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3" name="Chart 22">
            <a:extLst>
              <a:ext uri="{FF2B5EF4-FFF2-40B4-BE49-F238E27FC236}">
                <a16:creationId xmlns:a16="http://schemas.microsoft.com/office/drawing/2014/main" id="{0274E9D7-6F0F-48AA-0251-3FC84CB38733}"/>
              </a:ext>
            </a:extLst>
          </p:cNvPr>
          <p:cNvGraphicFramePr/>
          <p:nvPr>
            <p:extLst>
              <p:ext uri="{D42A27DB-BD31-4B8C-83A1-F6EECF244321}">
                <p14:modId xmlns:p14="http://schemas.microsoft.com/office/powerpoint/2010/main" val="3988648183"/>
              </p:ext>
            </p:extLst>
          </p:nvPr>
        </p:nvGraphicFramePr>
        <p:xfrm>
          <a:off x="1347976" y="3521894"/>
          <a:ext cx="7300566" cy="1266514"/>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45341183"/>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err="1">
                          <a:highlight>
                            <a:srgbClr val="FFFF00"/>
                          </a:highlight>
                          <a:latin typeface="Nexa Bold" panose="00000800000000000000" pitchFamily="2" charset="0"/>
                        </a:rPr>
                        <a:t>Profi</a:t>
                      </a:r>
                      <a:endParaRPr lang="en-US"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59785424"/>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6B1BB7-0332-B88C-6619-0986C527E75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183FC888-5F26-8EB6-D0E3-95394288A47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AA8D690-7502-DA41-FEC8-0B8878AD7C4D}"/>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0/2025</a:t>
            </a:fld>
            <a:endParaRPr lang="en-US" noProof="0"/>
          </a:p>
        </p:txBody>
      </p:sp>
      <p:sp>
        <p:nvSpPr>
          <p:cNvPr id="2" name="Footer Placeholder 1">
            <a:extLst>
              <a:ext uri="{FF2B5EF4-FFF2-40B4-BE49-F238E27FC236}">
                <a16:creationId xmlns:a16="http://schemas.microsoft.com/office/drawing/2014/main" id="{66107D41-CF1E-DEF7-E36E-2F9BBF21962E}"/>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CFCE79D-D48C-971A-FEDA-189A66F55B5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2</a:t>
            </a:fld>
            <a:endParaRPr lang="en-US" noProof="0"/>
          </a:p>
        </p:txBody>
      </p:sp>
      <p:sp>
        <p:nvSpPr>
          <p:cNvPr id="4" name="Text Placeholder 3">
            <a:extLst>
              <a:ext uri="{FF2B5EF4-FFF2-40B4-BE49-F238E27FC236}">
                <a16:creationId xmlns:a16="http://schemas.microsoft.com/office/drawing/2014/main" id="{DEEAB759-D984-C34D-E421-C858B285971B}"/>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6206781B-F7E9-C270-6371-CAA70F71363A}"/>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04A4CE9A-975A-EB66-B458-C49A28474E63}"/>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36DCD526-CC4E-88E3-27A8-6CC5E3D60C91}"/>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A94F9C3B-C5BF-23EA-4A7F-4DF025209883}"/>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47BC1835-4097-DEF2-FFEF-AECDAE757A21}"/>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FD7CD205-0326-1EA9-C370-F8E9863E18A0}"/>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15" name="Table 14">
            <a:extLst>
              <a:ext uri="{FF2B5EF4-FFF2-40B4-BE49-F238E27FC236}">
                <a16:creationId xmlns:a16="http://schemas.microsoft.com/office/drawing/2014/main" id="{6064F70F-20AA-3AA4-E150-7E77F8111238}"/>
              </a:ext>
            </a:extLst>
          </p:cNvPr>
          <p:cNvGraphicFramePr>
            <a:graphicFrameLocks noGrp="1"/>
          </p:cNvGraphicFramePr>
          <p:nvPr/>
        </p:nvGraphicFramePr>
        <p:xfrm>
          <a:off x="546968" y="1364051"/>
          <a:ext cx="801009" cy="2872668"/>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a:highlight>
                            <a:srgbClr val="FFFF00"/>
                          </a:highlight>
                          <a:latin typeface="Nexa Bold" panose="00000800000000000000" pitchFamily="2" charset="0"/>
                        </a:rPr>
                        <a:t>Kaufland</a:t>
                      </a:r>
                      <a:endParaRPr lang="en-CH"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r h="957556">
                <a:tc>
                  <a:txBody>
                    <a:bodyPr/>
                    <a:lstStyle/>
                    <a:p>
                      <a:r>
                        <a:rPr lang="en-US" sz="900" err="1">
                          <a:highlight>
                            <a:srgbClr val="FFFF00"/>
                          </a:highlight>
                          <a:latin typeface="Nexa Bold" panose="00000800000000000000" pitchFamily="2" charset="0"/>
                        </a:rPr>
                        <a:t>Profi</a:t>
                      </a:r>
                      <a:endParaRPr lang="en-US"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7" name="Chart 16">
            <a:extLst>
              <a:ext uri="{FF2B5EF4-FFF2-40B4-BE49-F238E27FC236}">
                <a16:creationId xmlns:a16="http://schemas.microsoft.com/office/drawing/2014/main" id="{DC110851-97B6-D171-DE71-0D1E5AF9BDB5}"/>
              </a:ext>
            </a:extLst>
          </p:cNvPr>
          <p:cNvGraphicFramePr/>
          <p:nvPr>
            <p:extLst>
              <p:ext uri="{D42A27DB-BD31-4B8C-83A1-F6EECF244321}">
                <p14:modId xmlns:p14="http://schemas.microsoft.com/office/powerpoint/2010/main" val="2645161283"/>
              </p:ext>
            </p:extLst>
          </p:nvPr>
        </p:nvGraphicFramePr>
        <p:xfrm>
          <a:off x="1347977" y="1366269"/>
          <a:ext cx="7300565"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Chart 17">
            <a:extLst>
              <a:ext uri="{FF2B5EF4-FFF2-40B4-BE49-F238E27FC236}">
                <a16:creationId xmlns:a16="http://schemas.microsoft.com/office/drawing/2014/main" id="{4660185D-F73E-33A3-1659-B3CB7E065790}"/>
              </a:ext>
            </a:extLst>
          </p:cNvPr>
          <p:cNvGraphicFramePr/>
          <p:nvPr/>
        </p:nvGraphicFramePr>
        <p:xfrm>
          <a:off x="1347977" y="2315962"/>
          <a:ext cx="7292024" cy="96206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Chart 18">
            <a:extLst>
              <a:ext uri="{FF2B5EF4-FFF2-40B4-BE49-F238E27FC236}">
                <a16:creationId xmlns:a16="http://schemas.microsoft.com/office/drawing/2014/main" id="{5560D566-CFA0-CB82-9821-A877BE9412B1}"/>
              </a:ext>
            </a:extLst>
          </p:cNvPr>
          <p:cNvGraphicFramePr/>
          <p:nvPr>
            <p:extLst>
              <p:ext uri="{D42A27DB-BD31-4B8C-83A1-F6EECF244321}">
                <p14:modId xmlns:p14="http://schemas.microsoft.com/office/powerpoint/2010/main" val="3625103377"/>
              </p:ext>
            </p:extLst>
          </p:nvPr>
        </p:nvGraphicFramePr>
        <p:xfrm>
          <a:off x="1347976" y="3278024"/>
          <a:ext cx="7300566" cy="151038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788854435"/>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A74A6-A795-CE79-8C39-495A20EFB57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DCC7D2-AA42-3C73-3D0E-CA46E36A7FB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63E2AE8E-4C30-FE9E-7D13-A332318FB4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8532D7D4-9D0E-8F6B-387E-FCD29E76B66B}"/>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04C31CC0-F4A5-1822-031A-D80FBCEFB1C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98AD9E9E-68FC-D2ED-5793-9ECF80CBE0E2}"/>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8870972-6E56-C568-450C-EA7488ABB91A}"/>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D478BDEC-4F50-B693-CAA2-ADF3EEFD40E7}"/>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1DA5462C-C7E5-8D84-AB19-B01FA32675C7}"/>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5BB5A87-2F25-4479-E7A4-F56174768DB6}"/>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D00CE631-517E-C6FF-E1A7-F125131A9D46}"/>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A4E4B0DB-B2C0-C69B-2EAC-38AE18FDD870}"/>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7F09CFE6-69A7-C7F1-2DAA-5AB620677C36}"/>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3" name="Table 2">
            <a:extLst>
              <a:ext uri="{FF2B5EF4-FFF2-40B4-BE49-F238E27FC236}">
                <a16:creationId xmlns:a16="http://schemas.microsoft.com/office/drawing/2014/main" id="{EAF0EB5E-DB0F-2EBC-C1D5-5639F7C6A6CE}"/>
              </a:ext>
            </a:extLst>
          </p:cNvPr>
          <p:cNvGraphicFramePr>
            <a:graphicFrameLocks noGrp="1"/>
          </p:cNvGraphicFramePr>
          <p:nvPr/>
        </p:nvGraphicFramePr>
        <p:xfrm>
          <a:off x="546968" y="1364051"/>
          <a:ext cx="801009" cy="1915112"/>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dirty="0" err="1">
                          <a:highlight>
                            <a:srgbClr val="FFFF00"/>
                          </a:highlight>
                          <a:latin typeface="Nexa Bold" panose="00000800000000000000" pitchFamily="2" charset="0"/>
                        </a:rPr>
                        <a:t>Profi</a:t>
                      </a:r>
                      <a:endParaRPr lang="en-US"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5" name="Chart 14">
            <a:extLst>
              <a:ext uri="{FF2B5EF4-FFF2-40B4-BE49-F238E27FC236}">
                <a16:creationId xmlns:a16="http://schemas.microsoft.com/office/drawing/2014/main" id="{2C71707F-2392-7965-7295-8624E7A0741E}"/>
              </a:ext>
            </a:extLst>
          </p:cNvPr>
          <p:cNvGraphicFramePr/>
          <p:nvPr/>
        </p:nvGraphicFramePr>
        <p:xfrm>
          <a:off x="1347977" y="1361938"/>
          <a:ext cx="7292024"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AA7897A-7271-E11F-7BEB-579939ACD547}"/>
              </a:ext>
            </a:extLst>
          </p:cNvPr>
          <p:cNvGraphicFramePr/>
          <p:nvPr/>
        </p:nvGraphicFramePr>
        <p:xfrm>
          <a:off x="1347976" y="2324000"/>
          <a:ext cx="7300566" cy="15103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69605287"/>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6B1BB7-0332-B88C-6619-0986C527E75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183FC888-5F26-8EB6-D0E3-95394288A47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AA8D690-7502-DA41-FEC8-0B8878AD7C4D}"/>
              </a:ext>
            </a:extLst>
          </p:cNvPr>
          <p:cNvSpPr>
            <a:spLocks noGrp="1"/>
          </p:cNvSpPr>
          <p:nvPr>
            <p:ph type="dt" sz="half" idx="14"/>
          </p:nvPr>
        </p:nvSpPr>
        <p:spPr>
          <a:xfrm>
            <a:off x="8082390" y="4972050"/>
            <a:ext cx="557609" cy="171450"/>
          </a:xfrm>
        </p:spPr>
        <p:txBody>
          <a:bodyPr/>
          <a:lstStyle/>
          <a:p>
            <a:pPr lvl="0"/>
            <a:fld id="{C3572431-5FDA-4C15-BC5A-5EE3413ECCC7}" type="datetime1">
              <a:rPr lang="en-US" noProof="0" smtClean="0"/>
              <a:pPr lvl="0"/>
              <a:t>8/10/2025</a:t>
            </a:fld>
            <a:endParaRPr lang="en-US" noProof="0"/>
          </a:p>
        </p:txBody>
      </p:sp>
      <p:sp>
        <p:nvSpPr>
          <p:cNvPr id="2" name="Footer Placeholder 1">
            <a:extLst>
              <a:ext uri="{FF2B5EF4-FFF2-40B4-BE49-F238E27FC236}">
                <a16:creationId xmlns:a16="http://schemas.microsoft.com/office/drawing/2014/main" id="{66107D41-CF1E-DEF7-E36E-2F9BBF21962E}"/>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Slide Number Placeholder 7">
            <a:extLst>
              <a:ext uri="{FF2B5EF4-FFF2-40B4-BE49-F238E27FC236}">
                <a16:creationId xmlns:a16="http://schemas.microsoft.com/office/drawing/2014/main" id="{9CFCE79D-D48C-971A-FEDA-189A66F55B5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4</a:t>
            </a:fld>
            <a:endParaRPr lang="en-US" noProof="0"/>
          </a:p>
        </p:txBody>
      </p:sp>
      <p:sp>
        <p:nvSpPr>
          <p:cNvPr id="4" name="Text Placeholder 3">
            <a:extLst>
              <a:ext uri="{FF2B5EF4-FFF2-40B4-BE49-F238E27FC236}">
                <a16:creationId xmlns:a16="http://schemas.microsoft.com/office/drawing/2014/main" id="{DEEAB759-D984-C34D-E421-C858B285971B}"/>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6206781B-F7E9-C270-6371-CAA70F71363A}"/>
              </a:ext>
            </a:extLst>
          </p:cNvPr>
          <p:cNvSpPr>
            <a:spLocks noGrp="1"/>
          </p:cNvSpPr>
          <p:nvPr>
            <p:ph type="body" sz="quarter" idx="18"/>
          </p:nvPr>
        </p:nvSpPr>
        <p:spPr>
          <a:xfrm>
            <a:off x="503238" y="774000"/>
            <a:ext cx="8136762" cy="360000"/>
          </a:xfrm>
        </p:spPr>
        <p:txBody>
          <a:bodyPr/>
          <a:lstStyle/>
          <a:p>
            <a:r>
              <a:rPr lang="en-GB"/>
              <a:t>Promotional Frequency Analysis | Economy | </a:t>
            </a:r>
            <a:r>
              <a:rPr lang="en-GB" err="1"/>
              <a:t>Bucegi</a:t>
            </a:r>
            <a:r>
              <a:rPr lang="en-GB"/>
              <a:t> | P12M</a:t>
            </a:r>
          </a:p>
        </p:txBody>
      </p:sp>
      <p:sp>
        <p:nvSpPr>
          <p:cNvPr id="20" name="Title 19">
            <a:extLst>
              <a:ext uri="{FF2B5EF4-FFF2-40B4-BE49-F238E27FC236}">
                <a16:creationId xmlns:a16="http://schemas.microsoft.com/office/drawing/2014/main" id="{04A4CE9A-975A-EB66-B458-C49A28474E63}"/>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36DCD526-CC4E-88E3-27A8-6CC5E3D60C91}"/>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mn-cs"/>
              </a:rPr>
              <a:t>Event Value Uplift (%) &gt;5%</a:t>
            </a:r>
          </a:p>
        </p:txBody>
      </p:sp>
      <p:sp>
        <p:nvSpPr>
          <p:cNvPr id="11" name="Oval 10">
            <a:extLst>
              <a:ext uri="{FF2B5EF4-FFF2-40B4-BE49-F238E27FC236}">
                <a16:creationId xmlns:a16="http://schemas.microsoft.com/office/drawing/2014/main" id="{A94F9C3B-C5BF-23EA-4A7F-4DF025209883}"/>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47BC1835-4097-DEF2-FFEF-AECDAE757A21}"/>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FD7CD205-0326-1EA9-C370-F8E9863E18A0}"/>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mn-cs"/>
              </a:rPr>
              <a:t>Weeks with VSOD &gt;20%</a:t>
            </a:r>
          </a:p>
        </p:txBody>
      </p:sp>
      <p:graphicFrame>
        <p:nvGraphicFramePr>
          <p:cNvPr id="15" name="Table 14">
            <a:extLst>
              <a:ext uri="{FF2B5EF4-FFF2-40B4-BE49-F238E27FC236}">
                <a16:creationId xmlns:a16="http://schemas.microsoft.com/office/drawing/2014/main" id="{6064F70F-20AA-3AA4-E150-7E77F8111238}"/>
              </a:ext>
            </a:extLst>
          </p:cNvPr>
          <p:cNvGraphicFramePr>
            <a:graphicFrameLocks noGrp="1"/>
          </p:cNvGraphicFramePr>
          <p:nvPr/>
        </p:nvGraphicFramePr>
        <p:xfrm>
          <a:off x="546968" y="1364051"/>
          <a:ext cx="801009" cy="2872668"/>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957556">
                <a:tc>
                  <a:txBody>
                    <a:bodyPr/>
                    <a:lstStyle/>
                    <a:p>
                      <a:r>
                        <a:rPr lang="en-US" sz="900">
                          <a:highlight>
                            <a:srgbClr val="FFFF00"/>
                          </a:highlight>
                          <a:latin typeface="Nexa Bold" panose="00000800000000000000" pitchFamily="2" charset="0"/>
                        </a:rPr>
                        <a:t>Kaufland</a:t>
                      </a:r>
                      <a:endParaRPr lang="en-CH"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r h="957556">
                <a:tc>
                  <a:txBody>
                    <a:bodyPr/>
                    <a:lstStyle/>
                    <a:p>
                      <a:r>
                        <a:rPr lang="en-US" sz="900" err="1">
                          <a:highlight>
                            <a:srgbClr val="FFFF00"/>
                          </a:highlight>
                          <a:latin typeface="Nexa Bold" panose="00000800000000000000" pitchFamily="2" charset="0"/>
                        </a:rPr>
                        <a:t>Profi</a:t>
                      </a:r>
                      <a:endParaRPr lang="en-US"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957556">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7" name="Chart 16">
            <a:extLst>
              <a:ext uri="{FF2B5EF4-FFF2-40B4-BE49-F238E27FC236}">
                <a16:creationId xmlns:a16="http://schemas.microsoft.com/office/drawing/2014/main" id="{DC110851-97B6-D171-DE71-0D1E5AF9BDB5}"/>
              </a:ext>
            </a:extLst>
          </p:cNvPr>
          <p:cNvGraphicFramePr/>
          <p:nvPr>
            <p:extLst>
              <p:ext uri="{D42A27DB-BD31-4B8C-83A1-F6EECF244321}">
                <p14:modId xmlns:p14="http://schemas.microsoft.com/office/powerpoint/2010/main" val="2645161283"/>
              </p:ext>
            </p:extLst>
          </p:nvPr>
        </p:nvGraphicFramePr>
        <p:xfrm>
          <a:off x="1347977" y="1366269"/>
          <a:ext cx="7300565" cy="9620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Chart 17">
            <a:extLst>
              <a:ext uri="{FF2B5EF4-FFF2-40B4-BE49-F238E27FC236}">
                <a16:creationId xmlns:a16="http://schemas.microsoft.com/office/drawing/2014/main" id="{4660185D-F73E-33A3-1659-B3CB7E065790}"/>
              </a:ext>
            </a:extLst>
          </p:cNvPr>
          <p:cNvGraphicFramePr/>
          <p:nvPr/>
        </p:nvGraphicFramePr>
        <p:xfrm>
          <a:off x="1347977" y="2315962"/>
          <a:ext cx="7292024" cy="96206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Chart 18">
            <a:extLst>
              <a:ext uri="{FF2B5EF4-FFF2-40B4-BE49-F238E27FC236}">
                <a16:creationId xmlns:a16="http://schemas.microsoft.com/office/drawing/2014/main" id="{5560D566-CFA0-CB82-9821-A877BE9412B1}"/>
              </a:ext>
            </a:extLst>
          </p:cNvPr>
          <p:cNvGraphicFramePr/>
          <p:nvPr>
            <p:extLst>
              <p:ext uri="{D42A27DB-BD31-4B8C-83A1-F6EECF244321}">
                <p14:modId xmlns:p14="http://schemas.microsoft.com/office/powerpoint/2010/main" val="3625103377"/>
              </p:ext>
            </p:extLst>
          </p:nvPr>
        </p:nvGraphicFramePr>
        <p:xfrm>
          <a:off x="1347976" y="3278024"/>
          <a:ext cx="7300566" cy="151038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33066388"/>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16F2A5-DBD1-6183-266E-7BE86D66DE1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0371FAE5-2F64-DD77-CB90-903A08FC003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85F1A87-D3CC-A322-7838-907D2FF0C0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6AC208-DA89-A6A3-A884-845C6DCDC93E}"/>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C3572431-5FDA-4C15-BC5A-5EE3413ECCC7}"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Footer Placeholder 1">
            <a:extLst>
              <a:ext uri="{FF2B5EF4-FFF2-40B4-BE49-F238E27FC236}">
                <a16:creationId xmlns:a16="http://schemas.microsoft.com/office/drawing/2014/main" id="{26D5B2F0-F981-240A-2FBB-9AACD8839316}"/>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8" name="Slide Number Placeholder 7">
            <a:extLst>
              <a:ext uri="{FF2B5EF4-FFF2-40B4-BE49-F238E27FC236}">
                <a16:creationId xmlns:a16="http://schemas.microsoft.com/office/drawing/2014/main" id="{4103ADAF-02C4-DF4E-65FB-8DDFC41C8C6D}"/>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Text Placeholder 3">
            <a:extLst>
              <a:ext uri="{FF2B5EF4-FFF2-40B4-BE49-F238E27FC236}">
                <a16:creationId xmlns:a16="http://schemas.microsoft.com/office/drawing/2014/main" id="{DD179FF8-F84C-C588-7117-E73BD453C01F}"/>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6" name="Text Placeholder 5">
            <a:extLst>
              <a:ext uri="{FF2B5EF4-FFF2-40B4-BE49-F238E27FC236}">
                <a16:creationId xmlns:a16="http://schemas.microsoft.com/office/drawing/2014/main" id="{B07141CB-DEB2-7B63-561B-BD884F3201EE}"/>
              </a:ext>
            </a:extLst>
          </p:cNvPr>
          <p:cNvSpPr>
            <a:spLocks noGrp="1"/>
          </p:cNvSpPr>
          <p:nvPr>
            <p:ph type="body" sz="quarter" idx="18"/>
          </p:nvPr>
        </p:nvSpPr>
        <p:spPr>
          <a:xfrm>
            <a:off x="503238" y="774000"/>
            <a:ext cx="8136762" cy="360000"/>
          </a:xfrm>
        </p:spPr>
        <p:txBody>
          <a:bodyPr/>
          <a:lstStyle/>
          <a:p>
            <a:r>
              <a:rPr lang="en-GB" dirty="0"/>
              <a:t>Promotional Frequency Analysis | Economy | </a:t>
            </a:r>
            <a:r>
              <a:rPr lang="en-GB" dirty="0" err="1"/>
              <a:t>Bucegi</a:t>
            </a:r>
            <a:r>
              <a:rPr lang="en-GB" dirty="0"/>
              <a:t> | P12M</a:t>
            </a:r>
          </a:p>
        </p:txBody>
      </p:sp>
      <p:sp>
        <p:nvSpPr>
          <p:cNvPr id="20" name="Title 19">
            <a:extLst>
              <a:ext uri="{FF2B5EF4-FFF2-40B4-BE49-F238E27FC236}">
                <a16:creationId xmlns:a16="http://schemas.microsoft.com/office/drawing/2014/main" id="{6ABA3CE5-FEC1-1B17-6619-B7E8BA616072}"/>
              </a:ext>
            </a:extLst>
          </p:cNvPr>
          <p:cNvSpPr>
            <a:spLocks noGrp="1"/>
          </p:cNvSpPr>
          <p:nvPr>
            <p:ph type="title"/>
          </p:nvPr>
        </p:nvSpPr>
        <p:spPr>
          <a:xfrm>
            <a:off x="504000" y="-1"/>
            <a:ext cx="8136000" cy="771525"/>
          </a:xfrm>
          <a:noFill/>
        </p:spPr>
        <p:txBody>
          <a:bodyPr/>
          <a:lstStyle/>
          <a:p>
            <a:r>
              <a:rPr lang="en-US" dirty="0">
                <a:highlight>
                  <a:srgbClr val="FFFF00"/>
                </a:highlight>
              </a:rPr>
              <a:t>Promotional Frequency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9" name="TextBox 8">
            <a:extLst>
              <a:ext uri="{FF2B5EF4-FFF2-40B4-BE49-F238E27FC236}">
                <a16:creationId xmlns:a16="http://schemas.microsoft.com/office/drawing/2014/main" id="{EA5DC073-21B5-16A1-D0D1-8C9DAA727F9D}"/>
              </a:ext>
            </a:extLst>
          </p:cNvPr>
          <p:cNvSpPr txBox="1"/>
          <p:nvPr/>
        </p:nvSpPr>
        <p:spPr>
          <a:xfrm>
            <a:off x="4797917" y="1145689"/>
            <a:ext cx="1024345"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A097"/>
                </a:solidFill>
                <a:effectLst/>
                <a:uLnTx/>
                <a:uFillTx/>
                <a:latin typeface="Nexa"/>
                <a:ea typeface="+mn-ea"/>
                <a:cs typeface="Dubai Light"/>
              </a:rPr>
              <a:t>Event Value Uplift (%) &gt;5%</a:t>
            </a:r>
          </a:p>
        </p:txBody>
      </p:sp>
      <p:sp>
        <p:nvSpPr>
          <p:cNvPr id="11" name="Oval 10">
            <a:extLst>
              <a:ext uri="{FF2B5EF4-FFF2-40B4-BE49-F238E27FC236}">
                <a16:creationId xmlns:a16="http://schemas.microsoft.com/office/drawing/2014/main" id="{1AB84F46-B1E9-AA76-1B1C-45D99A7CD1D7}"/>
              </a:ext>
            </a:extLst>
          </p:cNvPr>
          <p:cNvSpPr/>
          <p:nvPr/>
        </p:nvSpPr>
        <p:spPr>
          <a:xfrm>
            <a:off x="4689917" y="1155728"/>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630CA1B3-8FA2-738A-0EDD-2BC4AA11D0B7}"/>
              </a:ext>
            </a:extLst>
          </p:cNvPr>
          <p:cNvSpPr/>
          <p:nvPr/>
        </p:nvSpPr>
        <p:spPr>
          <a:xfrm>
            <a:off x="3170437" y="1155728"/>
            <a:ext cx="196362"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AC3E286C-A597-6CAF-1963-CFDCB0FA9E61}"/>
              </a:ext>
            </a:extLst>
          </p:cNvPr>
          <p:cNvSpPr txBox="1"/>
          <p:nvPr/>
        </p:nvSpPr>
        <p:spPr>
          <a:xfrm>
            <a:off x="3376618" y="1136853"/>
            <a:ext cx="950606" cy="1468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575555"/>
                </a:solidFill>
                <a:effectLst/>
                <a:uLnTx/>
                <a:uFillTx/>
                <a:latin typeface="Nexa"/>
                <a:ea typeface="+mn-ea"/>
                <a:cs typeface="Dubai Light"/>
              </a:rPr>
              <a:t>Weeks with VSOD &gt;20%</a:t>
            </a:r>
          </a:p>
        </p:txBody>
      </p:sp>
      <p:graphicFrame>
        <p:nvGraphicFramePr>
          <p:cNvPr id="18" name="Table 17">
            <a:extLst>
              <a:ext uri="{FF2B5EF4-FFF2-40B4-BE49-F238E27FC236}">
                <a16:creationId xmlns:a16="http://schemas.microsoft.com/office/drawing/2014/main" id="{22B3E0BE-E67D-26F4-F11D-C964DB076F17}"/>
              </a:ext>
            </a:extLst>
          </p:cNvPr>
          <p:cNvGraphicFramePr>
            <a:graphicFrameLocks noGrp="1"/>
          </p:cNvGraphicFramePr>
          <p:nvPr/>
        </p:nvGraphicFramePr>
        <p:xfrm>
          <a:off x="546968" y="1364051"/>
          <a:ext cx="801009" cy="2852528"/>
        </p:xfrm>
        <a:graphic>
          <a:graphicData uri="http://schemas.openxmlformats.org/drawingml/2006/table">
            <a:tbl>
              <a:tblPr>
                <a:tableStyleId>{5C22544A-7EE6-4342-B048-85BDC9FD1C3A}</a:tableStyleId>
              </a:tblPr>
              <a:tblGrid>
                <a:gridCol w="801009">
                  <a:extLst>
                    <a:ext uri="{9D8B030D-6E8A-4147-A177-3AD203B41FA5}">
                      <a16:colId xmlns:a16="http://schemas.microsoft.com/office/drawing/2014/main" val="1538836959"/>
                    </a:ext>
                  </a:extLst>
                </a:gridCol>
              </a:tblGrid>
              <a:tr h="713132">
                <a:tc>
                  <a:txBody>
                    <a:bodyPr/>
                    <a:lstStyle/>
                    <a:p>
                      <a:r>
                        <a:rPr lang="en-US" sz="900">
                          <a:highlight>
                            <a:srgbClr val="FFFF00"/>
                          </a:highlight>
                          <a:latin typeface="Nexa Bold" panose="00000800000000000000" pitchFamily="2" charset="0"/>
                        </a:rPr>
                        <a:t>Kaufland</a:t>
                      </a:r>
                      <a:endParaRPr lang="en-CH"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32267898"/>
                  </a:ext>
                </a:extLst>
              </a:tr>
              <a:tr h="713132">
                <a:tc>
                  <a:txBody>
                    <a:bodyPr/>
                    <a:lstStyle/>
                    <a:p>
                      <a:r>
                        <a:rPr lang="en-US" sz="900">
                          <a:highlight>
                            <a:srgbClr val="FFFF00"/>
                          </a:highlight>
                          <a:latin typeface="Nexa Bold" panose="00000800000000000000" pitchFamily="2" charset="0"/>
                        </a:rPr>
                        <a:t>Kaufland</a:t>
                      </a:r>
                      <a:endParaRPr lang="en-CH"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0994830"/>
                  </a:ext>
                </a:extLst>
              </a:tr>
              <a:tr h="713132">
                <a:tc>
                  <a:txBody>
                    <a:bodyPr/>
                    <a:lstStyle/>
                    <a:p>
                      <a:r>
                        <a:rPr lang="en-US" sz="900" err="1">
                          <a:highlight>
                            <a:srgbClr val="FFFF00"/>
                          </a:highlight>
                          <a:latin typeface="Nexa Bold" panose="00000800000000000000" pitchFamily="2" charset="0"/>
                        </a:rPr>
                        <a:t>Profi</a:t>
                      </a:r>
                      <a:endParaRPr lang="en-US" sz="90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2659435"/>
                  </a:ext>
                </a:extLst>
              </a:tr>
              <a:tr h="713132">
                <a:tc>
                  <a:txBody>
                    <a:bodyPr/>
                    <a:lstStyle/>
                    <a:p>
                      <a:r>
                        <a:rPr lang="en-US" sz="900" dirty="0">
                          <a:highlight>
                            <a:srgbClr val="FFFF00"/>
                          </a:highlight>
                          <a:latin typeface="Nexa Bold" panose="00000800000000000000" pitchFamily="2" charset="0"/>
                        </a:rPr>
                        <a:t>Penny</a:t>
                      </a:r>
                      <a:endParaRPr lang="en-CH" sz="900" dirty="0">
                        <a:highlight>
                          <a:srgbClr val="FFFF00"/>
                        </a:highlight>
                        <a:latin typeface="Nexa Bold" panose="00000800000000000000" pitchFamily="2" charset="0"/>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957612"/>
                  </a:ext>
                </a:extLst>
              </a:tr>
            </a:tbl>
          </a:graphicData>
        </a:graphic>
      </p:graphicFrame>
      <p:graphicFrame>
        <p:nvGraphicFramePr>
          <p:cNvPr id="19" name="Chart 18">
            <a:extLst>
              <a:ext uri="{FF2B5EF4-FFF2-40B4-BE49-F238E27FC236}">
                <a16:creationId xmlns:a16="http://schemas.microsoft.com/office/drawing/2014/main" id="{9B1673E6-73E0-EF8C-82ED-CD3A03B96FB8}"/>
              </a:ext>
            </a:extLst>
          </p:cNvPr>
          <p:cNvGraphicFramePr/>
          <p:nvPr>
            <p:extLst>
              <p:ext uri="{D42A27DB-BD31-4B8C-83A1-F6EECF244321}">
                <p14:modId xmlns:p14="http://schemas.microsoft.com/office/powerpoint/2010/main" val="3203422091"/>
              </p:ext>
            </p:extLst>
          </p:nvPr>
        </p:nvGraphicFramePr>
        <p:xfrm>
          <a:off x="1347977" y="1366269"/>
          <a:ext cx="7300565" cy="70809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1" name="Chart 20">
            <a:extLst>
              <a:ext uri="{FF2B5EF4-FFF2-40B4-BE49-F238E27FC236}">
                <a16:creationId xmlns:a16="http://schemas.microsoft.com/office/drawing/2014/main" id="{BD2D4B5E-F49A-3634-5C61-7F1B97F6B924}"/>
              </a:ext>
            </a:extLst>
          </p:cNvPr>
          <p:cNvGraphicFramePr/>
          <p:nvPr/>
        </p:nvGraphicFramePr>
        <p:xfrm>
          <a:off x="1347977" y="2088079"/>
          <a:ext cx="7292024" cy="70809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2" name="Chart 21">
            <a:extLst>
              <a:ext uri="{FF2B5EF4-FFF2-40B4-BE49-F238E27FC236}">
                <a16:creationId xmlns:a16="http://schemas.microsoft.com/office/drawing/2014/main" id="{F58FF1DC-468D-96E2-29C7-85AE66661781}"/>
              </a:ext>
            </a:extLst>
          </p:cNvPr>
          <p:cNvGraphicFramePr/>
          <p:nvPr/>
        </p:nvGraphicFramePr>
        <p:xfrm>
          <a:off x="1390519" y="2809891"/>
          <a:ext cx="7292024" cy="698288"/>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3" name="Chart 22">
            <a:extLst>
              <a:ext uri="{FF2B5EF4-FFF2-40B4-BE49-F238E27FC236}">
                <a16:creationId xmlns:a16="http://schemas.microsoft.com/office/drawing/2014/main" id="{0274E9D7-6F0F-48AA-0251-3FC84CB38733}"/>
              </a:ext>
            </a:extLst>
          </p:cNvPr>
          <p:cNvGraphicFramePr/>
          <p:nvPr>
            <p:extLst>
              <p:ext uri="{D42A27DB-BD31-4B8C-83A1-F6EECF244321}">
                <p14:modId xmlns:p14="http://schemas.microsoft.com/office/powerpoint/2010/main" val="3988648183"/>
              </p:ext>
            </p:extLst>
          </p:nvPr>
        </p:nvGraphicFramePr>
        <p:xfrm>
          <a:off x="1347976" y="3521894"/>
          <a:ext cx="7300566" cy="1266514"/>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636100945"/>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2433209"/>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83452388"/>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84440322"/>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685015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87921420"/>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rPr lang="en-GB"/>
              <a:t>Data Source | Trade Panel | ending Apr 22</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r>
              <a:rPr lang="en-US"/>
              <a:t>Value Uplift by brand | Category/Sector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486807">
                  <a:extLst>
                    <a:ext uri="{9D8B030D-6E8A-4147-A177-3AD203B41FA5}">
                      <a16:colId xmlns:a16="http://schemas.microsoft.com/office/drawing/2014/main" val="3095964032"/>
                    </a:ext>
                  </a:extLst>
                </a:gridCol>
                <a:gridCol w="486807">
                  <a:extLst>
                    <a:ext uri="{9D8B030D-6E8A-4147-A177-3AD203B41FA5}">
                      <a16:colId xmlns:a16="http://schemas.microsoft.com/office/drawing/2014/main" val="1492968221"/>
                    </a:ext>
                  </a:extLst>
                </a:gridCol>
                <a:gridCol w="486807">
                  <a:extLst>
                    <a:ext uri="{9D8B030D-6E8A-4147-A177-3AD203B41FA5}">
                      <a16:colId xmlns:a16="http://schemas.microsoft.com/office/drawing/2014/main" val="1388089212"/>
                    </a:ext>
                  </a:extLst>
                </a:gridCol>
                <a:gridCol w="486807">
                  <a:extLst>
                    <a:ext uri="{9D8B030D-6E8A-4147-A177-3AD203B41FA5}">
                      <a16:colId xmlns:a16="http://schemas.microsoft.com/office/drawing/2014/main" val="653198056"/>
                    </a:ext>
                  </a:extLst>
                </a:gridCol>
                <a:gridCol w="486807">
                  <a:extLst>
                    <a:ext uri="{9D8B030D-6E8A-4147-A177-3AD203B41FA5}">
                      <a16:colId xmlns:a16="http://schemas.microsoft.com/office/drawing/2014/main" val="2597698693"/>
                    </a:ext>
                  </a:extLst>
                </a:gridCol>
                <a:gridCol w="486807">
                  <a:extLst>
                    <a:ext uri="{9D8B030D-6E8A-4147-A177-3AD203B41FA5}">
                      <a16:colId xmlns:a16="http://schemas.microsoft.com/office/drawing/2014/main" val="3679993237"/>
                    </a:ext>
                  </a:extLst>
                </a:gridCol>
                <a:gridCol w="486807">
                  <a:extLst>
                    <a:ext uri="{9D8B030D-6E8A-4147-A177-3AD203B41FA5}">
                      <a16:colId xmlns:a16="http://schemas.microsoft.com/office/drawing/2014/main" val="3222933510"/>
                    </a:ext>
                  </a:extLst>
                </a:gridCol>
                <a:gridCol w="486807">
                  <a:extLst>
                    <a:ext uri="{9D8B030D-6E8A-4147-A177-3AD203B41FA5}">
                      <a16:colId xmlns:a16="http://schemas.microsoft.com/office/drawing/2014/main" val="2120373476"/>
                    </a:ext>
                  </a:extLst>
                </a:gridCol>
                <a:gridCol w="486807">
                  <a:extLst>
                    <a:ext uri="{9D8B030D-6E8A-4147-A177-3AD203B41FA5}">
                      <a16:colId xmlns:a16="http://schemas.microsoft.com/office/drawing/2014/main" val="2675510286"/>
                    </a:ext>
                  </a:extLst>
                </a:gridCol>
                <a:gridCol w="486807">
                  <a:extLst>
                    <a:ext uri="{9D8B030D-6E8A-4147-A177-3AD203B41FA5}">
                      <a16:colId xmlns:a16="http://schemas.microsoft.com/office/drawing/2014/main" val="3000440053"/>
                    </a:ext>
                  </a:extLst>
                </a:gridCol>
                <a:gridCol w="486807">
                  <a:extLst>
                    <a:ext uri="{9D8B030D-6E8A-4147-A177-3AD203B41FA5}">
                      <a16:colId xmlns:a16="http://schemas.microsoft.com/office/drawing/2014/main" val="3214997608"/>
                    </a:ext>
                  </a:extLst>
                </a:gridCol>
                <a:gridCol w="486807">
                  <a:extLst>
                    <a:ext uri="{9D8B030D-6E8A-4147-A177-3AD203B41FA5}">
                      <a16:colId xmlns:a16="http://schemas.microsoft.com/office/drawing/2014/main" val="4271382557"/>
                    </a:ext>
                  </a:extLst>
                </a:gridCol>
                <a:gridCol w="486807">
                  <a:extLst>
                    <a:ext uri="{9D8B030D-6E8A-4147-A177-3AD203B41FA5}">
                      <a16:colId xmlns:a16="http://schemas.microsoft.com/office/drawing/2014/main" val="826016986"/>
                    </a:ext>
                  </a:extLst>
                </a:gridCol>
                <a:gridCol w="486807">
                  <a:extLst>
                    <a:ext uri="{9D8B030D-6E8A-4147-A177-3AD203B41FA5}">
                      <a16:colId xmlns:a16="http://schemas.microsoft.com/office/drawing/2014/main" val="2337481629"/>
                    </a:ext>
                  </a:extLst>
                </a:gridCol>
              </a:tblGrid>
              <a:tr h="278130">
                <a:tc>
                  <a:txBody>
                    <a:bodyPr/>
                    <a:lstStyle/>
                    <a:p>
                      <a:pPr algn="ctr"/>
                      <a:r>
                        <a:rPr lang="en-US" sz="800" b="0" dirty="0">
                          <a:solidFill>
                            <a:schemeClr val="tx2"/>
                          </a:solidFill>
                          <a:latin typeface="Nexa Bold" panose="00000800000000000000" pitchFamily="2" charset="0"/>
                        </a:rPr>
                        <a:t>Carrefour</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Coop </a:t>
                      </a:r>
                      <a:r>
                        <a:rPr lang="en-US" sz="800" b="0" dirty="0" err="1">
                          <a:solidFill>
                            <a:schemeClr val="tx2"/>
                          </a:solidFill>
                          <a:latin typeface="Nexa Bold" panose="00000800000000000000" pitchFamily="2" charset="0"/>
                        </a:rPr>
                        <a:t>Alleanz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err="1">
                          <a:solidFill>
                            <a:schemeClr val="tx2"/>
                          </a:solidFill>
                          <a:latin typeface="Nexa Bold" panose="00000800000000000000" pitchFamily="2" charset="0"/>
                        </a:rPr>
                        <a:t>Esselung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Gruppo Pam</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2002617160"/>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18031470"/>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78628106"/>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77961292"/>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89611991"/>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94589436"/>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66025246"/>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94815079"/>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32958722"/>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0/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8</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rPr lang="en-US"/>
              <a:t>DATA SOURCE: Trade Panel/Retailer Data | Ending Dec 2022</a:t>
            </a:r>
            <a:endParaRPr lang="da-DK"/>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r>
              <a:rPr lang="en-US" dirty="0"/>
              <a:t>Volume sold on deal Summary | By Brand | By Sector | Category | National | P12M</a:t>
            </a:r>
            <a:endParaRPr lang="en-AE" dirty="0"/>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4" cy="3801000"/>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1295060">
                  <a:extLst>
                    <a:ext uri="{9D8B030D-6E8A-4147-A177-3AD203B41FA5}">
                      <a16:colId xmlns:a16="http://schemas.microsoft.com/office/drawing/2014/main" val="8673104"/>
                    </a:ext>
                  </a:extLst>
                </a:gridCol>
                <a:gridCol w="1295060">
                  <a:extLst>
                    <a:ext uri="{9D8B030D-6E8A-4147-A177-3AD203B41FA5}">
                      <a16:colId xmlns:a16="http://schemas.microsoft.com/office/drawing/2014/main" val="1028273140"/>
                    </a:ext>
                  </a:extLst>
                </a:gridCol>
                <a:gridCol w="1295060">
                  <a:extLst>
                    <a:ext uri="{9D8B030D-6E8A-4147-A177-3AD203B41FA5}">
                      <a16:colId xmlns:a16="http://schemas.microsoft.com/office/drawing/2014/main" val="2342841255"/>
                    </a:ext>
                  </a:extLst>
                </a:gridCol>
                <a:gridCol w="1295060">
                  <a:extLst>
                    <a:ext uri="{9D8B030D-6E8A-4147-A177-3AD203B41FA5}">
                      <a16:colId xmlns:a16="http://schemas.microsoft.com/office/drawing/2014/main" val="1336055313"/>
                    </a:ext>
                  </a:extLst>
                </a:gridCol>
                <a:gridCol w="1295060">
                  <a:extLst>
                    <a:ext uri="{9D8B030D-6E8A-4147-A177-3AD203B41FA5}">
                      <a16:colId xmlns:a16="http://schemas.microsoft.com/office/drawing/2014/main" val="481471067"/>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hin</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akeawa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Snacking</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eep</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ietar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6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Goodfella’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3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4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7609235"/>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Chicago Town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96994351"/>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Dr Oetker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5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Gigantic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8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1102018"/>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1160451312"/>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0/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9</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rPr lang="en-US"/>
              <a:t>DATA SOURCE: Trade Panel/Retailer Data | Ending Dec 2022</a:t>
            </a:r>
            <a:endParaRPr lang="da-DK"/>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r>
              <a:rPr lang="en-US" dirty="0"/>
              <a:t>Volume sold on deal Summary | By Brand | By Sector | Category | National | P12M</a:t>
            </a:r>
            <a:endParaRPr lang="en-AE" dirty="0"/>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4" cy="3801000"/>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1295060">
                  <a:extLst>
                    <a:ext uri="{9D8B030D-6E8A-4147-A177-3AD203B41FA5}">
                      <a16:colId xmlns:a16="http://schemas.microsoft.com/office/drawing/2014/main" val="8673104"/>
                    </a:ext>
                  </a:extLst>
                </a:gridCol>
                <a:gridCol w="1295060">
                  <a:extLst>
                    <a:ext uri="{9D8B030D-6E8A-4147-A177-3AD203B41FA5}">
                      <a16:colId xmlns:a16="http://schemas.microsoft.com/office/drawing/2014/main" val="1028273140"/>
                    </a:ext>
                  </a:extLst>
                </a:gridCol>
                <a:gridCol w="1295060">
                  <a:extLst>
                    <a:ext uri="{9D8B030D-6E8A-4147-A177-3AD203B41FA5}">
                      <a16:colId xmlns:a16="http://schemas.microsoft.com/office/drawing/2014/main" val="2342841255"/>
                    </a:ext>
                  </a:extLst>
                </a:gridCol>
                <a:gridCol w="1295060">
                  <a:extLst>
                    <a:ext uri="{9D8B030D-6E8A-4147-A177-3AD203B41FA5}">
                      <a16:colId xmlns:a16="http://schemas.microsoft.com/office/drawing/2014/main" val="1336055313"/>
                    </a:ext>
                  </a:extLst>
                </a:gridCol>
                <a:gridCol w="1295060">
                  <a:extLst>
                    <a:ext uri="{9D8B030D-6E8A-4147-A177-3AD203B41FA5}">
                      <a16:colId xmlns:a16="http://schemas.microsoft.com/office/drawing/2014/main" val="481471067"/>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hin</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akeawa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Snacking</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eep</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ietar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6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Goodfella’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3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4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7609235"/>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Chicago Town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96994351"/>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Dr Oetker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5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Gigantic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8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1102018"/>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10481623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0/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rPr lang="en-US"/>
              <a:t>DATA SOURCE: Trade Panel/Retailer Data | Ending Dec 2022</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olume Uplift vs discount depth | By Product | Category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32064498"/>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0/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0</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rPr lang="en-US"/>
              <a:t>DATA SOURCE: Trade Panel/Retailer Data | Ending Dec 2022</a:t>
            </a:r>
            <a:endParaRPr lang="da-DK"/>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r>
              <a:rPr lang="en-US" dirty="0"/>
              <a:t>Volume sold on deal Summary | By Brand | By Sector | Category | National | P12M</a:t>
            </a:r>
            <a:endParaRPr lang="en-AE" dirty="0"/>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4" cy="3801000"/>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1295060">
                  <a:extLst>
                    <a:ext uri="{9D8B030D-6E8A-4147-A177-3AD203B41FA5}">
                      <a16:colId xmlns:a16="http://schemas.microsoft.com/office/drawing/2014/main" val="8673104"/>
                    </a:ext>
                  </a:extLst>
                </a:gridCol>
                <a:gridCol w="1295060">
                  <a:extLst>
                    <a:ext uri="{9D8B030D-6E8A-4147-A177-3AD203B41FA5}">
                      <a16:colId xmlns:a16="http://schemas.microsoft.com/office/drawing/2014/main" val="1028273140"/>
                    </a:ext>
                  </a:extLst>
                </a:gridCol>
                <a:gridCol w="1295060">
                  <a:extLst>
                    <a:ext uri="{9D8B030D-6E8A-4147-A177-3AD203B41FA5}">
                      <a16:colId xmlns:a16="http://schemas.microsoft.com/office/drawing/2014/main" val="2342841255"/>
                    </a:ext>
                  </a:extLst>
                </a:gridCol>
                <a:gridCol w="1295060">
                  <a:extLst>
                    <a:ext uri="{9D8B030D-6E8A-4147-A177-3AD203B41FA5}">
                      <a16:colId xmlns:a16="http://schemas.microsoft.com/office/drawing/2014/main" val="1336055313"/>
                    </a:ext>
                  </a:extLst>
                </a:gridCol>
                <a:gridCol w="1295060">
                  <a:extLst>
                    <a:ext uri="{9D8B030D-6E8A-4147-A177-3AD203B41FA5}">
                      <a16:colId xmlns:a16="http://schemas.microsoft.com/office/drawing/2014/main" val="481471067"/>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hin</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akeawa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Snacking</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eep</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ietar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6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Goodfella’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3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4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7609235"/>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Chicago Town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96994351"/>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Dr Oetker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5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Gigantic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8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1102018"/>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201248186"/>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EEAFD28-7A86-D661-445F-8A87117C4D5F}"/>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BEEAFD28-7A86-D661-445F-8A87117C4D5F}"/>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AE6370A-FCC9-0DD3-BA63-97C29F486F85}"/>
              </a:ext>
            </a:extLst>
          </p:cNvPr>
          <p:cNvSpPr>
            <a:spLocks noGrp="1"/>
          </p:cNvSpPr>
          <p:nvPr>
            <p:ph type="dt" sz="half" idx="14"/>
          </p:nvPr>
        </p:nvSpPr>
        <p:spPr>
          <a:xfrm>
            <a:off x="8082390" y="4972050"/>
            <a:ext cx="557609" cy="171450"/>
          </a:xfrm>
        </p:spPr>
        <p:txBody>
          <a:bodyPr/>
          <a:lstStyle/>
          <a:p>
            <a:fld id="{137A5A6B-1D04-4253-BE52-9327F172A452}" type="datetime1">
              <a:rPr lang="en-US"/>
              <a:pPr/>
              <a:t>8/10/2025</a:t>
            </a:fld>
            <a:endParaRPr lang="en-US"/>
          </a:p>
        </p:txBody>
      </p:sp>
      <p:sp>
        <p:nvSpPr>
          <p:cNvPr id="4" name="Footer Placeholder 3">
            <a:extLst>
              <a:ext uri="{FF2B5EF4-FFF2-40B4-BE49-F238E27FC236}">
                <a16:creationId xmlns:a16="http://schemas.microsoft.com/office/drawing/2014/main" id="{A2832584-706C-4382-AF50-0823DF5C2D22}"/>
              </a:ext>
            </a:extLst>
          </p:cNvPr>
          <p:cNvSpPr>
            <a:spLocks noGrp="1"/>
          </p:cNvSpPr>
          <p:nvPr>
            <p:ph type="ftr" sz="quarter" idx="15"/>
          </p:nvPr>
        </p:nvSpPr>
        <p:spPr>
          <a:xfrm>
            <a:off x="546969" y="4970700"/>
            <a:ext cx="6451742" cy="174151"/>
          </a:xfrm>
        </p:spPr>
        <p:txBody>
          <a:bodyPr/>
          <a:lstStyle/>
          <a:p>
            <a:endParaRPr lang="en-US"/>
          </a:p>
        </p:txBody>
      </p:sp>
      <p:sp>
        <p:nvSpPr>
          <p:cNvPr id="3" name="Slide Number Placeholder 2">
            <a:extLst>
              <a:ext uri="{FF2B5EF4-FFF2-40B4-BE49-F238E27FC236}">
                <a16:creationId xmlns:a16="http://schemas.microsoft.com/office/drawing/2014/main" id="{C38F0F28-1A01-6874-5418-B8FD2F31AB6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1</a:t>
            </a:fld>
            <a:endParaRPr lang="en-US"/>
          </a:p>
        </p:txBody>
      </p:sp>
      <p:sp>
        <p:nvSpPr>
          <p:cNvPr id="5" name="Text Placeholder 4">
            <a:extLst>
              <a:ext uri="{FF2B5EF4-FFF2-40B4-BE49-F238E27FC236}">
                <a16:creationId xmlns:a16="http://schemas.microsoft.com/office/drawing/2014/main" id="{E7922D6F-A446-8634-C351-325C82E3E207}"/>
              </a:ext>
            </a:extLst>
          </p:cNvPr>
          <p:cNvSpPr>
            <a:spLocks noGrp="1"/>
          </p:cNvSpPr>
          <p:nvPr>
            <p:ph type="body" sz="quarter" idx="17"/>
          </p:nvPr>
        </p:nvSpPr>
        <p:spPr>
          <a:xfrm>
            <a:off x="0" y="4734106"/>
            <a:ext cx="4572000" cy="222878"/>
          </a:xfrm>
        </p:spPr>
        <p:txBody>
          <a:bodyPr/>
          <a:lstStyle/>
          <a:p>
            <a:r>
              <a:rPr lang="en-US"/>
              <a:t>DATA SOURCE: Trade Panel/Retailer Data | Ending Dec 2022</a:t>
            </a:r>
            <a:endParaRPr lang="da-DK"/>
          </a:p>
        </p:txBody>
      </p:sp>
      <p:sp>
        <p:nvSpPr>
          <p:cNvPr id="6" name="Text Placeholder 5">
            <a:extLst>
              <a:ext uri="{FF2B5EF4-FFF2-40B4-BE49-F238E27FC236}">
                <a16:creationId xmlns:a16="http://schemas.microsoft.com/office/drawing/2014/main" id="{117FAC48-0BC8-9EEF-704E-B6A60F125B14}"/>
              </a:ext>
            </a:extLst>
          </p:cNvPr>
          <p:cNvSpPr>
            <a:spLocks noGrp="1"/>
          </p:cNvSpPr>
          <p:nvPr>
            <p:ph type="body" sz="quarter" idx="18"/>
          </p:nvPr>
        </p:nvSpPr>
        <p:spPr>
          <a:xfrm>
            <a:off x="503238" y="774000"/>
            <a:ext cx="8136762" cy="360000"/>
          </a:xfrm>
        </p:spPr>
        <p:txBody>
          <a:bodyPr lIns="91440" tIns="45720" rIns="91440" bIns="45720" anchor="t"/>
          <a:lstStyle/>
          <a:p>
            <a:r>
              <a:rPr lang="en-US" dirty="0"/>
              <a:t>Volume sold on deal Summary | By Brand | By Sector | Category | National | P12M</a:t>
            </a:r>
            <a:endParaRPr lang="en-AE" dirty="0"/>
          </a:p>
        </p:txBody>
      </p:sp>
      <p:sp>
        <p:nvSpPr>
          <p:cNvPr id="7" name="Title 6">
            <a:extLst>
              <a:ext uri="{FF2B5EF4-FFF2-40B4-BE49-F238E27FC236}">
                <a16:creationId xmlns:a16="http://schemas.microsoft.com/office/drawing/2014/main" id="{2681A043-873B-7332-A980-7DB230DD3689}"/>
              </a:ext>
            </a:extLst>
          </p:cNvPr>
          <p:cNvSpPr>
            <a:spLocks noGrp="1"/>
          </p:cNvSpPr>
          <p:nvPr>
            <p:ph type="title"/>
          </p:nvPr>
        </p:nvSpPr>
        <p:spPr>
          <a:xfrm>
            <a:off x="504000" y="-1"/>
            <a:ext cx="8136000" cy="771525"/>
          </a:xfrm>
          <a:noFill/>
        </p:spPr>
        <p:txBody>
          <a:bodyPr vert="horz" lIns="91440" tIns="45720" rIns="91440" bIns="45720" anchor="b"/>
          <a:lstStyle/>
          <a:p>
            <a:r>
              <a:rPr lang="en-US" dirty="0">
                <a:highlight>
                  <a:srgbClr val="FFFF00"/>
                </a:highlight>
              </a:rPr>
              <a:t>VSOD Summary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9" name="T1">
            <a:extLst>
              <a:ext uri="{FF2B5EF4-FFF2-40B4-BE49-F238E27FC236}">
                <a16:creationId xmlns:a16="http://schemas.microsoft.com/office/drawing/2014/main" id="{7108F197-7AB0-011A-C04E-4916F0733682}"/>
              </a:ext>
            </a:extLst>
          </p:cNvPr>
          <p:cNvGraphicFramePr>
            <a:graphicFrameLocks noGrp="1"/>
          </p:cNvGraphicFramePr>
          <p:nvPr>
            <p:extLst>
              <p:ext uri="{D42A27DB-BD31-4B8C-83A1-F6EECF244321}">
                <p14:modId xmlns:p14="http://schemas.microsoft.com/office/powerpoint/2010/main" val="2570051479"/>
              </p:ext>
            </p:extLst>
          </p:nvPr>
        </p:nvGraphicFramePr>
        <p:xfrm>
          <a:off x="541080" y="1133761"/>
          <a:ext cx="8094124" cy="3801000"/>
        </p:xfrm>
        <a:graphic>
          <a:graphicData uri="http://schemas.openxmlformats.org/drawingml/2006/table">
            <a:tbl>
              <a:tblPr firstRow="1" bandRow="1">
                <a:tableStyleId>{5C22544A-7EE6-4342-B048-85BDC9FD1C3A}</a:tableStyleId>
              </a:tblPr>
              <a:tblGrid>
                <a:gridCol w="1618824">
                  <a:extLst>
                    <a:ext uri="{9D8B030D-6E8A-4147-A177-3AD203B41FA5}">
                      <a16:colId xmlns:a16="http://schemas.microsoft.com/office/drawing/2014/main" val="2374043349"/>
                    </a:ext>
                  </a:extLst>
                </a:gridCol>
                <a:gridCol w="1295060">
                  <a:extLst>
                    <a:ext uri="{9D8B030D-6E8A-4147-A177-3AD203B41FA5}">
                      <a16:colId xmlns:a16="http://schemas.microsoft.com/office/drawing/2014/main" val="8673104"/>
                    </a:ext>
                  </a:extLst>
                </a:gridCol>
                <a:gridCol w="1295060">
                  <a:extLst>
                    <a:ext uri="{9D8B030D-6E8A-4147-A177-3AD203B41FA5}">
                      <a16:colId xmlns:a16="http://schemas.microsoft.com/office/drawing/2014/main" val="1028273140"/>
                    </a:ext>
                  </a:extLst>
                </a:gridCol>
                <a:gridCol w="1295060">
                  <a:extLst>
                    <a:ext uri="{9D8B030D-6E8A-4147-A177-3AD203B41FA5}">
                      <a16:colId xmlns:a16="http://schemas.microsoft.com/office/drawing/2014/main" val="2342841255"/>
                    </a:ext>
                  </a:extLst>
                </a:gridCol>
                <a:gridCol w="1295060">
                  <a:extLst>
                    <a:ext uri="{9D8B030D-6E8A-4147-A177-3AD203B41FA5}">
                      <a16:colId xmlns:a16="http://schemas.microsoft.com/office/drawing/2014/main" val="1336055313"/>
                    </a:ext>
                  </a:extLst>
                </a:gridCol>
                <a:gridCol w="1295060">
                  <a:extLst>
                    <a:ext uri="{9D8B030D-6E8A-4147-A177-3AD203B41FA5}">
                      <a16:colId xmlns:a16="http://schemas.microsoft.com/office/drawing/2014/main" val="481471067"/>
                    </a:ext>
                  </a:extLst>
                </a:gridCol>
              </a:tblGrid>
              <a:tr h="365007">
                <a:tc>
                  <a:txBody>
                    <a:bodyPr/>
                    <a:lstStyle/>
                    <a:p>
                      <a:pPr algn="ctr"/>
                      <a:endParaRPr lang="en-US" sz="1000" b="0" i="0" kern="1200">
                        <a:solidFill>
                          <a:srgbClr val="575555"/>
                        </a:solidFill>
                        <a:latin typeface="Nexa Bold" panose="00000800000000000000" pitchFamily="2" charset="0"/>
                        <a:ea typeface="+mn-ea"/>
                        <a:cs typeface="+mn-cs"/>
                      </a:endParaRPr>
                    </a:p>
                  </a:txBody>
                  <a:tcPr marL="68580" marR="68580" marT="68580" marB="3429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hin</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Takeawa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Snacking</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eep</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1000" b="0" i="0" kern="1200">
                          <a:solidFill>
                            <a:srgbClr val="575555"/>
                          </a:solidFill>
                          <a:latin typeface="Nexa Bold" panose="00000800000000000000" pitchFamily="2" charset="0"/>
                          <a:ea typeface="+mn-ea"/>
                          <a:cs typeface="+mn-cs"/>
                        </a:rPr>
                        <a:t>Dietary</a:t>
                      </a:r>
                    </a:p>
                  </a:txBody>
                  <a:tcPr marL="4763" marR="4763" marT="4763"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Total</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55%</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6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381777">
                <a:tc>
                  <a:txBody>
                    <a:bodyPr/>
                    <a:lstStyle/>
                    <a:p>
                      <a:pPr algn="ctr" fontAlgn="b"/>
                      <a:r>
                        <a:rPr lang="en-US" sz="800" b="0" i="0" kern="1200" dirty="0">
                          <a:solidFill>
                            <a:srgbClr val="575555"/>
                          </a:solidFill>
                          <a:latin typeface="Nexa Bold" panose="00000800000000000000" pitchFamily="2" charset="0"/>
                          <a:ea typeface="+mn-ea"/>
                          <a:cs typeface="+mn-cs"/>
                        </a:rPr>
                        <a:t>Goodfella’s</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3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41%</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ld" panose="00000800000000000000" pitchFamily="2" charset="0"/>
                          <a:ea typeface="Open Sans"/>
                          <a:cs typeface="Open Sans"/>
                        </a:rPr>
                        <a:t>23%</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ld" panose="00000800000000000000" pitchFamily="2" charset="0"/>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7609235"/>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Chicago Town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6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9%</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96994351"/>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Dr Oetker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50%</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58%</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a:ln>
                            <a:noFill/>
                          </a:ln>
                          <a:solidFill>
                            <a:schemeClr val="tx1"/>
                          </a:solidFill>
                          <a:effectLst/>
                          <a:uLnTx/>
                          <a:uFillTx/>
                          <a:latin typeface="Nexa Book"/>
                          <a:ea typeface="Open Sans"/>
                          <a:cs typeface="Open Sans"/>
                        </a:rPr>
                        <a:t>42%</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81777">
                <a:tc>
                  <a:txBody>
                    <a:bodyPr/>
                    <a:lstStyle/>
                    <a:p>
                      <a:pPr algn="ctr" fontAlgn="b"/>
                      <a:r>
                        <a:rPr lang="en-US" sz="800" b="0" i="0" kern="1200">
                          <a:solidFill>
                            <a:srgbClr val="575555"/>
                          </a:solidFill>
                          <a:latin typeface="Nexa Bold" panose="00000800000000000000" pitchFamily="2" charset="0"/>
                          <a:ea typeface="+mn-ea"/>
                          <a:cs typeface="+mn-cs"/>
                        </a:rPr>
                        <a:t>Gigantic </a:t>
                      </a: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kumimoji="0" lang="en-AE" sz="800" b="0" i="0" u="none" strike="noStrike" kern="1200" cap="none" spc="0" normalizeH="0" baseline="0" dirty="0">
                          <a:ln>
                            <a:noFill/>
                          </a:ln>
                          <a:solidFill>
                            <a:schemeClr val="tx1"/>
                          </a:solidFill>
                          <a:effectLst/>
                          <a:uLnTx/>
                          <a:uFillTx/>
                          <a:latin typeface="Nexa Book"/>
                          <a:ea typeface="Open Sans"/>
                          <a:cs typeface="Open Sans"/>
                        </a:rPr>
                        <a:t>84%</a:t>
                      </a: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1102018"/>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39445379"/>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29831157"/>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66783464"/>
                  </a:ext>
                </a:extLst>
              </a:tr>
              <a:tr h="381777">
                <a:tc>
                  <a:txBody>
                    <a:bodyPr/>
                    <a:lstStyle/>
                    <a:p>
                      <a:pPr algn="ctr" fontAlgn="b"/>
                      <a:endParaRPr lang="en-US" sz="800" b="0" i="0" kern="1200" dirty="0">
                        <a:solidFill>
                          <a:srgbClr val="575555"/>
                        </a:solidFill>
                        <a:latin typeface="Nexa Bold" panose="00000800000000000000" pitchFamily="2" charset="0"/>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a:ea typeface="Open Sans"/>
                        <a:cs typeface="Open Sans"/>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kumimoji="0" lang="en-AE" sz="800" b="0" i="0" u="none" strike="noStrike" kern="1200" cap="none" spc="0" normalizeH="0" baseline="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4763" marR="4763" marT="4763"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21538582"/>
                  </a:ext>
                </a:extLst>
              </a:tr>
            </a:tbl>
          </a:graphicData>
        </a:graphic>
      </p:graphicFrame>
    </p:spTree>
    <p:extLst>
      <p:ext uri="{BB962C8B-B14F-4D97-AF65-F5344CB8AC3E}">
        <p14:creationId xmlns:p14="http://schemas.microsoft.com/office/powerpoint/2010/main" val="3602905277"/>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87921420"/>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rPr lang="en-GB"/>
              <a:t>Data Source | Trade Panel | ending Apr 22</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r>
              <a:rPr lang="en-US"/>
              <a:t>Value Uplift by brand | Category/Sector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486807">
                  <a:extLst>
                    <a:ext uri="{9D8B030D-6E8A-4147-A177-3AD203B41FA5}">
                      <a16:colId xmlns:a16="http://schemas.microsoft.com/office/drawing/2014/main" val="3095964032"/>
                    </a:ext>
                  </a:extLst>
                </a:gridCol>
                <a:gridCol w="486807">
                  <a:extLst>
                    <a:ext uri="{9D8B030D-6E8A-4147-A177-3AD203B41FA5}">
                      <a16:colId xmlns:a16="http://schemas.microsoft.com/office/drawing/2014/main" val="1492968221"/>
                    </a:ext>
                  </a:extLst>
                </a:gridCol>
                <a:gridCol w="486807">
                  <a:extLst>
                    <a:ext uri="{9D8B030D-6E8A-4147-A177-3AD203B41FA5}">
                      <a16:colId xmlns:a16="http://schemas.microsoft.com/office/drawing/2014/main" val="1388089212"/>
                    </a:ext>
                  </a:extLst>
                </a:gridCol>
                <a:gridCol w="486807">
                  <a:extLst>
                    <a:ext uri="{9D8B030D-6E8A-4147-A177-3AD203B41FA5}">
                      <a16:colId xmlns:a16="http://schemas.microsoft.com/office/drawing/2014/main" val="653198056"/>
                    </a:ext>
                  </a:extLst>
                </a:gridCol>
                <a:gridCol w="486807">
                  <a:extLst>
                    <a:ext uri="{9D8B030D-6E8A-4147-A177-3AD203B41FA5}">
                      <a16:colId xmlns:a16="http://schemas.microsoft.com/office/drawing/2014/main" val="2597698693"/>
                    </a:ext>
                  </a:extLst>
                </a:gridCol>
                <a:gridCol w="486807">
                  <a:extLst>
                    <a:ext uri="{9D8B030D-6E8A-4147-A177-3AD203B41FA5}">
                      <a16:colId xmlns:a16="http://schemas.microsoft.com/office/drawing/2014/main" val="3679993237"/>
                    </a:ext>
                  </a:extLst>
                </a:gridCol>
                <a:gridCol w="486807">
                  <a:extLst>
                    <a:ext uri="{9D8B030D-6E8A-4147-A177-3AD203B41FA5}">
                      <a16:colId xmlns:a16="http://schemas.microsoft.com/office/drawing/2014/main" val="3222933510"/>
                    </a:ext>
                  </a:extLst>
                </a:gridCol>
                <a:gridCol w="486807">
                  <a:extLst>
                    <a:ext uri="{9D8B030D-6E8A-4147-A177-3AD203B41FA5}">
                      <a16:colId xmlns:a16="http://schemas.microsoft.com/office/drawing/2014/main" val="2120373476"/>
                    </a:ext>
                  </a:extLst>
                </a:gridCol>
                <a:gridCol w="486807">
                  <a:extLst>
                    <a:ext uri="{9D8B030D-6E8A-4147-A177-3AD203B41FA5}">
                      <a16:colId xmlns:a16="http://schemas.microsoft.com/office/drawing/2014/main" val="2675510286"/>
                    </a:ext>
                  </a:extLst>
                </a:gridCol>
                <a:gridCol w="486807">
                  <a:extLst>
                    <a:ext uri="{9D8B030D-6E8A-4147-A177-3AD203B41FA5}">
                      <a16:colId xmlns:a16="http://schemas.microsoft.com/office/drawing/2014/main" val="3000440053"/>
                    </a:ext>
                  </a:extLst>
                </a:gridCol>
                <a:gridCol w="486807">
                  <a:extLst>
                    <a:ext uri="{9D8B030D-6E8A-4147-A177-3AD203B41FA5}">
                      <a16:colId xmlns:a16="http://schemas.microsoft.com/office/drawing/2014/main" val="3214997608"/>
                    </a:ext>
                  </a:extLst>
                </a:gridCol>
                <a:gridCol w="486807">
                  <a:extLst>
                    <a:ext uri="{9D8B030D-6E8A-4147-A177-3AD203B41FA5}">
                      <a16:colId xmlns:a16="http://schemas.microsoft.com/office/drawing/2014/main" val="4271382557"/>
                    </a:ext>
                  </a:extLst>
                </a:gridCol>
                <a:gridCol w="486807">
                  <a:extLst>
                    <a:ext uri="{9D8B030D-6E8A-4147-A177-3AD203B41FA5}">
                      <a16:colId xmlns:a16="http://schemas.microsoft.com/office/drawing/2014/main" val="826016986"/>
                    </a:ext>
                  </a:extLst>
                </a:gridCol>
                <a:gridCol w="486807">
                  <a:extLst>
                    <a:ext uri="{9D8B030D-6E8A-4147-A177-3AD203B41FA5}">
                      <a16:colId xmlns:a16="http://schemas.microsoft.com/office/drawing/2014/main" val="2337481629"/>
                    </a:ext>
                  </a:extLst>
                </a:gridCol>
              </a:tblGrid>
              <a:tr h="278130">
                <a:tc>
                  <a:txBody>
                    <a:bodyPr/>
                    <a:lstStyle/>
                    <a:p>
                      <a:pPr algn="ctr"/>
                      <a:r>
                        <a:rPr lang="en-US" sz="800" b="0" dirty="0">
                          <a:solidFill>
                            <a:schemeClr val="tx2"/>
                          </a:solidFill>
                          <a:latin typeface="Nexa Bold" panose="00000800000000000000" pitchFamily="2" charset="0"/>
                        </a:rPr>
                        <a:t>Carrefour</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Coop </a:t>
                      </a:r>
                      <a:r>
                        <a:rPr lang="en-US" sz="800" b="0" dirty="0" err="1">
                          <a:solidFill>
                            <a:schemeClr val="tx2"/>
                          </a:solidFill>
                          <a:latin typeface="Nexa Bold" panose="00000800000000000000" pitchFamily="2" charset="0"/>
                        </a:rPr>
                        <a:t>Alleanz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err="1">
                          <a:solidFill>
                            <a:schemeClr val="tx2"/>
                          </a:solidFill>
                          <a:latin typeface="Nexa Bold" panose="00000800000000000000" pitchFamily="2" charset="0"/>
                        </a:rPr>
                        <a:t>Esselung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Gruppo Pam</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2821983705"/>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87921420"/>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rPr lang="en-GB"/>
              <a:t>Data Source | Trade Panel | ending Apr 22</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r>
              <a:rPr lang="en-US"/>
              <a:t>Value Uplift by brand | Category/Sector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486807">
                  <a:extLst>
                    <a:ext uri="{9D8B030D-6E8A-4147-A177-3AD203B41FA5}">
                      <a16:colId xmlns:a16="http://schemas.microsoft.com/office/drawing/2014/main" val="3095964032"/>
                    </a:ext>
                  </a:extLst>
                </a:gridCol>
                <a:gridCol w="486807">
                  <a:extLst>
                    <a:ext uri="{9D8B030D-6E8A-4147-A177-3AD203B41FA5}">
                      <a16:colId xmlns:a16="http://schemas.microsoft.com/office/drawing/2014/main" val="1492968221"/>
                    </a:ext>
                  </a:extLst>
                </a:gridCol>
                <a:gridCol w="486807">
                  <a:extLst>
                    <a:ext uri="{9D8B030D-6E8A-4147-A177-3AD203B41FA5}">
                      <a16:colId xmlns:a16="http://schemas.microsoft.com/office/drawing/2014/main" val="1388089212"/>
                    </a:ext>
                  </a:extLst>
                </a:gridCol>
                <a:gridCol w="486807">
                  <a:extLst>
                    <a:ext uri="{9D8B030D-6E8A-4147-A177-3AD203B41FA5}">
                      <a16:colId xmlns:a16="http://schemas.microsoft.com/office/drawing/2014/main" val="653198056"/>
                    </a:ext>
                  </a:extLst>
                </a:gridCol>
                <a:gridCol w="486807">
                  <a:extLst>
                    <a:ext uri="{9D8B030D-6E8A-4147-A177-3AD203B41FA5}">
                      <a16:colId xmlns:a16="http://schemas.microsoft.com/office/drawing/2014/main" val="2597698693"/>
                    </a:ext>
                  </a:extLst>
                </a:gridCol>
                <a:gridCol w="486807">
                  <a:extLst>
                    <a:ext uri="{9D8B030D-6E8A-4147-A177-3AD203B41FA5}">
                      <a16:colId xmlns:a16="http://schemas.microsoft.com/office/drawing/2014/main" val="3679993237"/>
                    </a:ext>
                  </a:extLst>
                </a:gridCol>
                <a:gridCol w="486807">
                  <a:extLst>
                    <a:ext uri="{9D8B030D-6E8A-4147-A177-3AD203B41FA5}">
                      <a16:colId xmlns:a16="http://schemas.microsoft.com/office/drawing/2014/main" val="3222933510"/>
                    </a:ext>
                  </a:extLst>
                </a:gridCol>
                <a:gridCol w="486807">
                  <a:extLst>
                    <a:ext uri="{9D8B030D-6E8A-4147-A177-3AD203B41FA5}">
                      <a16:colId xmlns:a16="http://schemas.microsoft.com/office/drawing/2014/main" val="2120373476"/>
                    </a:ext>
                  </a:extLst>
                </a:gridCol>
                <a:gridCol w="486807">
                  <a:extLst>
                    <a:ext uri="{9D8B030D-6E8A-4147-A177-3AD203B41FA5}">
                      <a16:colId xmlns:a16="http://schemas.microsoft.com/office/drawing/2014/main" val="2675510286"/>
                    </a:ext>
                  </a:extLst>
                </a:gridCol>
                <a:gridCol w="486807">
                  <a:extLst>
                    <a:ext uri="{9D8B030D-6E8A-4147-A177-3AD203B41FA5}">
                      <a16:colId xmlns:a16="http://schemas.microsoft.com/office/drawing/2014/main" val="3000440053"/>
                    </a:ext>
                  </a:extLst>
                </a:gridCol>
                <a:gridCol w="486807">
                  <a:extLst>
                    <a:ext uri="{9D8B030D-6E8A-4147-A177-3AD203B41FA5}">
                      <a16:colId xmlns:a16="http://schemas.microsoft.com/office/drawing/2014/main" val="3214997608"/>
                    </a:ext>
                  </a:extLst>
                </a:gridCol>
                <a:gridCol w="486807">
                  <a:extLst>
                    <a:ext uri="{9D8B030D-6E8A-4147-A177-3AD203B41FA5}">
                      <a16:colId xmlns:a16="http://schemas.microsoft.com/office/drawing/2014/main" val="4271382557"/>
                    </a:ext>
                  </a:extLst>
                </a:gridCol>
                <a:gridCol w="486807">
                  <a:extLst>
                    <a:ext uri="{9D8B030D-6E8A-4147-A177-3AD203B41FA5}">
                      <a16:colId xmlns:a16="http://schemas.microsoft.com/office/drawing/2014/main" val="826016986"/>
                    </a:ext>
                  </a:extLst>
                </a:gridCol>
                <a:gridCol w="486807">
                  <a:extLst>
                    <a:ext uri="{9D8B030D-6E8A-4147-A177-3AD203B41FA5}">
                      <a16:colId xmlns:a16="http://schemas.microsoft.com/office/drawing/2014/main" val="2337481629"/>
                    </a:ext>
                  </a:extLst>
                </a:gridCol>
              </a:tblGrid>
              <a:tr h="278130">
                <a:tc>
                  <a:txBody>
                    <a:bodyPr/>
                    <a:lstStyle/>
                    <a:p>
                      <a:pPr algn="ctr"/>
                      <a:r>
                        <a:rPr lang="en-US" sz="800" b="0" dirty="0">
                          <a:solidFill>
                            <a:schemeClr val="tx2"/>
                          </a:solidFill>
                          <a:latin typeface="Nexa Bold" panose="00000800000000000000" pitchFamily="2" charset="0"/>
                        </a:rPr>
                        <a:t>Carrefour</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Coop </a:t>
                      </a:r>
                      <a:r>
                        <a:rPr lang="en-US" sz="800" b="0" dirty="0" err="1">
                          <a:solidFill>
                            <a:schemeClr val="tx2"/>
                          </a:solidFill>
                          <a:latin typeface="Nexa Bold" panose="00000800000000000000" pitchFamily="2" charset="0"/>
                        </a:rPr>
                        <a:t>Alleanz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err="1">
                          <a:solidFill>
                            <a:schemeClr val="tx2"/>
                          </a:solidFill>
                          <a:latin typeface="Nexa Bold" panose="00000800000000000000" pitchFamily="2" charset="0"/>
                        </a:rPr>
                        <a:t>Esselung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Gruppo Pam</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4029475823"/>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87921420"/>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rPr lang="en-GB"/>
              <a:t>Data Source | Trade Panel | ending Apr 22</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r>
              <a:rPr lang="en-US"/>
              <a:t>Value Uplift by brand | Category/Sector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486807">
                  <a:extLst>
                    <a:ext uri="{9D8B030D-6E8A-4147-A177-3AD203B41FA5}">
                      <a16:colId xmlns:a16="http://schemas.microsoft.com/office/drawing/2014/main" val="3095964032"/>
                    </a:ext>
                  </a:extLst>
                </a:gridCol>
                <a:gridCol w="486807">
                  <a:extLst>
                    <a:ext uri="{9D8B030D-6E8A-4147-A177-3AD203B41FA5}">
                      <a16:colId xmlns:a16="http://schemas.microsoft.com/office/drawing/2014/main" val="1492968221"/>
                    </a:ext>
                  </a:extLst>
                </a:gridCol>
                <a:gridCol w="486807">
                  <a:extLst>
                    <a:ext uri="{9D8B030D-6E8A-4147-A177-3AD203B41FA5}">
                      <a16:colId xmlns:a16="http://schemas.microsoft.com/office/drawing/2014/main" val="1388089212"/>
                    </a:ext>
                  </a:extLst>
                </a:gridCol>
                <a:gridCol w="486807">
                  <a:extLst>
                    <a:ext uri="{9D8B030D-6E8A-4147-A177-3AD203B41FA5}">
                      <a16:colId xmlns:a16="http://schemas.microsoft.com/office/drawing/2014/main" val="653198056"/>
                    </a:ext>
                  </a:extLst>
                </a:gridCol>
                <a:gridCol w="486807">
                  <a:extLst>
                    <a:ext uri="{9D8B030D-6E8A-4147-A177-3AD203B41FA5}">
                      <a16:colId xmlns:a16="http://schemas.microsoft.com/office/drawing/2014/main" val="2597698693"/>
                    </a:ext>
                  </a:extLst>
                </a:gridCol>
                <a:gridCol w="486807">
                  <a:extLst>
                    <a:ext uri="{9D8B030D-6E8A-4147-A177-3AD203B41FA5}">
                      <a16:colId xmlns:a16="http://schemas.microsoft.com/office/drawing/2014/main" val="3679993237"/>
                    </a:ext>
                  </a:extLst>
                </a:gridCol>
                <a:gridCol w="486807">
                  <a:extLst>
                    <a:ext uri="{9D8B030D-6E8A-4147-A177-3AD203B41FA5}">
                      <a16:colId xmlns:a16="http://schemas.microsoft.com/office/drawing/2014/main" val="3222933510"/>
                    </a:ext>
                  </a:extLst>
                </a:gridCol>
                <a:gridCol w="486807">
                  <a:extLst>
                    <a:ext uri="{9D8B030D-6E8A-4147-A177-3AD203B41FA5}">
                      <a16:colId xmlns:a16="http://schemas.microsoft.com/office/drawing/2014/main" val="2120373476"/>
                    </a:ext>
                  </a:extLst>
                </a:gridCol>
                <a:gridCol w="486807">
                  <a:extLst>
                    <a:ext uri="{9D8B030D-6E8A-4147-A177-3AD203B41FA5}">
                      <a16:colId xmlns:a16="http://schemas.microsoft.com/office/drawing/2014/main" val="2675510286"/>
                    </a:ext>
                  </a:extLst>
                </a:gridCol>
                <a:gridCol w="486807">
                  <a:extLst>
                    <a:ext uri="{9D8B030D-6E8A-4147-A177-3AD203B41FA5}">
                      <a16:colId xmlns:a16="http://schemas.microsoft.com/office/drawing/2014/main" val="3000440053"/>
                    </a:ext>
                  </a:extLst>
                </a:gridCol>
                <a:gridCol w="486807">
                  <a:extLst>
                    <a:ext uri="{9D8B030D-6E8A-4147-A177-3AD203B41FA5}">
                      <a16:colId xmlns:a16="http://schemas.microsoft.com/office/drawing/2014/main" val="3214997608"/>
                    </a:ext>
                  </a:extLst>
                </a:gridCol>
                <a:gridCol w="486807">
                  <a:extLst>
                    <a:ext uri="{9D8B030D-6E8A-4147-A177-3AD203B41FA5}">
                      <a16:colId xmlns:a16="http://schemas.microsoft.com/office/drawing/2014/main" val="4271382557"/>
                    </a:ext>
                  </a:extLst>
                </a:gridCol>
                <a:gridCol w="486807">
                  <a:extLst>
                    <a:ext uri="{9D8B030D-6E8A-4147-A177-3AD203B41FA5}">
                      <a16:colId xmlns:a16="http://schemas.microsoft.com/office/drawing/2014/main" val="826016986"/>
                    </a:ext>
                  </a:extLst>
                </a:gridCol>
                <a:gridCol w="486807">
                  <a:extLst>
                    <a:ext uri="{9D8B030D-6E8A-4147-A177-3AD203B41FA5}">
                      <a16:colId xmlns:a16="http://schemas.microsoft.com/office/drawing/2014/main" val="2337481629"/>
                    </a:ext>
                  </a:extLst>
                </a:gridCol>
              </a:tblGrid>
              <a:tr h="278130">
                <a:tc>
                  <a:txBody>
                    <a:bodyPr/>
                    <a:lstStyle/>
                    <a:p>
                      <a:pPr algn="ctr"/>
                      <a:r>
                        <a:rPr lang="en-US" sz="800" b="0" dirty="0">
                          <a:solidFill>
                            <a:schemeClr val="tx2"/>
                          </a:solidFill>
                          <a:latin typeface="Nexa Bold" panose="00000800000000000000" pitchFamily="2" charset="0"/>
                        </a:rPr>
                        <a:t>Carrefour</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Coop </a:t>
                      </a:r>
                      <a:r>
                        <a:rPr lang="en-US" sz="800" b="0" dirty="0" err="1">
                          <a:solidFill>
                            <a:schemeClr val="tx2"/>
                          </a:solidFill>
                          <a:latin typeface="Nexa Bold" panose="00000800000000000000" pitchFamily="2" charset="0"/>
                        </a:rPr>
                        <a:t>Alleanz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err="1">
                          <a:solidFill>
                            <a:schemeClr val="tx2"/>
                          </a:solidFill>
                          <a:latin typeface="Nexa Bold" panose="00000800000000000000" pitchFamily="2" charset="0"/>
                        </a:rPr>
                        <a:t>Esselung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Gruppo Pam</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2872940443"/>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87921420"/>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rPr lang="en-GB"/>
              <a:t>Data Source | Trade Panel | ending Apr 22</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r>
              <a:rPr lang="en-US"/>
              <a:t>Value Uplift by brand | Category/Sector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486807">
                  <a:extLst>
                    <a:ext uri="{9D8B030D-6E8A-4147-A177-3AD203B41FA5}">
                      <a16:colId xmlns:a16="http://schemas.microsoft.com/office/drawing/2014/main" val="3095964032"/>
                    </a:ext>
                  </a:extLst>
                </a:gridCol>
                <a:gridCol w="486807">
                  <a:extLst>
                    <a:ext uri="{9D8B030D-6E8A-4147-A177-3AD203B41FA5}">
                      <a16:colId xmlns:a16="http://schemas.microsoft.com/office/drawing/2014/main" val="1492968221"/>
                    </a:ext>
                  </a:extLst>
                </a:gridCol>
                <a:gridCol w="486807">
                  <a:extLst>
                    <a:ext uri="{9D8B030D-6E8A-4147-A177-3AD203B41FA5}">
                      <a16:colId xmlns:a16="http://schemas.microsoft.com/office/drawing/2014/main" val="1388089212"/>
                    </a:ext>
                  </a:extLst>
                </a:gridCol>
                <a:gridCol w="486807">
                  <a:extLst>
                    <a:ext uri="{9D8B030D-6E8A-4147-A177-3AD203B41FA5}">
                      <a16:colId xmlns:a16="http://schemas.microsoft.com/office/drawing/2014/main" val="653198056"/>
                    </a:ext>
                  </a:extLst>
                </a:gridCol>
                <a:gridCol w="486807">
                  <a:extLst>
                    <a:ext uri="{9D8B030D-6E8A-4147-A177-3AD203B41FA5}">
                      <a16:colId xmlns:a16="http://schemas.microsoft.com/office/drawing/2014/main" val="2597698693"/>
                    </a:ext>
                  </a:extLst>
                </a:gridCol>
                <a:gridCol w="486807">
                  <a:extLst>
                    <a:ext uri="{9D8B030D-6E8A-4147-A177-3AD203B41FA5}">
                      <a16:colId xmlns:a16="http://schemas.microsoft.com/office/drawing/2014/main" val="3679993237"/>
                    </a:ext>
                  </a:extLst>
                </a:gridCol>
                <a:gridCol w="486807">
                  <a:extLst>
                    <a:ext uri="{9D8B030D-6E8A-4147-A177-3AD203B41FA5}">
                      <a16:colId xmlns:a16="http://schemas.microsoft.com/office/drawing/2014/main" val="3222933510"/>
                    </a:ext>
                  </a:extLst>
                </a:gridCol>
                <a:gridCol w="486807">
                  <a:extLst>
                    <a:ext uri="{9D8B030D-6E8A-4147-A177-3AD203B41FA5}">
                      <a16:colId xmlns:a16="http://schemas.microsoft.com/office/drawing/2014/main" val="2120373476"/>
                    </a:ext>
                  </a:extLst>
                </a:gridCol>
                <a:gridCol w="486807">
                  <a:extLst>
                    <a:ext uri="{9D8B030D-6E8A-4147-A177-3AD203B41FA5}">
                      <a16:colId xmlns:a16="http://schemas.microsoft.com/office/drawing/2014/main" val="2675510286"/>
                    </a:ext>
                  </a:extLst>
                </a:gridCol>
                <a:gridCol w="486807">
                  <a:extLst>
                    <a:ext uri="{9D8B030D-6E8A-4147-A177-3AD203B41FA5}">
                      <a16:colId xmlns:a16="http://schemas.microsoft.com/office/drawing/2014/main" val="3000440053"/>
                    </a:ext>
                  </a:extLst>
                </a:gridCol>
                <a:gridCol w="486807">
                  <a:extLst>
                    <a:ext uri="{9D8B030D-6E8A-4147-A177-3AD203B41FA5}">
                      <a16:colId xmlns:a16="http://schemas.microsoft.com/office/drawing/2014/main" val="3214997608"/>
                    </a:ext>
                  </a:extLst>
                </a:gridCol>
                <a:gridCol w="486807">
                  <a:extLst>
                    <a:ext uri="{9D8B030D-6E8A-4147-A177-3AD203B41FA5}">
                      <a16:colId xmlns:a16="http://schemas.microsoft.com/office/drawing/2014/main" val="4271382557"/>
                    </a:ext>
                  </a:extLst>
                </a:gridCol>
                <a:gridCol w="486807">
                  <a:extLst>
                    <a:ext uri="{9D8B030D-6E8A-4147-A177-3AD203B41FA5}">
                      <a16:colId xmlns:a16="http://schemas.microsoft.com/office/drawing/2014/main" val="826016986"/>
                    </a:ext>
                  </a:extLst>
                </a:gridCol>
                <a:gridCol w="486807">
                  <a:extLst>
                    <a:ext uri="{9D8B030D-6E8A-4147-A177-3AD203B41FA5}">
                      <a16:colId xmlns:a16="http://schemas.microsoft.com/office/drawing/2014/main" val="2337481629"/>
                    </a:ext>
                  </a:extLst>
                </a:gridCol>
              </a:tblGrid>
              <a:tr h="278130">
                <a:tc>
                  <a:txBody>
                    <a:bodyPr/>
                    <a:lstStyle/>
                    <a:p>
                      <a:pPr algn="ctr"/>
                      <a:r>
                        <a:rPr lang="en-US" sz="800" b="0" dirty="0">
                          <a:solidFill>
                            <a:schemeClr val="tx2"/>
                          </a:solidFill>
                          <a:latin typeface="Nexa Bold" panose="00000800000000000000" pitchFamily="2" charset="0"/>
                        </a:rPr>
                        <a:t>Carrefour</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Coop </a:t>
                      </a:r>
                      <a:r>
                        <a:rPr lang="en-US" sz="800" b="0" dirty="0" err="1">
                          <a:solidFill>
                            <a:schemeClr val="tx2"/>
                          </a:solidFill>
                          <a:latin typeface="Nexa Bold" panose="00000800000000000000" pitchFamily="2" charset="0"/>
                        </a:rPr>
                        <a:t>Alleanz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err="1">
                          <a:solidFill>
                            <a:schemeClr val="tx2"/>
                          </a:solidFill>
                          <a:latin typeface="Nexa Bold" panose="00000800000000000000" pitchFamily="2" charset="0"/>
                        </a:rPr>
                        <a:t>Esselung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Gruppo Pam</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2127818810"/>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87921420"/>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rPr lang="en-GB"/>
              <a:t>Data Source | Trade Panel | ending Apr 22</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r>
              <a:rPr lang="en-US"/>
              <a:t>Value Uplift by brand | Category/Sector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486807">
                  <a:extLst>
                    <a:ext uri="{9D8B030D-6E8A-4147-A177-3AD203B41FA5}">
                      <a16:colId xmlns:a16="http://schemas.microsoft.com/office/drawing/2014/main" val="3095964032"/>
                    </a:ext>
                  </a:extLst>
                </a:gridCol>
                <a:gridCol w="486807">
                  <a:extLst>
                    <a:ext uri="{9D8B030D-6E8A-4147-A177-3AD203B41FA5}">
                      <a16:colId xmlns:a16="http://schemas.microsoft.com/office/drawing/2014/main" val="1492968221"/>
                    </a:ext>
                  </a:extLst>
                </a:gridCol>
                <a:gridCol w="486807">
                  <a:extLst>
                    <a:ext uri="{9D8B030D-6E8A-4147-A177-3AD203B41FA5}">
                      <a16:colId xmlns:a16="http://schemas.microsoft.com/office/drawing/2014/main" val="1388089212"/>
                    </a:ext>
                  </a:extLst>
                </a:gridCol>
                <a:gridCol w="486807">
                  <a:extLst>
                    <a:ext uri="{9D8B030D-6E8A-4147-A177-3AD203B41FA5}">
                      <a16:colId xmlns:a16="http://schemas.microsoft.com/office/drawing/2014/main" val="653198056"/>
                    </a:ext>
                  </a:extLst>
                </a:gridCol>
                <a:gridCol w="486807">
                  <a:extLst>
                    <a:ext uri="{9D8B030D-6E8A-4147-A177-3AD203B41FA5}">
                      <a16:colId xmlns:a16="http://schemas.microsoft.com/office/drawing/2014/main" val="2597698693"/>
                    </a:ext>
                  </a:extLst>
                </a:gridCol>
                <a:gridCol w="486807">
                  <a:extLst>
                    <a:ext uri="{9D8B030D-6E8A-4147-A177-3AD203B41FA5}">
                      <a16:colId xmlns:a16="http://schemas.microsoft.com/office/drawing/2014/main" val="3679993237"/>
                    </a:ext>
                  </a:extLst>
                </a:gridCol>
                <a:gridCol w="486807">
                  <a:extLst>
                    <a:ext uri="{9D8B030D-6E8A-4147-A177-3AD203B41FA5}">
                      <a16:colId xmlns:a16="http://schemas.microsoft.com/office/drawing/2014/main" val="3222933510"/>
                    </a:ext>
                  </a:extLst>
                </a:gridCol>
                <a:gridCol w="486807">
                  <a:extLst>
                    <a:ext uri="{9D8B030D-6E8A-4147-A177-3AD203B41FA5}">
                      <a16:colId xmlns:a16="http://schemas.microsoft.com/office/drawing/2014/main" val="2120373476"/>
                    </a:ext>
                  </a:extLst>
                </a:gridCol>
                <a:gridCol w="486807">
                  <a:extLst>
                    <a:ext uri="{9D8B030D-6E8A-4147-A177-3AD203B41FA5}">
                      <a16:colId xmlns:a16="http://schemas.microsoft.com/office/drawing/2014/main" val="2675510286"/>
                    </a:ext>
                  </a:extLst>
                </a:gridCol>
                <a:gridCol w="486807">
                  <a:extLst>
                    <a:ext uri="{9D8B030D-6E8A-4147-A177-3AD203B41FA5}">
                      <a16:colId xmlns:a16="http://schemas.microsoft.com/office/drawing/2014/main" val="3000440053"/>
                    </a:ext>
                  </a:extLst>
                </a:gridCol>
                <a:gridCol w="486807">
                  <a:extLst>
                    <a:ext uri="{9D8B030D-6E8A-4147-A177-3AD203B41FA5}">
                      <a16:colId xmlns:a16="http://schemas.microsoft.com/office/drawing/2014/main" val="3214997608"/>
                    </a:ext>
                  </a:extLst>
                </a:gridCol>
                <a:gridCol w="486807">
                  <a:extLst>
                    <a:ext uri="{9D8B030D-6E8A-4147-A177-3AD203B41FA5}">
                      <a16:colId xmlns:a16="http://schemas.microsoft.com/office/drawing/2014/main" val="4271382557"/>
                    </a:ext>
                  </a:extLst>
                </a:gridCol>
                <a:gridCol w="486807">
                  <a:extLst>
                    <a:ext uri="{9D8B030D-6E8A-4147-A177-3AD203B41FA5}">
                      <a16:colId xmlns:a16="http://schemas.microsoft.com/office/drawing/2014/main" val="826016986"/>
                    </a:ext>
                  </a:extLst>
                </a:gridCol>
                <a:gridCol w="486807">
                  <a:extLst>
                    <a:ext uri="{9D8B030D-6E8A-4147-A177-3AD203B41FA5}">
                      <a16:colId xmlns:a16="http://schemas.microsoft.com/office/drawing/2014/main" val="2337481629"/>
                    </a:ext>
                  </a:extLst>
                </a:gridCol>
              </a:tblGrid>
              <a:tr h="278130">
                <a:tc>
                  <a:txBody>
                    <a:bodyPr/>
                    <a:lstStyle/>
                    <a:p>
                      <a:pPr algn="ctr"/>
                      <a:r>
                        <a:rPr lang="en-US" sz="800" b="0" dirty="0">
                          <a:solidFill>
                            <a:schemeClr val="tx2"/>
                          </a:solidFill>
                          <a:latin typeface="Nexa Bold" panose="00000800000000000000" pitchFamily="2" charset="0"/>
                        </a:rPr>
                        <a:t>Carrefour</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Coop </a:t>
                      </a:r>
                      <a:r>
                        <a:rPr lang="en-US" sz="800" b="0" dirty="0" err="1">
                          <a:solidFill>
                            <a:schemeClr val="tx2"/>
                          </a:solidFill>
                          <a:latin typeface="Nexa Bold" panose="00000800000000000000" pitchFamily="2" charset="0"/>
                        </a:rPr>
                        <a:t>Alleanz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err="1">
                          <a:solidFill>
                            <a:schemeClr val="tx2"/>
                          </a:solidFill>
                          <a:latin typeface="Nexa Bold" panose="00000800000000000000" pitchFamily="2" charset="0"/>
                        </a:rPr>
                        <a:t>Esselung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Gruppo Pam</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2263889880"/>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22808FD-ACDC-CC7C-8644-923BBD07B29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222808FD-ACDC-CC7C-8644-923BBD07B29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B1FE0159-4E62-4A93-B376-F25F0DD097D3}"/>
              </a:ext>
            </a:extLst>
          </p:cNvPr>
          <p:cNvGraphicFramePr/>
          <p:nvPr>
            <p:extLst>
              <p:ext uri="{D42A27DB-BD31-4B8C-83A1-F6EECF244321}">
                <p14:modId xmlns:p14="http://schemas.microsoft.com/office/powerpoint/2010/main" val="187921420"/>
              </p:ext>
            </p:extLst>
          </p:nvPr>
        </p:nvGraphicFramePr>
        <p:xfrm>
          <a:off x="540000" y="1133639"/>
          <a:ext cx="8100000" cy="3509669"/>
        </p:xfrm>
        <a:graphic>
          <a:graphicData uri="http://schemas.openxmlformats.org/drawingml/2006/chart">
            <c:chart xmlns:c="http://schemas.openxmlformats.org/drawingml/2006/chart" xmlns:r="http://schemas.openxmlformats.org/officeDocument/2006/relationships" r:id="rId6"/>
          </a:graphicData>
        </a:graphic>
      </p:graphicFrame>
      <p:sp>
        <p:nvSpPr>
          <p:cNvPr id="18" name="Date Placeholder 17">
            <a:extLst>
              <a:ext uri="{FF2B5EF4-FFF2-40B4-BE49-F238E27FC236}">
                <a16:creationId xmlns:a16="http://schemas.microsoft.com/office/drawing/2014/main" id="{C1C06F40-5A22-69B8-A694-546E63E1BA0C}"/>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2D21337-F382-4FF4-BA40-ECEC8B4CA4A3}"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1" name="Footer Placeholder 20">
            <a:extLst>
              <a:ext uri="{FF2B5EF4-FFF2-40B4-BE49-F238E27FC236}">
                <a16:creationId xmlns:a16="http://schemas.microsoft.com/office/drawing/2014/main" id="{FBEB295B-B94A-FD99-99F9-D5E99E11858A}"/>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9" name="Slide Number Placeholder 18">
            <a:extLst>
              <a:ext uri="{FF2B5EF4-FFF2-40B4-BE49-F238E27FC236}">
                <a16:creationId xmlns:a16="http://schemas.microsoft.com/office/drawing/2014/main" id="{7E74166E-6986-24E0-FE60-F1092A45D18E}"/>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10" name="Text Placeholder 9">
            <a:extLst>
              <a:ext uri="{FF2B5EF4-FFF2-40B4-BE49-F238E27FC236}">
                <a16:creationId xmlns:a16="http://schemas.microsoft.com/office/drawing/2014/main" id="{234ADF96-6FB1-4D58-8B54-873D4F64F338}"/>
              </a:ext>
            </a:extLst>
          </p:cNvPr>
          <p:cNvSpPr>
            <a:spLocks noGrp="1"/>
          </p:cNvSpPr>
          <p:nvPr>
            <p:ph type="body" sz="quarter" idx="17"/>
          </p:nvPr>
        </p:nvSpPr>
        <p:spPr>
          <a:xfrm>
            <a:off x="0" y="4734106"/>
            <a:ext cx="4572000" cy="222878"/>
          </a:xfrm>
        </p:spPr>
        <p:txBody>
          <a:bodyPr/>
          <a:lstStyle/>
          <a:p>
            <a:r>
              <a:rPr lang="en-GB"/>
              <a:t>Data Source | Trade Panel | ending Apr 22</a:t>
            </a:r>
          </a:p>
        </p:txBody>
      </p:sp>
      <p:sp>
        <p:nvSpPr>
          <p:cNvPr id="2" name="Content Placeholder 1">
            <a:extLst>
              <a:ext uri="{FF2B5EF4-FFF2-40B4-BE49-F238E27FC236}">
                <a16:creationId xmlns:a16="http://schemas.microsoft.com/office/drawing/2014/main" id="{130C05D2-CF04-4DA4-82C4-9E265F94F028}"/>
              </a:ext>
            </a:extLst>
          </p:cNvPr>
          <p:cNvSpPr>
            <a:spLocks noGrp="1"/>
          </p:cNvSpPr>
          <p:nvPr>
            <p:ph type="body" sz="quarter" idx="18"/>
          </p:nvPr>
        </p:nvSpPr>
        <p:spPr>
          <a:xfrm>
            <a:off x="503238" y="774000"/>
            <a:ext cx="8136762" cy="360000"/>
          </a:xfrm>
        </p:spPr>
        <p:txBody>
          <a:bodyPr/>
          <a:lstStyle/>
          <a:p>
            <a:r>
              <a:rPr lang="en-US"/>
              <a:t>Value Uplift by brand | Category/Sector | P12M</a:t>
            </a:r>
          </a:p>
        </p:txBody>
      </p:sp>
      <p:sp>
        <p:nvSpPr>
          <p:cNvPr id="17" name="Title 16">
            <a:extLst>
              <a:ext uri="{FF2B5EF4-FFF2-40B4-BE49-F238E27FC236}">
                <a16:creationId xmlns:a16="http://schemas.microsoft.com/office/drawing/2014/main" id="{4F16EBB1-4C79-4A6F-8868-FA7F8505744B}"/>
              </a:ext>
            </a:extLst>
          </p:cNvPr>
          <p:cNvSpPr>
            <a:spLocks noGrp="1"/>
          </p:cNvSpPr>
          <p:nvPr>
            <p:ph type="title"/>
          </p:nvPr>
        </p:nvSpPr>
        <p:spPr>
          <a:xfrm>
            <a:off x="504000" y="-1"/>
            <a:ext cx="8136000" cy="771525"/>
          </a:xfrm>
        </p:spPr>
        <p:txBody>
          <a:bodyPr vert="horz"/>
          <a:lstStyle/>
          <a:p>
            <a:r>
              <a:rPr lang="en-US" dirty="0">
                <a:highlight>
                  <a:srgbClr val="FFFF00"/>
                </a:highlight>
              </a:rPr>
              <a:t>Value uplift by retailer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4" name="TextBox 13">
            <a:extLst>
              <a:ext uri="{FF2B5EF4-FFF2-40B4-BE49-F238E27FC236}">
                <a16:creationId xmlns:a16="http://schemas.microsoft.com/office/drawing/2014/main" id="{B849EA39-EC71-4F3C-B69E-269019A3BE69}"/>
              </a:ext>
            </a:extLst>
          </p:cNvPr>
          <p:cNvSpPr txBox="1"/>
          <p:nvPr/>
        </p:nvSpPr>
        <p:spPr>
          <a:xfrm>
            <a:off x="546969" y="1143000"/>
            <a:ext cx="2019790" cy="24622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Bubble size by Promo sales</a:t>
            </a:r>
            <a:endParaRPr kumimoji="0" lang="en-CH" sz="10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endParaRPr>
          </a:p>
        </p:txBody>
      </p:sp>
      <p:graphicFrame>
        <p:nvGraphicFramePr>
          <p:cNvPr id="5" name="Table 5">
            <a:extLst>
              <a:ext uri="{FF2B5EF4-FFF2-40B4-BE49-F238E27FC236}">
                <a16:creationId xmlns:a16="http://schemas.microsoft.com/office/drawing/2014/main" id="{5519C780-DF17-D565-38D2-E69BBF4F5C8A}"/>
              </a:ext>
            </a:extLst>
          </p:cNvPr>
          <p:cNvGraphicFramePr>
            <a:graphicFrameLocks noGrp="1"/>
          </p:cNvGraphicFramePr>
          <p:nvPr/>
        </p:nvGraphicFramePr>
        <p:xfrm>
          <a:off x="1525055" y="4454629"/>
          <a:ext cx="6815298" cy="434340"/>
        </p:xfrm>
        <a:graphic>
          <a:graphicData uri="http://schemas.openxmlformats.org/drawingml/2006/table">
            <a:tbl>
              <a:tblPr firstRow="1" bandRow="1">
                <a:tableStyleId>{5C22544A-7EE6-4342-B048-85BDC9FD1C3A}</a:tableStyleId>
              </a:tblPr>
              <a:tblGrid>
                <a:gridCol w="486807">
                  <a:extLst>
                    <a:ext uri="{9D8B030D-6E8A-4147-A177-3AD203B41FA5}">
                      <a16:colId xmlns:a16="http://schemas.microsoft.com/office/drawing/2014/main" val="3095964032"/>
                    </a:ext>
                  </a:extLst>
                </a:gridCol>
                <a:gridCol w="486807">
                  <a:extLst>
                    <a:ext uri="{9D8B030D-6E8A-4147-A177-3AD203B41FA5}">
                      <a16:colId xmlns:a16="http://schemas.microsoft.com/office/drawing/2014/main" val="1492968221"/>
                    </a:ext>
                  </a:extLst>
                </a:gridCol>
                <a:gridCol w="486807">
                  <a:extLst>
                    <a:ext uri="{9D8B030D-6E8A-4147-A177-3AD203B41FA5}">
                      <a16:colId xmlns:a16="http://schemas.microsoft.com/office/drawing/2014/main" val="1388089212"/>
                    </a:ext>
                  </a:extLst>
                </a:gridCol>
                <a:gridCol w="486807">
                  <a:extLst>
                    <a:ext uri="{9D8B030D-6E8A-4147-A177-3AD203B41FA5}">
                      <a16:colId xmlns:a16="http://schemas.microsoft.com/office/drawing/2014/main" val="653198056"/>
                    </a:ext>
                  </a:extLst>
                </a:gridCol>
                <a:gridCol w="486807">
                  <a:extLst>
                    <a:ext uri="{9D8B030D-6E8A-4147-A177-3AD203B41FA5}">
                      <a16:colId xmlns:a16="http://schemas.microsoft.com/office/drawing/2014/main" val="2597698693"/>
                    </a:ext>
                  </a:extLst>
                </a:gridCol>
                <a:gridCol w="486807">
                  <a:extLst>
                    <a:ext uri="{9D8B030D-6E8A-4147-A177-3AD203B41FA5}">
                      <a16:colId xmlns:a16="http://schemas.microsoft.com/office/drawing/2014/main" val="3679993237"/>
                    </a:ext>
                  </a:extLst>
                </a:gridCol>
                <a:gridCol w="486807">
                  <a:extLst>
                    <a:ext uri="{9D8B030D-6E8A-4147-A177-3AD203B41FA5}">
                      <a16:colId xmlns:a16="http://schemas.microsoft.com/office/drawing/2014/main" val="3222933510"/>
                    </a:ext>
                  </a:extLst>
                </a:gridCol>
                <a:gridCol w="486807">
                  <a:extLst>
                    <a:ext uri="{9D8B030D-6E8A-4147-A177-3AD203B41FA5}">
                      <a16:colId xmlns:a16="http://schemas.microsoft.com/office/drawing/2014/main" val="2120373476"/>
                    </a:ext>
                  </a:extLst>
                </a:gridCol>
                <a:gridCol w="486807">
                  <a:extLst>
                    <a:ext uri="{9D8B030D-6E8A-4147-A177-3AD203B41FA5}">
                      <a16:colId xmlns:a16="http://schemas.microsoft.com/office/drawing/2014/main" val="2675510286"/>
                    </a:ext>
                  </a:extLst>
                </a:gridCol>
                <a:gridCol w="486807">
                  <a:extLst>
                    <a:ext uri="{9D8B030D-6E8A-4147-A177-3AD203B41FA5}">
                      <a16:colId xmlns:a16="http://schemas.microsoft.com/office/drawing/2014/main" val="3000440053"/>
                    </a:ext>
                  </a:extLst>
                </a:gridCol>
                <a:gridCol w="486807">
                  <a:extLst>
                    <a:ext uri="{9D8B030D-6E8A-4147-A177-3AD203B41FA5}">
                      <a16:colId xmlns:a16="http://schemas.microsoft.com/office/drawing/2014/main" val="3214997608"/>
                    </a:ext>
                  </a:extLst>
                </a:gridCol>
                <a:gridCol w="486807">
                  <a:extLst>
                    <a:ext uri="{9D8B030D-6E8A-4147-A177-3AD203B41FA5}">
                      <a16:colId xmlns:a16="http://schemas.microsoft.com/office/drawing/2014/main" val="4271382557"/>
                    </a:ext>
                  </a:extLst>
                </a:gridCol>
                <a:gridCol w="486807">
                  <a:extLst>
                    <a:ext uri="{9D8B030D-6E8A-4147-A177-3AD203B41FA5}">
                      <a16:colId xmlns:a16="http://schemas.microsoft.com/office/drawing/2014/main" val="826016986"/>
                    </a:ext>
                  </a:extLst>
                </a:gridCol>
                <a:gridCol w="486807">
                  <a:extLst>
                    <a:ext uri="{9D8B030D-6E8A-4147-A177-3AD203B41FA5}">
                      <a16:colId xmlns:a16="http://schemas.microsoft.com/office/drawing/2014/main" val="2337481629"/>
                    </a:ext>
                  </a:extLst>
                </a:gridCol>
              </a:tblGrid>
              <a:tr h="278130">
                <a:tc>
                  <a:txBody>
                    <a:bodyPr/>
                    <a:lstStyle/>
                    <a:p>
                      <a:pPr algn="ctr"/>
                      <a:r>
                        <a:rPr lang="en-US" sz="800" b="0" dirty="0">
                          <a:solidFill>
                            <a:schemeClr val="tx2"/>
                          </a:solidFill>
                          <a:latin typeface="Nexa Bold" panose="00000800000000000000" pitchFamily="2" charset="0"/>
                        </a:rPr>
                        <a:t>Carrefour</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Coop </a:t>
                      </a:r>
                      <a:r>
                        <a:rPr lang="en-US" sz="800" b="0" dirty="0" err="1">
                          <a:solidFill>
                            <a:schemeClr val="tx2"/>
                          </a:solidFill>
                          <a:latin typeface="Nexa Bold" panose="00000800000000000000" pitchFamily="2" charset="0"/>
                        </a:rPr>
                        <a:t>Alleanz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err="1">
                          <a:solidFill>
                            <a:schemeClr val="tx2"/>
                          </a:solidFill>
                          <a:latin typeface="Nexa Bold" panose="00000800000000000000" pitchFamily="2" charset="0"/>
                        </a:rPr>
                        <a:t>Esselunga</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r>
                        <a:rPr lang="en-US" sz="800" b="0" dirty="0">
                          <a:solidFill>
                            <a:schemeClr val="tx2"/>
                          </a:solidFill>
                          <a:latin typeface="Nexa Bold" panose="00000800000000000000" pitchFamily="2" charset="0"/>
                        </a:rPr>
                        <a:t>Gruppo Pam</a:t>
                      </a: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tc>
                  <a:txBody>
                    <a:bodyPr/>
                    <a:lstStyle/>
                    <a:p>
                      <a:pPr algn="ctr"/>
                      <a:endParaRPr lang="en-CH" sz="800" b="0" dirty="0">
                        <a:solidFill>
                          <a:schemeClr val="tx2"/>
                        </a:solidFill>
                        <a:latin typeface="Nexa Bold" panose="00000800000000000000" pitchFamily="2" charset="0"/>
                      </a:endParaRPr>
                    </a:p>
                  </a:txBody>
                  <a:tcPr marL="68580" marR="68580" marT="34290" marB="34290" anchor="ctr">
                    <a:solidFill>
                      <a:schemeClr val="bg1">
                        <a:lumMod val="95000"/>
                      </a:schemeClr>
                    </a:solidFill>
                  </a:tcPr>
                </a:tc>
                <a:extLst>
                  <a:ext uri="{0D108BD9-81ED-4DB2-BD59-A6C34878D82A}">
                    <a16:rowId xmlns:a16="http://schemas.microsoft.com/office/drawing/2014/main" val="43767022"/>
                  </a:ext>
                </a:extLst>
              </a:tr>
            </a:tbl>
          </a:graphicData>
        </a:graphic>
      </p:graphicFrame>
    </p:spTree>
    <p:extLst>
      <p:ext uri="{BB962C8B-B14F-4D97-AF65-F5344CB8AC3E}">
        <p14:creationId xmlns:p14="http://schemas.microsoft.com/office/powerpoint/2010/main" val="2951470085"/>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8</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04205984"/>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9</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9407843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0/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rPr lang="en-US"/>
              <a:t>DATA SOURCE: Trade Panel/Retailer Data | Ending Dec 2022</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olume Uplift vs discount depth | By Product | Category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6612650"/>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0</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47993764"/>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1</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41769491"/>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2</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97720655"/>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3</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29244644"/>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4</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35134475"/>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5</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83517457"/>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6</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86293367"/>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7</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09045521"/>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8</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41788740"/>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50EA9B-6BD2-508D-A432-7B745E44F6E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0D50EA9B-6BD2-508D-A432-7B745E44F6E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0C9F4D9A-CBD0-47B0-AD87-327F50CBAAC1}" type="datetime1">
              <a:rPr lang="en-US"/>
              <a:pPr/>
              <a:t>8/10/2025</a:t>
            </a:fld>
            <a:endParaRPr lang="en-US"/>
          </a:p>
        </p:txBody>
      </p:sp>
      <p:sp>
        <p:nvSpPr>
          <p:cNvPr id="3" name="Footer Placeholder 2">
            <a:extLst>
              <a:ext uri="{FF2B5EF4-FFF2-40B4-BE49-F238E27FC236}">
                <a16:creationId xmlns:a16="http://schemas.microsoft.com/office/drawing/2014/main" id="{C1906ECE-4B8D-56CD-C8FC-76D86D5F1600}"/>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CD80F1F-6A57-C910-06F4-FFF5461431C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9</a:t>
            </a:fld>
            <a:endParaRPr lang="en-US"/>
          </a:p>
        </p:txBody>
      </p:sp>
      <p:sp>
        <p:nvSpPr>
          <p:cNvPr id="6" name="Text Placeholder 5">
            <a:extLst>
              <a:ext uri="{FF2B5EF4-FFF2-40B4-BE49-F238E27FC236}">
                <a16:creationId xmlns:a16="http://schemas.microsoft.com/office/drawing/2014/main" id="{A3A6F226-5194-4B91-9FFB-2E8248A85FCA}"/>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Promo Share vs. Fair Share | Category | National | P12M | Top Brands</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vert="horz"/>
          <a:lstStyle/>
          <a:p>
            <a:r>
              <a:rPr lang="en-US" dirty="0">
                <a:highlight>
                  <a:srgbClr val="FFFF00"/>
                </a:highlight>
              </a:rPr>
              <a:t>Promo share vs Valu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79403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Nexa Book" panose="00000400000000000000" pitchFamily="50" charset="0"/>
            </a:endParaRPr>
          </a:p>
        </p:txBody>
      </p:sp>
      <p:graphicFrame>
        <p:nvGraphicFramePr>
          <p:cNvPr id="19" name="T1">
            <a:extLst>
              <a:ext uri="{FF2B5EF4-FFF2-40B4-BE49-F238E27FC236}">
                <a16:creationId xmlns:a16="http://schemas.microsoft.com/office/drawing/2014/main" id="{CCFC28B5-F30E-413C-BDF6-2E1E3D8605E6}"/>
              </a:ext>
            </a:extLst>
          </p:cNvPr>
          <p:cNvGraphicFramePr>
            <a:graphicFrameLocks noGrp="1"/>
          </p:cNvGraphicFramePr>
          <p:nvPr>
            <p:extLst>
              <p:ext uri="{D42A27DB-BD31-4B8C-83A1-F6EECF244321}">
                <p14:modId xmlns:p14="http://schemas.microsoft.com/office/powerpoint/2010/main" val="2646206009"/>
              </p:ext>
            </p:extLst>
          </p:nvPr>
        </p:nvGraphicFramePr>
        <p:xfrm>
          <a:off x="545229" y="4511532"/>
          <a:ext cx="7646405" cy="219726"/>
        </p:xfrm>
        <a:graphic>
          <a:graphicData uri="http://schemas.openxmlformats.org/drawingml/2006/table">
            <a:tbl>
              <a:tblPr firstRow="1" bandRow="1">
                <a:tableStyleId>{5C22544A-7EE6-4342-B048-85BDC9FD1C3A}</a:tableStyleId>
              </a:tblPr>
              <a:tblGrid>
                <a:gridCol w="615605">
                  <a:extLst>
                    <a:ext uri="{9D8B030D-6E8A-4147-A177-3AD203B41FA5}">
                      <a16:colId xmlns:a16="http://schemas.microsoft.com/office/drawing/2014/main" val="3478574894"/>
                    </a:ext>
                  </a:extLst>
                </a:gridCol>
                <a:gridCol w="781200">
                  <a:extLst>
                    <a:ext uri="{9D8B030D-6E8A-4147-A177-3AD203B41FA5}">
                      <a16:colId xmlns:a16="http://schemas.microsoft.com/office/drawing/2014/main" val="2451050549"/>
                    </a:ext>
                  </a:extLst>
                </a:gridCol>
                <a:gridCol w="781200">
                  <a:extLst>
                    <a:ext uri="{9D8B030D-6E8A-4147-A177-3AD203B41FA5}">
                      <a16:colId xmlns:a16="http://schemas.microsoft.com/office/drawing/2014/main" val="3743842659"/>
                    </a:ext>
                  </a:extLst>
                </a:gridCol>
                <a:gridCol w="781200">
                  <a:extLst>
                    <a:ext uri="{9D8B030D-6E8A-4147-A177-3AD203B41FA5}">
                      <a16:colId xmlns:a16="http://schemas.microsoft.com/office/drawing/2014/main" val="1716960848"/>
                    </a:ext>
                  </a:extLst>
                </a:gridCol>
                <a:gridCol w="781200">
                  <a:extLst>
                    <a:ext uri="{9D8B030D-6E8A-4147-A177-3AD203B41FA5}">
                      <a16:colId xmlns:a16="http://schemas.microsoft.com/office/drawing/2014/main" val="4242029335"/>
                    </a:ext>
                  </a:extLst>
                </a:gridCol>
                <a:gridCol w="781200">
                  <a:extLst>
                    <a:ext uri="{9D8B030D-6E8A-4147-A177-3AD203B41FA5}">
                      <a16:colId xmlns:a16="http://schemas.microsoft.com/office/drawing/2014/main" val="634327948"/>
                    </a:ext>
                  </a:extLst>
                </a:gridCol>
                <a:gridCol w="781200">
                  <a:extLst>
                    <a:ext uri="{9D8B030D-6E8A-4147-A177-3AD203B41FA5}">
                      <a16:colId xmlns:a16="http://schemas.microsoft.com/office/drawing/2014/main" val="2808580565"/>
                    </a:ext>
                  </a:extLst>
                </a:gridCol>
                <a:gridCol w="781200">
                  <a:extLst>
                    <a:ext uri="{9D8B030D-6E8A-4147-A177-3AD203B41FA5}">
                      <a16:colId xmlns:a16="http://schemas.microsoft.com/office/drawing/2014/main" val="3520163122"/>
                    </a:ext>
                  </a:extLst>
                </a:gridCol>
                <a:gridCol w="781200">
                  <a:extLst>
                    <a:ext uri="{9D8B030D-6E8A-4147-A177-3AD203B41FA5}">
                      <a16:colId xmlns:a16="http://schemas.microsoft.com/office/drawing/2014/main" val="3232700978"/>
                    </a:ext>
                  </a:extLst>
                </a:gridCol>
                <a:gridCol w="781200">
                  <a:extLst>
                    <a:ext uri="{9D8B030D-6E8A-4147-A177-3AD203B41FA5}">
                      <a16:colId xmlns:a16="http://schemas.microsoft.com/office/drawing/2014/main" val="2973036456"/>
                    </a:ext>
                  </a:extLst>
                </a:gridCol>
              </a:tblGrid>
              <a:tr h="219726">
                <a:tc>
                  <a:txBody>
                    <a:bodyPr/>
                    <a:lstStyle/>
                    <a:p>
                      <a:pPr algn="ctr" fontAlgn="b"/>
                      <a:r>
                        <a:rPr lang="en-US" sz="800" b="0" i="0" u="none" strike="noStrike" dirty="0">
                          <a:solidFill>
                            <a:schemeClr val="tx2"/>
                          </a:solidFill>
                          <a:effectLst/>
                          <a:latin typeface="Nexa Bold" panose="00000800000000000000" pitchFamily="2" charset="0"/>
                        </a:rPr>
                        <a:t>Index</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1</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9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48</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9</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06</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40</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157</a:t>
                      </a:r>
                    </a:p>
                  </a:txBody>
                  <a:tcPr marL="7144" marR="7144" marT="7144" marB="0" anchor="ctr">
                    <a:solidFill>
                      <a:schemeClr val="bg1">
                        <a:lumMod val="95000"/>
                      </a:schemeClr>
                    </a:solidFill>
                  </a:tcPr>
                </a:tc>
                <a:tc>
                  <a:txBody>
                    <a:bodyPr/>
                    <a:lstStyle/>
                    <a:p>
                      <a:pPr algn="ctr" fontAlgn="b"/>
                      <a:r>
                        <a:rPr lang="en-AE" sz="800" b="0" dirty="0">
                          <a:solidFill>
                            <a:srgbClr val="575555"/>
                          </a:solidFill>
                          <a:latin typeface="Nexa Book" panose="00000400000000000000" pitchFamily="50" charset="0"/>
                        </a:rPr>
                        <a:t>65</a:t>
                      </a:r>
                    </a:p>
                  </a:txBody>
                  <a:tcPr marL="7144" marR="7144" marT="7144" marB="0" anchor="ctr">
                    <a:solidFill>
                      <a:schemeClr val="bg1">
                        <a:lumMod val="95000"/>
                      </a:schemeClr>
                    </a:solidFill>
                  </a:tcPr>
                </a:tc>
                <a:extLst>
                  <a:ext uri="{0D108BD9-81ED-4DB2-BD59-A6C34878D82A}">
                    <a16:rowId xmlns:a16="http://schemas.microsoft.com/office/drawing/2014/main" val="4044334679"/>
                  </a:ext>
                </a:extLst>
              </a:tr>
            </a:tbl>
          </a:graphicData>
        </a:graphic>
      </p:graphicFrame>
      <p:graphicFrame>
        <p:nvGraphicFramePr>
          <p:cNvPr id="22" name="C1">
            <a:extLst>
              <a:ext uri="{FF2B5EF4-FFF2-40B4-BE49-F238E27FC236}">
                <a16:creationId xmlns:a16="http://schemas.microsoft.com/office/drawing/2014/main" id="{BDCCA8F9-9B4E-4C69-981A-F30479D8A570}"/>
              </a:ext>
            </a:extLst>
          </p:cNvPr>
          <p:cNvGraphicFramePr/>
          <p:nvPr>
            <p:extLst>
              <p:ext uri="{D42A27DB-BD31-4B8C-83A1-F6EECF244321}">
                <p14:modId xmlns:p14="http://schemas.microsoft.com/office/powerpoint/2010/main" val="731844828"/>
              </p:ext>
            </p:extLst>
          </p:nvPr>
        </p:nvGraphicFramePr>
        <p:xfrm>
          <a:off x="546738" y="1140110"/>
          <a:ext cx="8096662" cy="335336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5894522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0/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rPr lang="en-US"/>
              <a:t>DATA SOURCE: Trade Panel/Retailer Data | Ending Dec 2022</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olume Uplift vs discount depth | By Product | Category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60576288"/>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272913">
                <a:tc>
                  <a:txBody>
                    <a:bodyPr/>
                    <a:lstStyle/>
                    <a:p>
                      <a:pPr algn="l" fontAlgn="b"/>
                      <a:r>
                        <a:rPr lang="en-US" sz="900" dirty="0" err="1">
                          <a:solidFill>
                            <a:srgbClr val="575555"/>
                          </a:solidFill>
                          <a:latin typeface="Nexa Bold"/>
                        </a:rPr>
                        <a:t>Arbi</a:t>
                      </a:r>
                      <a:r>
                        <a:rPr lang="en-US" sz="900" dirty="0">
                          <a:solidFill>
                            <a:srgbClr val="575555"/>
                          </a:solidFill>
                          <a:latin typeface="Nexa Bold"/>
                        </a:rPr>
                        <a:t> Dario Sp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074376805"/>
                  </a:ext>
                </a:extLst>
              </a:tr>
              <a:tr h="272913">
                <a:tc>
                  <a:txBody>
                    <a:bodyPr/>
                    <a:lstStyle/>
                    <a:p>
                      <a:pPr algn="l" fontAlgn="b"/>
                      <a:r>
                        <a:rPr lang="en-US" sz="900" dirty="0">
                          <a:solidFill>
                            <a:srgbClr val="575555"/>
                          </a:solidFill>
                          <a:latin typeface="Nexa Bold"/>
                        </a:rPr>
                        <a:t>Esca </a:t>
                      </a:r>
                      <a:r>
                        <a:rPr lang="en-US" sz="900" dirty="0" err="1">
                          <a:solidFill>
                            <a:srgbClr val="575555"/>
                          </a:solidFill>
                          <a:latin typeface="Nexa Bold"/>
                        </a:rPr>
                        <a:t>Srl</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335245974"/>
                  </a:ext>
                </a:extLst>
              </a:tr>
              <a:tr h="272913">
                <a:tc>
                  <a:txBody>
                    <a:bodyPr/>
                    <a:lstStyle/>
                    <a:p>
                      <a:pPr algn="l" fontAlgn="b"/>
                      <a:r>
                        <a:rPr lang="en-US" sz="900" dirty="0">
                          <a:solidFill>
                            <a:srgbClr val="575555"/>
                          </a:solidFill>
                          <a:latin typeface="Nexa Bold"/>
                        </a:rPr>
                        <a:t>Findu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967797037"/>
                  </a:ext>
                </a:extLst>
              </a:tr>
              <a:tr h="272913">
                <a:tc>
                  <a:txBody>
                    <a:bodyPr/>
                    <a:lstStyle/>
                    <a:p>
                      <a:pPr algn="l" fontAlgn="b"/>
                      <a:r>
                        <a:rPr lang="en-US" sz="900" dirty="0" err="1">
                          <a:solidFill>
                            <a:srgbClr val="575555"/>
                          </a:solidFill>
                          <a:latin typeface="Nexa Bold"/>
                        </a:rPr>
                        <a:t>Frost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272913">
                <a:tc>
                  <a:txBody>
                    <a:bodyPr/>
                    <a:lstStyle/>
                    <a:p>
                      <a:pPr algn="l" fontAlgn="b"/>
                      <a:r>
                        <a:rPr lang="en-US" sz="900" dirty="0" err="1">
                          <a:solidFill>
                            <a:srgbClr val="575555"/>
                          </a:solidFill>
                          <a:latin typeface="Nexa Bold"/>
                        </a:rPr>
                        <a:t>Krusta</a:t>
                      </a:r>
                      <a:r>
                        <a:rPr lang="en-US" sz="900" dirty="0">
                          <a:solidFill>
                            <a:srgbClr val="575555"/>
                          </a:solidFill>
                          <a:latin typeface="Nexa Bold"/>
                        </a:rPr>
                        <a:t> Group</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272913">
                <a:tc>
                  <a:txBody>
                    <a:bodyPr/>
                    <a:lstStyle/>
                    <a:p>
                      <a:pPr algn="l" fontAlgn="b"/>
                      <a:r>
                        <a:rPr lang="en-US" sz="900" dirty="0">
                          <a:solidFill>
                            <a:srgbClr val="575555"/>
                          </a:solidFill>
                          <a:latin typeface="Nexa Bold"/>
                        </a:rPr>
                        <a:t>New Foo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272913">
                <a:tc>
                  <a:txBody>
                    <a:bodyPr/>
                    <a:lstStyle/>
                    <a:p>
                      <a:pPr algn="l" fontAlgn="b"/>
                      <a:r>
                        <a:rPr lang="en-US" sz="900" dirty="0" err="1">
                          <a:solidFill>
                            <a:srgbClr val="575555"/>
                          </a:solidFill>
                          <a:latin typeface="Nexa Bold"/>
                        </a:rPr>
                        <a:t>Panapesc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272913">
                <a:tc>
                  <a:txBody>
                    <a:bodyPr/>
                    <a:lstStyle/>
                    <a:p>
                      <a:pPr algn="l" fontAlgn="b"/>
                      <a:r>
                        <a:rPr lang="en-US" sz="900" dirty="0" err="1">
                          <a:solidFill>
                            <a:srgbClr val="575555"/>
                          </a:solidFill>
                          <a:latin typeface="Nexa Bold"/>
                        </a:rPr>
                        <a:t>Pescanova</a:t>
                      </a:r>
                      <a:r>
                        <a:rPr lang="en-US" sz="900" dirty="0">
                          <a:solidFill>
                            <a:srgbClr val="575555"/>
                          </a:solidFill>
                          <a:latin typeface="Nexa Bold"/>
                        </a:rPr>
                        <a:t> S.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272913">
                <a:tc>
                  <a:txBody>
                    <a:bodyPr/>
                    <a:lstStyle/>
                    <a:p>
                      <a:pPr algn="l" fontAlgn="b"/>
                      <a:r>
                        <a:rPr lang="en-US" sz="900" dirty="0">
                          <a:solidFill>
                            <a:srgbClr val="575555"/>
                          </a:solidFill>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272913">
                <a:tc>
                  <a:txBody>
                    <a:bodyPr/>
                    <a:lstStyle/>
                    <a:p>
                      <a:pPr algn="l" fontAlgn="b"/>
                      <a:r>
                        <a:rPr lang="en-US" sz="900" dirty="0">
                          <a:solidFill>
                            <a:srgbClr val="575555"/>
                          </a:solidFill>
                          <a:latin typeface="Nexa Bold"/>
                        </a:rPr>
                        <a:t>Pricing 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0/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0</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a:t>% Promo sales by total siz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328829115"/>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272913">
                <a:tc>
                  <a:txBody>
                    <a:bodyPr/>
                    <a:lstStyle/>
                    <a:p>
                      <a:pPr algn="l" fontAlgn="b"/>
                      <a:r>
                        <a:rPr lang="en-US" sz="900" dirty="0" err="1">
                          <a:solidFill>
                            <a:srgbClr val="575555"/>
                          </a:solidFill>
                          <a:latin typeface="Nexa Bold"/>
                        </a:rPr>
                        <a:t>Arbi</a:t>
                      </a:r>
                      <a:r>
                        <a:rPr lang="en-US" sz="900" dirty="0">
                          <a:solidFill>
                            <a:srgbClr val="575555"/>
                          </a:solidFill>
                          <a:latin typeface="Nexa Bold"/>
                        </a:rPr>
                        <a:t> Dario Sp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074376805"/>
                  </a:ext>
                </a:extLst>
              </a:tr>
              <a:tr h="272913">
                <a:tc>
                  <a:txBody>
                    <a:bodyPr/>
                    <a:lstStyle/>
                    <a:p>
                      <a:pPr algn="l" fontAlgn="b"/>
                      <a:r>
                        <a:rPr lang="en-US" sz="900" dirty="0">
                          <a:solidFill>
                            <a:srgbClr val="575555"/>
                          </a:solidFill>
                          <a:latin typeface="Nexa Bold"/>
                        </a:rPr>
                        <a:t>Esca </a:t>
                      </a:r>
                      <a:r>
                        <a:rPr lang="en-US" sz="900" dirty="0" err="1">
                          <a:solidFill>
                            <a:srgbClr val="575555"/>
                          </a:solidFill>
                          <a:latin typeface="Nexa Bold"/>
                        </a:rPr>
                        <a:t>Srl</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335245974"/>
                  </a:ext>
                </a:extLst>
              </a:tr>
              <a:tr h="272913">
                <a:tc>
                  <a:txBody>
                    <a:bodyPr/>
                    <a:lstStyle/>
                    <a:p>
                      <a:pPr algn="l" fontAlgn="b"/>
                      <a:r>
                        <a:rPr lang="en-US" sz="900" dirty="0">
                          <a:solidFill>
                            <a:srgbClr val="575555"/>
                          </a:solidFill>
                          <a:latin typeface="Nexa Bold"/>
                        </a:rPr>
                        <a:t>Findu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967797037"/>
                  </a:ext>
                </a:extLst>
              </a:tr>
              <a:tr h="272913">
                <a:tc>
                  <a:txBody>
                    <a:bodyPr/>
                    <a:lstStyle/>
                    <a:p>
                      <a:pPr algn="l" fontAlgn="b"/>
                      <a:r>
                        <a:rPr lang="en-US" sz="900" dirty="0" err="1">
                          <a:solidFill>
                            <a:srgbClr val="575555"/>
                          </a:solidFill>
                          <a:latin typeface="Nexa Bold"/>
                        </a:rPr>
                        <a:t>Frost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272913">
                <a:tc>
                  <a:txBody>
                    <a:bodyPr/>
                    <a:lstStyle/>
                    <a:p>
                      <a:pPr algn="l" fontAlgn="b"/>
                      <a:r>
                        <a:rPr lang="en-US" sz="900" dirty="0" err="1">
                          <a:solidFill>
                            <a:srgbClr val="575555"/>
                          </a:solidFill>
                          <a:latin typeface="Nexa Bold"/>
                        </a:rPr>
                        <a:t>Krusta</a:t>
                      </a:r>
                      <a:r>
                        <a:rPr lang="en-US" sz="900" dirty="0">
                          <a:solidFill>
                            <a:srgbClr val="575555"/>
                          </a:solidFill>
                          <a:latin typeface="Nexa Bold"/>
                        </a:rPr>
                        <a:t> Group</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272913">
                <a:tc>
                  <a:txBody>
                    <a:bodyPr/>
                    <a:lstStyle/>
                    <a:p>
                      <a:pPr algn="l" fontAlgn="b"/>
                      <a:r>
                        <a:rPr lang="en-US" sz="900" dirty="0">
                          <a:solidFill>
                            <a:srgbClr val="575555"/>
                          </a:solidFill>
                          <a:latin typeface="Nexa Bold"/>
                        </a:rPr>
                        <a:t>New Foo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272913">
                <a:tc>
                  <a:txBody>
                    <a:bodyPr/>
                    <a:lstStyle/>
                    <a:p>
                      <a:pPr algn="l" fontAlgn="b"/>
                      <a:r>
                        <a:rPr lang="en-US" sz="900" dirty="0" err="1">
                          <a:solidFill>
                            <a:srgbClr val="575555"/>
                          </a:solidFill>
                          <a:latin typeface="Nexa Bold"/>
                        </a:rPr>
                        <a:t>Panapesc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272913">
                <a:tc>
                  <a:txBody>
                    <a:bodyPr/>
                    <a:lstStyle/>
                    <a:p>
                      <a:pPr algn="l" fontAlgn="b"/>
                      <a:r>
                        <a:rPr lang="en-US" sz="900" dirty="0" err="1">
                          <a:solidFill>
                            <a:srgbClr val="575555"/>
                          </a:solidFill>
                          <a:latin typeface="Nexa Bold"/>
                        </a:rPr>
                        <a:t>Pescanova</a:t>
                      </a:r>
                      <a:r>
                        <a:rPr lang="en-US" sz="900" dirty="0">
                          <a:solidFill>
                            <a:srgbClr val="575555"/>
                          </a:solidFill>
                          <a:latin typeface="Nexa Bold"/>
                        </a:rPr>
                        <a:t> S.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272913">
                <a:tc>
                  <a:txBody>
                    <a:bodyPr/>
                    <a:lstStyle/>
                    <a:p>
                      <a:pPr algn="l" fontAlgn="b"/>
                      <a:r>
                        <a:rPr lang="en-US" sz="900" dirty="0">
                          <a:solidFill>
                            <a:srgbClr val="575555"/>
                          </a:solidFill>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272913">
                <a:tc>
                  <a:txBody>
                    <a:bodyPr/>
                    <a:lstStyle/>
                    <a:p>
                      <a:pPr algn="l" fontAlgn="b"/>
                      <a:r>
                        <a:rPr lang="en-US" sz="900" dirty="0">
                          <a:solidFill>
                            <a:srgbClr val="575555"/>
                          </a:solidFill>
                          <a:latin typeface="Nexa Bold"/>
                        </a:rPr>
                        <a:t>Pricing 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0/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1</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a:t>% Promo sales by total siz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4141190902"/>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272913">
                <a:tc>
                  <a:txBody>
                    <a:bodyPr/>
                    <a:lstStyle/>
                    <a:p>
                      <a:pPr algn="l" fontAlgn="b"/>
                      <a:r>
                        <a:rPr lang="en-US" sz="900" dirty="0" err="1">
                          <a:solidFill>
                            <a:srgbClr val="575555"/>
                          </a:solidFill>
                          <a:latin typeface="Nexa Bold"/>
                        </a:rPr>
                        <a:t>Arbi</a:t>
                      </a:r>
                      <a:r>
                        <a:rPr lang="en-US" sz="900" dirty="0">
                          <a:solidFill>
                            <a:srgbClr val="575555"/>
                          </a:solidFill>
                          <a:latin typeface="Nexa Bold"/>
                        </a:rPr>
                        <a:t> Dario Sp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074376805"/>
                  </a:ext>
                </a:extLst>
              </a:tr>
              <a:tr h="272913">
                <a:tc>
                  <a:txBody>
                    <a:bodyPr/>
                    <a:lstStyle/>
                    <a:p>
                      <a:pPr algn="l" fontAlgn="b"/>
                      <a:r>
                        <a:rPr lang="en-US" sz="900" dirty="0">
                          <a:solidFill>
                            <a:srgbClr val="575555"/>
                          </a:solidFill>
                          <a:latin typeface="Nexa Bold"/>
                        </a:rPr>
                        <a:t>Esca </a:t>
                      </a:r>
                      <a:r>
                        <a:rPr lang="en-US" sz="900" dirty="0" err="1">
                          <a:solidFill>
                            <a:srgbClr val="575555"/>
                          </a:solidFill>
                          <a:latin typeface="Nexa Bold"/>
                        </a:rPr>
                        <a:t>Srl</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335245974"/>
                  </a:ext>
                </a:extLst>
              </a:tr>
              <a:tr h="272913">
                <a:tc>
                  <a:txBody>
                    <a:bodyPr/>
                    <a:lstStyle/>
                    <a:p>
                      <a:pPr algn="l" fontAlgn="b"/>
                      <a:r>
                        <a:rPr lang="en-US" sz="900" dirty="0">
                          <a:solidFill>
                            <a:srgbClr val="575555"/>
                          </a:solidFill>
                          <a:latin typeface="Nexa Bold"/>
                        </a:rPr>
                        <a:t>Findu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967797037"/>
                  </a:ext>
                </a:extLst>
              </a:tr>
              <a:tr h="272913">
                <a:tc>
                  <a:txBody>
                    <a:bodyPr/>
                    <a:lstStyle/>
                    <a:p>
                      <a:pPr algn="l" fontAlgn="b"/>
                      <a:r>
                        <a:rPr lang="en-US" sz="900" dirty="0" err="1">
                          <a:solidFill>
                            <a:srgbClr val="575555"/>
                          </a:solidFill>
                          <a:latin typeface="Nexa Bold"/>
                        </a:rPr>
                        <a:t>Frost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272913">
                <a:tc>
                  <a:txBody>
                    <a:bodyPr/>
                    <a:lstStyle/>
                    <a:p>
                      <a:pPr algn="l" fontAlgn="b"/>
                      <a:r>
                        <a:rPr lang="en-US" sz="900" dirty="0" err="1">
                          <a:solidFill>
                            <a:srgbClr val="575555"/>
                          </a:solidFill>
                          <a:latin typeface="Nexa Bold"/>
                        </a:rPr>
                        <a:t>Krusta</a:t>
                      </a:r>
                      <a:r>
                        <a:rPr lang="en-US" sz="900" dirty="0">
                          <a:solidFill>
                            <a:srgbClr val="575555"/>
                          </a:solidFill>
                          <a:latin typeface="Nexa Bold"/>
                        </a:rPr>
                        <a:t> Group</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272913">
                <a:tc>
                  <a:txBody>
                    <a:bodyPr/>
                    <a:lstStyle/>
                    <a:p>
                      <a:pPr algn="l" fontAlgn="b"/>
                      <a:r>
                        <a:rPr lang="en-US" sz="900" dirty="0">
                          <a:solidFill>
                            <a:srgbClr val="575555"/>
                          </a:solidFill>
                          <a:latin typeface="Nexa Bold"/>
                        </a:rPr>
                        <a:t>New Foo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272913">
                <a:tc>
                  <a:txBody>
                    <a:bodyPr/>
                    <a:lstStyle/>
                    <a:p>
                      <a:pPr algn="l" fontAlgn="b"/>
                      <a:r>
                        <a:rPr lang="en-US" sz="900" dirty="0" err="1">
                          <a:solidFill>
                            <a:srgbClr val="575555"/>
                          </a:solidFill>
                          <a:latin typeface="Nexa Bold"/>
                        </a:rPr>
                        <a:t>Panapesc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272913">
                <a:tc>
                  <a:txBody>
                    <a:bodyPr/>
                    <a:lstStyle/>
                    <a:p>
                      <a:pPr algn="l" fontAlgn="b"/>
                      <a:r>
                        <a:rPr lang="en-US" sz="900" dirty="0" err="1">
                          <a:solidFill>
                            <a:srgbClr val="575555"/>
                          </a:solidFill>
                          <a:latin typeface="Nexa Bold"/>
                        </a:rPr>
                        <a:t>Pescanova</a:t>
                      </a:r>
                      <a:r>
                        <a:rPr lang="en-US" sz="900" dirty="0">
                          <a:solidFill>
                            <a:srgbClr val="575555"/>
                          </a:solidFill>
                          <a:latin typeface="Nexa Bold"/>
                        </a:rPr>
                        <a:t> S.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272913">
                <a:tc>
                  <a:txBody>
                    <a:bodyPr/>
                    <a:lstStyle/>
                    <a:p>
                      <a:pPr algn="l" fontAlgn="b"/>
                      <a:r>
                        <a:rPr lang="en-US" sz="900" dirty="0">
                          <a:solidFill>
                            <a:srgbClr val="575555"/>
                          </a:solidFill>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272913">
                <a:tc>
                  <a:txBody>
                    <a:bodyPr/>
                    <a:lstStyle/>
                    <a:p>
                      <a:pPr algn="l" fontAlgn="b"/>
                      <a:r>
                        <a:rPr lang="en-US" sz="900" dirty="0">
                          <a:solidFill>
                            <a:srgbClr val="575555"/>
                          </a:solidFill>
                          <a:latin typeface="Nexa Bold"/>
                        </a:rPr>
                        <a:t>Pricing 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0/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2</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a:t>% Promo sales by total siz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3716977428"/>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272913">
                <a:tc>
                  <a:txBody>
                    <a:bodyPr/>
                    <a:lstStyle/>
                    <a:p>
                      <a:pPr algn="l" fontAlgn="b"/>
                      <a:r>
                        <a:rPr lang="en-US" sz="900" dirty="0" err="1">
                          <a:solidFill>
                            <a:srgbClr val="575555"/>
                          </a:solidFill>
                          <a:latin typeface="Nexa Bold"/>
                        </a:rPr>
                        <a:t>Arbi</a:t>
                      </a:r>
                      <a:r>
                        <a:rPr lang="en-US" sz="900" dirty="0">
                          <a:solidFill>
                            <a:srgbClr val="575555"/>
                          </a:solidFill>
                          <a:latin typeface="Nexa Bold"/>
                        </a:rPr>
                        <a:t> Dario Sp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074376805"/>
                  </a:ext>
                </a:extLst>
              </a:tr>
              <a:tr h="272913">
                <a:tc>
                  <a:txBody>
                    <a:bodyPr/>
                    <a:lstStyle/>
                    <a:p>
                      <a:pPr algn="l" fontAlgn="b"/>
                      <a:r>
                        <a:rPr lang="en-US" sz="900" dirty="0">
                          <a:solidFill>
                            <a:srgbClr val="575555"/>
                          </a:solidFill>
                          <a:latin typeface="Nexa Bold"/>
                        </a:rPr>
                        <a:t>Esca </a:t>
                      </a:r>
                      <a:r>
                        <a:rPr lang="en-US" sz="900" dirty="0" err="1">
                          <a:solidFill>
                            <a:srgbClr val="575555"/>
                          </a:solidFill>
                          <a:latin typeface="Nexa Bold"/>
                        </a:rPr>
                        <a:t>Srl</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335245974"/>
                  </a:ext>
                </a:extLst>
              </a:tr>
              <a:tr h="272913">
                <a:tc>
                  <a:txBody>
                    <a:bodyPr/>
                    <a:lstStyle/>
                    <a:p>
                      <a:pPr algn="l" fontAlgn="b"/>
                      <a:r>
                        <a:rPr lang="en-US" sz="900" dirty="0">
                          <a:solidFill>
                            <a:srgbClr val="575555"/>
                          </a:solidFill>
                          <a:latin typeface="Nexa Bold"/>
                        </a:rPr>
                        <a:t>Findu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967797037"/>
                  </a:ext>
                </a:extLst>
              </a:tr>
              <a:tr h="272913">
                <a:tc>
                  <a:txBody>
                    <a:bodyPr/>
                    <a:lstStyle/>
                    <a:p>
                      <a:pPr algn="l" fontAlgn="b"/>
                      <a:r>
                        <a:rPr lang="en-US" sz="900" dirty="0" err="1">
                          <a:solidFill>
                            <a:srgbClr val="575555"/>
                          </a:solidFill>
                          <a:latin typeface="Nexa Bold"/>
                        </a:rPr>
                        <a:t>Frost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272913">
                <a:tc>
                  <a:txBody>
                    <a:bodyPr/>
                    <a:lstStyle/>
                    <a:p>
                      <a:pPr algn="l" fontAlgn="b"/>
                      <a:r>
                        <a:rPr lang="en-US" sz="900" dirty="0" err="1">
                          <a:solidFill>
                            <a:srgbClr val="575555"/>
                          </a:solidFill>
                          <a:latin typeface="Nexa Bold"/>
                        </a:rPr>
                        <a:t>Krusta</a:t>
                      </a:r>
                      <a:r>
                        <a:rPr lang="en-US" sz="900" dirty="0">
                          <a:solidFill>
                            <a:srgbClr val="575555"/>
                          </a:solidFill>
                          <a:latin typeface="Nexa Bold"/>
                        </a:rPr>
                        <a:t> Group</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272913">
                <a:tc>
                  <a:txBody>
                    <a:bodyPr/>
                    <a:lstStyle/>
                    <a:p>
                      <a:pPr algn="l" fontAlgn="b"/>
                      <a:r>
                        <a:rPr lang="en-US" sz="900" dirty="0">
                          <a:solidFill>
                            <a:srgbClr val="575555"/>
                          </a:solidFill>
                          <a:latin typeface="Nexa Bold"/>
                        </a:rPr>
                        <a:t>New Foo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272913">
                <a:tc>
                  <a:txBody>
                    <a:bodyPr/>
                    <a:lstStyle/>
                    <a:p>
                      <a:pPr algn="l" fontAlgn="b"/>
                      <a:r>
                        <a:rPr lang="en-US" sz="900" dirty="0" err="1">
                          <a:solidFill>
                            <a:srgbClr val="575555"/>
                          </a:solidFill>
                          <a:latin typeface="Nexa Bold"/>
                        </a:rPr>
                        <a:t>Panapesc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272913">
                <a:tc>
                  <a:txBody>
                    <a:bodyPr/>
                    <a:lstStyle/>
                    <a:p>
                      <a:pPr algn="l" fontAlgn="b"/>
                      <a:r>
                        <a:rPr lang="en-US" sz="900" dirty="0" err="1">
                          <a:solidFill>
                            <a:srgbClr val="575555"/>
                          </a:solidFill>
                          <a:latin typeface="Nexa Bold"/>
                        </a:rPr>
                        <a:t>Pescanova</a:t>
                      </a:r>
                      <a:r>
                        <a:rPr lang="en-US" sz="900" dirty="0">
                          <a:solidFill>
                            <a:srgbClr val="575555"/>
                          </a:solidFill>
                          <a:latin typeface="Nexa Bold"/>
                        </a:rPr>
                        <a:t> S.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272913">
                <a:tc>
                  <a:txBody>
                    <a:bodyPr/>
                    <a:lstStyle/>
                    <a:p>
                      <a:pPr algn="l" fontAlgn="b"/>
                      <a:r>
                        <a:rPr lang="en-US" sz="900" dirty="0">
                          <a:solidFill>
                            <a:srgbClr val="575555"/>
                          </a:solidFill>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272913">
                <a:tc>
                  <a:txBody>
                    <a:bodyPr/>
                    <a:lstStyle/>
                    <a:p>
                      <a:pPr algn="l" fontAlgn="b"/>
                      <a:r>
                        <a:rPr lang="en-US" sz="900" dirty="0">
                          <a:solidFill>
                            <a:srgbClr val="575555"/>
                          </a:solidFill>
                          <a:latin typeface="Nexa Bold"/>
                        </a:rPr>
                        <a:t>Pricing 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0/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3</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a:t>% Promo sales by total siz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185613842"/>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272913">
                <a:tc>
                  <a:txBody>
                    <a:bodyPr/>
                    <a:lstStyle/>
                    <a:p>
                      <a:pPr algn="l" fontAlgn="b"/>
                      <a:r>
                        <a:rPr lang="en-US" sz="900" dirty="0" err="1">
                          <a:solidFill>
                            <a:srgbClr val="575555"/>
                          </a:solidFill>
                          <a:latin typeface="Nexa Bold"/>
                        </a:rPr>
                        <a:t>Arbi</a:t>
                      </a:r>
                      <a:r>
                        <a:rPr lang="en-US" sz="900" dirty="0">
                          <a:solidFill>
                            <a:srgbClr val="575555"/>
                          </a:solidFill>
                          <a:latin typeface="Nexa Bold"/>
                        </a:rPr>
                        <a:t> Dario Sp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074376805"/>
                  </a:ext>
                </a:extLst>
              </a:tr>
              <a:tr h="272913">
                <a:tc>
                  <a:txBody>
                    <a:bodyPr/>
                    <a:lstStyle/>
                    <a:p>
                      <a:pPr algn="l" fontAlgn="b"/>
                      <a:r>
                        <a:rPr lang="en-US" sz="900" dirty="0">
                          <a:solidFill>
                            <a:srgbClr val="575555"/>
                          </a:solidFill>
                          <a:latin typeface="Nexa Bold"/>
                        </a:rPr>
                        <a:t>Esca </a:t>
                      </a:r>
                      <a:r>
                        <a:rPr lang="en-US" sz="900" dirty="0" err="1">
                          <a:solidFill>
                            <a:srgbClr val="575555"/>
                          </a:solidFill>
                          <a:latin typeface="Nexa Bold"/>
                        </a:rPr>
                        <a:t>Srl</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335245974"/>
                  </a:ext>
                </a:extLst>
              </a:tr>
              <a:tr h="272913">
                <a:tc>
                  <a:txBody>
                    <a:bodyPr/>
                    <a:lstStyle/>
                    <a:p>
                      <a:pPr algn="l" fontAlgn="b"/>
                      <a:r>
                        <a:rPr lang="en-US" sz="900" dirty="0">
                          <a:solidFill>
                            <a:srgbClr val="575555"/>
                          </a:solidFill>
                          <a:latin typeface="Nexa Bold"/>
                        </a:rPr>
                        <a:t>Findu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967797037"/>
                  </a:ext>
                </a:extLst>
              </a:tr>
              <a:tr h="272913">
                <a:tc>
                  <a:txBody>
                    <a:bodyPr/>
                    <a:lstStyle/>
                    <a:p>
                      <a:pPr algn="l" fontAlgn="b"/>
                      <a:r>
                        <a:rPr lang="en-US" sz="900" dirty="0" err="1">
                          <a:solidFill>
                            <a:srgbClr val="575555"/>
                          </a:solidFill>
                          <a:latin typeface="Nexa Bold"/>
                        </a:rPr>
                        <a:t>Frost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272913">
                <a:tc>
                  <a:txBody>
                    <a:bodyPr/>
                    <a:lstStyle/>
                    <a:p>
                      <a:pPr algn="l" fontAlgn="b"/>
                      <a:r>
                        <a:rPr lang="en-US" sz="900" dirty="0" err="1">
                          <a:solidFill>
                            <a:srgbClr val="575555"/>
                          </a:solidFill>
                          <a:latin typeface="Nexa Bold"/>
                        </a:rPr>
                        <a:t>Krusta</a:t>
                      </a:r>
                      <a:r>
                        <a:rPr lang="en-US" sz="900" dirty="0">
                          <a:solidFill>
                            <a:srgbClr val="575555"/>
                          </a:solidFill>
                          <a:latin typeface="Nexa Bold"/>
                        </a:rPr>
                        <a:t> Group</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272913">
                <a:tc>
                  <a:txBody>
                    <a:bodyPr/>
                    <a:lstStyle/>
                    <a:p>
                      <a:pPr algn="l" fontAlgn="b"/>
                      <a:r>
                        <a:rPr lang="en-US" sz="900" dirty="0">
                          <a:solidFill>
                            <a:srgbClr val="575555"/>
                          </a:solidFill>
                          <a:latin typeface="Nexa Bold"/>
                        </a:rPr>
                        <a:t>New Foo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272913">
                <a:tc>
                  <a:txBody>
                    <a:bodyPr/>
                    <a:lstStyle/>
                    <a:p>
                      <a:pPr algn="l" fontAlgn="b"/>
                      <a:r>
                        <a:rPr lang="en-US" sz="900" dirty="0" err="1">
                          <a:solidFill>
                            <a:srgbClr val="575555"/>
                          </a:solidFill>
                          <a:latin typeface="Nexa Bold"/>
                        </a:rPr>
                        <a:t>Panapesc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272913">
                <a:tc>
                  <a:txBody>
                    <a:bodyPr/>
                    <a:lstStyle/>
                    <a:p>
                      <a:pPr algn="l" fontAlgn="b"/>
                      <a:r>
                        <a:rPr lang="en-US" sz="900" dirty="0" err="1">
                          <a:solidFill>
                            <a:srgbClr val="575555"/>
                          </a:solidFill>
                          <a:latin typeface="Nexa Bold"/>
                        </a:rPr>
                        <a:t>Pescanova</a:t>
                      </a:r>
                      <a:r>
                        <a:rPr lang="en-US" sz="900" dirty="0">
                          <a:solidFill>
                            <a:srgbClr val="575555"/>
                          </a:solidFill>
                          <a:latin typeface="Nexa Bold"/>
                        </a:rPr>
                        <a:t> S.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272913">
                <a:tc>
                  <a:txBody>
                    <a:bodyPr/>
                    <a:lstStyle/>
                    <a:p>
                      <a:pPr algn="l" fontAlgn="b"/>
                      <a:r>
                        <a:rPr lang="en-US" sz="900" dirty="0">
                          <a:solidFill>
                            <a:srgbClr val="575555"/>
                          </a:solidFill>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272913">
                <a:tc>
                  <a:txBody>
                    <a:bodyPr/>
                    <a:lstStyle/>
                    <a:p>
                      <a:pPr algn="l" fontAlgn="b"/>
                      <a:r>
                        <a:rPr lang="en-US" sz="900" dirty="0">
                          <a:solidFill>
                            <a:srgbClr val="575555"/>
                          </a:solidFill>
                          <a:latin typeface="Nexa Bold"/>
                        </a:rPr>
                        <a:t>Pricing 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0/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4</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a:t>% Promo sales by total siz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2564620507"/>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B0C440D-5DE6-1731-12EA-86E64505E03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CB0C440D-5DE6-1731-12EA-86E64505E03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extLst>
              <p:ext uri="{D42A27DB-BD31-4B8C-83A1-F6EECF244321}">
                <p14:modId xmlns:p14="http://schemas.microsoft.com/office/powerpoint/2010/main" val="675017810"/>
              </p:ext>
            </p:extLst>
          </p:nvPr>
        </p:nvGraphicFramePr>
        <p:xfrm>
          <a:off x="531784" y="1141199"/>
          <a:ext cx="8118506" cy="3547869"/>
        </p:xfrm>
        <a:graphic>
          <a:graphicData uri="http://schemas.openxmlformats.org/drawingml/2006/table">
            <a:tbl>
              <a:tblPr>
                <a:tableStyleId>{5C22544A-7EE6-4342-B048-85BDC9FD1C3A}</a:tableStyleId>
              </a:tblPr>
              <a:tblGrid>
                <a:gridCol w="4059253">
                  <a:extLst>
                    <a:ext uri="{9D8B030D-6E8A-4147-A177-3AD203B41FA5}">
                      <a16:colId xmlns:a16="http://schemas.microsoft.com/office/drawing/2014/main" val="1110974376"/>
                    </a:ext>
                  </a:extLst>
                </a:gridCol>
                <a:gridCol w="4059253">
                  <a:extLst>
                    <a:ext uri="{9D8B030D-6E8A-4147-A177-3AD203B41FA5}">
                      <a16:colId xmlns:a16="http://schemas.microsoft.com/office/drawing/2014/main" val="4273019362"/>
                    </a:ext>
                  </a:extLst>
                </a:gridCol>
              </a:tblGrid>
              <a:tr h="272913">
                <a:tc>
                  <a:txBody>
                    <a:bodyPr/>
                    <a:lstStyle/>
                    <a:p>
                      <a:pPr algn="l" fontAlgn="b"/>
                      <a:r>
                        <a:rPr lang="en-US" sz="900" dirty="0" err="1">
                          <a:solidFill>
                            <a:srgbClr val="575555"/>
                          </a:solidFill>
                          <a:latin typeface="Nexa Bold"/>
                        </a:rPr>
                        <a:t>Arbi</a:t>
                      </a:r>
                      <a:r>
                        <a:rPr lang="en-US" sz="900" dirty="0">
                          <a:solidFill>
                            <a:srgbClr val="575555"/>
                          </a:solidFill>
                          <a:latin typeface="Nexa Bold"/>
                        </a:rPr>
                        <a:t> Dario Sp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074376805"/>
                  </a:ext>
                </a:extLst>
              </a:tr>
              <a:tr h="272913">
                <a:tc>
                  <a:txBody>
                    <a:bodyPr/>
                    <a:lstStyle/>
                    <a:p>
                      <a:pPr algn="l" fontAlgn="b"/>
                      <a:r>
                        <a:rPr lang="en-US" sz="900" dirty="0">
                          <a:solidFill>
                            <a:srgbClr val="575555"/>
                          </a:solidFill>
                          <a:latin typeface="Nexa Bold"/>
                        </a:rPr>
                        <a:t>Esca </a:t>
                      </a:r>
                      <a:r>
                        <a:rPr lang="en-US" sz="900" dirty="0" err="1">
                          <a:solidFill>
                            <a:srgbClr val="575555"/>
                          </a:solidFill>
                          <a:latin typeface="Nexa Bold"/>
                        </a:rPr>
                        <a:t>Srl</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335245974"/>
                  </a:ext>
                </a:extLst>
              </a:tr>
              <a:tr h="272913">
                <a:tc>
                  <a:txBody>
                    <a:bodyPr/>
                    <a:lstStyle/>
                    <a:p>
                      <a:pPr algn="l" fontAlgn="b"/>
                      <a:r>
                        <a:rPr lang="en-US" sz="900" dirty="0">
                          <a:solidFill>
                            <a:srgbClr val="575555"/>
                          </a:solidFill>
                          <a:latin typeface="Nexa Bold"/>
                        </a:rPr>
                        <a:t>Findu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967797037"/>
                  </a:ext>
                </a:extLst>
              </a:tr>
              <a:tr h="272913">
                <a:tc>
                  <a:txBody>
                    <a:bodyPr/>
                    <a:lstStyle/>
                    <a:p>
                      <a:pPr algn="l" fontAlgn="b"/>
                      <a:r>
                        <a:rPr lang="en-US" sz="900" dirty="0" err="1">
                          <a:solidFill>
                            <a:srgbClr val="575555"/>
                          </a:solidFill>
                          <a:latin typeface="Nexa Bold"/>
                        </a:rPr>
                        <a:t>Frost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272913">
                <a:tc>
                  <a:txBody>
                    <a:bodyPr/>
                    <a:lstStyle/>
                    <a:p>
                      <a:pPr algn="l" fontAlgn="b"/>
                      <a:r>
                        <a:rPr lang="en-US" sz="900" dirty="0" err="1">
                          <a:solidFill>
                            <a:srgbClr val="575555"/>
                          </a:solidFill>
                          <a:latin typeface="Nexa Bold"/>
                        </a:rPr>
                        <a:t>Krusta</a:t>
                      </a:r>
                      <a:r>
                        <a:rPr lang="en-US" sz="900" dirty="0">
                          <a:solidFill>
                            <a:srgbClr val="575555"/>
                          </a:solidFill>
                          <a:latin typeface="Nexa Bold"/>
                        </a:rPr>
                        <a:t> Group</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272913">
                <a:tc>
                  <a:txBody>
                    <a:bodyPr/>
                    <a:lstStyle/>
                    <a:p>
                      <a:pPr algn="l" fontAlgn="b"/>
                      <a:r>
                        <a:rPr lang="en-US" sz="900" dirty="0">
                          <a:solidFill>
                            <a:srgbClr val="575555"/>
                          </a:solidFill>
                          <a:latin typeface="Nexa Bold"/>
                        </a:rPr>
                        <a:t>New Food</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272913">
                <a:tc>
                  <a:txBody>
                    <a:bodyPr/>
                    <a:lstStyle/>
                    <a:p>
                      <a:pPr algn="l" fontAlgn="b"/>
                      <a:r>
                        <a:rPr lang="en-US" sz="900" dirty="0" err="1">
                          <a:solidFill>
                            <a:srgbClr val="575555"/>
                          </a:solidFill>
                          <a:latin typeface="Nexa Bold"/>
                        </a:rPr>
                        <a:t>Panapesca</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272913">
                <a:tc>
                  <a:txBody>
                    <a:bodyPr/>
                    <a:lstStyle/>
                    <a:p>
                      <a:pPr algn="l" fontAlgn="b"/>
                      <a:r>
                        <a:rPr lang="en-US" sz="900" dirty="0" err="1">
                          <a:solidFill>
                            <a:srgbClr val="575555"/>
                          </a:solidFill>
                          <a:latin typeface="Nexa Bold"/>
                        </a:rPr>
                        <a:t>Pescanova</a:t>
                      </a:r>
                      <a:r>
                        <a:rPr lang="en-US" sz="900" dirty="0">
                          <a:solidFill>
                            <a:srgbClr val="575555"/>
                          </a:solidFill>
                          <a:latin typeface="Nexa Bold"/>
                        </a:rPr>
                        <a:t> S.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272913">
                <a:tc>
                  <a:txBody>
                    <a:bodyPr/>
                    <a:lstStyle/>
                    <a:p>
                      <a:pPr algn="l" fontAlgn="b"/>
                      <a:r>
                        <a:rPr lang="en-US" sz="900" dirty="0">
                          <a:solidFill>
                            <a:srgbClr val="575555"/>
                          </a:solidFill>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4</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272913">
                <a:tc>
                  <a:txBody>
                    <a:bodyPr/>
                    <a:lstStyle/>
                    <a:p>
                      <a:pPr algn="l" fontAlgn="b"/>
                      <a:r>
                        <a:rPr lang="en-US" sz="900" dirty="0">
                          <a:solidFill>
                            <a:srgbClr val="575555"/>
                          </a:solidFill>
                          <a:latin typeface="Nexa Bold"/>
                        </a:rPr>
                        <a:t>Pricing 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69008622"/>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676386527"/>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24847774"/>
                  </a:ext>
                </a:extLst>
              </a:tr>
              <a:tr h="272913">
                <a:tc>
                  <a:txBody>
                    <a:bodyPr/>
                    <a:lstStyle/>
                    <a:p>
                      <a:pPr algn="l" fontAlgn="b"/>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891455200"/>
                  </a:ext>
                </a:extLst>
              </a:tr>
            </a:tbl>
          </a:graphicData>
        </a:graphic>
      </p:graphicFrame>
      <p:sp>
        <p:nvSpPr>
          <p:cNvPr id="5" name="Date Placeholder 4">
            <a:extLst>
              <a:ext uri="{FF2B5EF4-FFF2-40B4-BE49-F238E27FC236}">
                <a16:creationId xmlns:a16="http://schemas.microsoft.com/office/drawing/2014/main" id="{561F9B51-884D-B063-B751-88CD310D3BBE}"/>
              </a:ext>
            </a:extLst>
          </p:cNvPr>
          <p:cNvSpPr>
            <a:spLocks noGrp="1"/>
          </p:cNvSpPr>
          <p:nvPr>
            <p:ph type="dt" sz="half" idx="14"/>
          </p:nvPr>
        </p:nvSpPr>
        <p:spPr>
          <a:xfrm>
            <a:off x="8082390" y="4972050"/>
            <a:ext cx="557609" cy="171450"/>
          </a:xfrm>
        </p:spPr>
        <p:txBody>
          <a:bodyPr/>
          <a:lstStyle/>
          <a:p>
            <a:fld id="{123818DD-86FD-4283-A5AB-DEB3962D420E}" type="datetime1">
              <a:rPr lang="en-US"/>
              <a:pPr/>
              <a:t>8/10/2025</a:t>
            </a:fld>
            <a:endParaRPr lang="en-US"/>
          </a:p>
        </p:txBody>
      </p:sp>
      <p:sp>
        <p:nvSpPr>
          <p:cNvPr id="9" name="Footer Placeholder 8">
            <a:extLst>
              <a:ext uri="{FF2B5EF4-FFF2-40B4-BE49-F238E27FC236}">
                <a16:creationId xmlns:a16="http://schemas.microsoft.com/office/drawing/2014/main" id="{84433F74-9D12-06E6-CFFA-4885A9DB6660}"/>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C9CD656C-3709-D9BA-E60D-38E01A7FA27F}"/>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5</a:t>
            </a:fld>
            <a:endParaRPr lang="en-US"/>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a:t>% Promo sales by total siz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r>
              <a:rPr lang="en-US" dirty="0">
                <a:highlight>
                  <a:srgbClr val="FFFF00"/>
                </a:highlight>
              </a:rPr>
              <a:t>Promo Sales by total siz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extLst>
              <p:ext uri="{D42A27DB-BD31-4B8C-83A1-F6EECF244321}">
                <p14:modId xmlns:p14="http://schemas.microsoft.com/office/powerpoint/2010/main" val="296065581"/>
              </p:ext>
            </p:extLst>
          </p:nvPr>
        </p:nvGraphicFramePr>
        <p:xfrm>
          <a:off x="1947184" y="1139486"/>
          <a:ext cx="5934074" cy="38884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áfico 578">
            <a:extLst>
              <a:ext uri="{FF2B5EF4-FFF2-40B4-BE49-F238E27FC236}">
                <a16:creationId xmlns:a16="http://schemas.microsoft.com/office/drawing/2014/main" id="{92BBFEA1-C932-4AD4-8208-857ADF939C40}"/>
              </a:ext>
            </a:extLst>
          </p:cNvPr>
          <p:cNvGrpSpPr>
            <a:grpSpLocks noChangeAspect="1"/>
          </p:cNvGrpSpPr>
          <p:nvPr/>
        </p:nvGrpSpPr>
        <p:grpSpPr>
          <a:xfrm>
            <a:off x="8676654" y="124495"/>
            <a:ext cx="296998" cy="296435"/>
            <a:chOff x="3497611" y="7266460"/>
            <a:chExt cx="6505574" cy="6493204"/>
          </a:xfrm>
          <a:solidFill>
            <a:schemeClr val="accent2"/>
          </a:solidFill>
        </p:grpSpPr>
        <p:sp>
          <p:nvSpPr>
            <p:cNvPr id="25" name="Forma libre: forma 74">
              <a:extLst>
                <a:ext uri="{FF2B5EF4-FFF2-40B4-BE49-F238E27FC236}">
                  <a16:creationId xmlns:a16="http://schemas.microsoft.com/office/drawing/2014/main" id="{3B831B75-C651-4D44-9987-C66C351BD724}"/>
                </a:ext>
              </a:extLst>
            </p:cNvPr>
            <p:cNvSpPr/>
            <p:nvPr/>
          </p:nvSpPr>
          <p:spPr>
            <a:xfrm>
              <a:off x="3497611" y="8690833"/>
              <a:ext cx="2484707" cy="5068831"/>
            </a:xfrm>
            <a:custGeom>
              <a:avLst/>
              <a:gdLst>
                <a:gd name="connsiteX0" fmla="*/ 498024 w 2484707"/>
                <a:gd name="connsiteY0" fmla="*/ 1243272 h 5068831"/>
                <a:gd name="connsiteX1" fmla="*/ 1380658 w 2484707"/>
                <a:gd name="connsiteY1" fmla="*/ 2125956 h 5068831"/>
                <a:gd name="connsiteX2" fmla="*/ 1430738 w 2484707"/>
                <a:gd name="connsiteY2" fmla="*/ 2246863 h 5068831"/>
                <a:gd name="connsiteX3" fmla="*/ 1430738 w 2484707"/>
                <a:gd name="connsiteY3" fmla="*/ 3118281 h 5068831"/>
                <a:gd name="connsiteX4" fmla="*/ 1526035 w 2484707"/>
                <a:gd name="connsiteY4" fmla="*/ 3213577 h 5068831"/>
                <a:gd name="connsiteX5" fmla="*/ 1621331 w 2484707"/>
                <a:gd name="connsiteY5" fmla="*/ 3118281 h 5068831"/>
                <a:gd name="connsiteX6" fmla="*/ 1621331 w 2484707"/>
                <a:gd name="connsiteY6" fmla="*/ 2246863 h 5068831"/>
                <a:gd name="connsiteX7" fmla="*/ 1515413 w 2484707"/>
                <a:gd name="connsiteY7" fmla="*/ 1991201 h 5068831"/>
                <a:gd name="connsiteX8" fmla="*/ 565376 w 2484707"/>
                <a:gd name="connsiteY8" fmla="*/ 1041164 h 5068831"/>
                <a:gd name="connsiteX9" fmla="*/ 430621 w 2484707"/>
                <a:gd name="connsiteY9" fmla="*/ 1041164 h 5068831"/>
                <a:gd name="connsiteX10" fmla="*/ 238291 w 2484707"/>
                <a:gd name="connsiteY10" fmla="*/ 1233445 h 5068831"/>
                <a:gd name="connsiteX11" fmla="*/ 190593 w 2484707"/>
                <a:gd name="connsiteY11" fmla="*/ 1213690 h 5068831"/>
                <a:gd name="connsiteX12" fmla="*/ 190593 w 2484707"/>
                <a:gd name="connsiteY12" fmla="*/ 252734 h 5068831"/>
                <a:gd name="connsiteX13" fmla="*/ 252685 w 2484707"/>
                <a:gd name="connsiteY13" fmla="*/ 190643 h 5068831"/>
                <a:gd name="connsiteX14" fmla="*/ 1213641 w 2484707"/>
                <a:gd name="connsiteY14" fmla="*/ 190643 h 5068831"/>
                <a:gd name="connsiteX15" fmla="*/ 1233395 w 2484707"/>
                <a:gd name="connsiteY15" fmla="*/ 238341 h 5068831"/>
                <a:gd name="connsiteX16" fmla="*/ 1041114 w 2484707"/>
                <a:gd name="connsiteY16" fmla="*/ 430671 h 5068831"/>
                <a:gd name="connsiteX17" fmla="*/ 1041114 w 2484707"/>
                <a:gd name="connsiteY17" fmla="*/ 565426 h 5068831"/>
                <a:gd name="connsiteX18" fmla="*/ 2195592 w 2484707"/>
                <a:gd name="connsiteY18" fmla="*/ 1719904 h 5068831"/>
                <a:gd name="connsiteX19" fmla="*/ 2294115 w 2484707"/>
                <a:gd name="connsiteY19" fmla="*/ 1957748 h 5068831"/>
                <a:gd name="connsiteX20" fmla="*/ 2294115 w 2484707"/>
                <a:gd name="connsiteY20" fmla="*/ 4878288 h 5068831"/>
                <a:gd name="connsiteX21" fmla="*/ 1621331 w 2484707"/>
                <a:gd name="connsiteY21" fmla="*/ 4878288 h 5068831"/>
                <a:gd name="connsiteX22" fmla="*/ 1621331 w 2484707"/>
                <a:gd name="connsiteY22" fmla="*/ 3499467 h 5068831"/>
                <a:gd name="connsiteX23" fmla="*/ 1526035 w 2484707"/>
                <a:gd name="connsiteY23" fmla="*/ 3404170 h 5068831"/>
                <a:gd name="connsiteX24" fmla="*/ 1430738 w 2484707"/>
                <a:gd name="connsiteY24" fmla="*/ 3499467 h 5068831"/>
                <a:gd name="connsiteX25" fmla="*/ 1430738 w 2484707"/>
                <a:gd name="connsiteY25" fmla="*/ 4973535 h 5068831"/>
                <a:gd name="connsiteX26" fmla="*/ 1526035 w 2484707"/>
                <a:gd name="connsiteY26" fmla="*/ 5068831 h 5068831"/>
                <a:gd name="connsiteX27" fmla="*/ 2389411 w 2484707"/>
                <a:gd name="connsiteY27" fmla="*/ 5068831 h 5068831"/>
                <a:gd name="connsiteX28" fmla="*/ 2484708 w 2484707"/>
                <a:gd name="connsiteY28" fmla="*/ 4973535 h 5068831"/>
                <a:gd name="connsiteX29" fmla="*/ 2484708 w 2484707"/>
                <a:gd name="connsiteY29" fmla="*/ 1957748 h 5068831"/>
                <a:gd name="connsiteX30" fmla="*/ 2330347 w 2484707"/>
                <a:gd name="connsiteY30" fmla="*/ 1585099 h 5068831"/>
                <a:gd name="connsiteX31" fmla="*/ 1243272 w 2484707"/>
                <a:gd name="connsiteY31" fmla="*/ 498024 h 5068831"/>
                <a:gd name="connsiteX32" fmla="*/ 1368200 w 2484707"/>
                <a:gd name="connsiteY32" fmla="*/ 373096 h 5068831"/>
                <a:gd name="connsiteX33" fmla="*/ 1213641 w 2484707"/>
                <a:gd name="connsiteY33" fmla="*/ 0 h 5068831"/>
                <a:gd name="connsiteX34" fmla="*/ 252685 w 2484707"/>
                <a:gd name="connsiteY34" fmla="*/ 0 h 5068831"/>
                <a:gd name="connsiteX35" fmla="*/ 0 w 2484707"/>
                <a:gd name="connsiteY35" fmla="*/ 252734 h 5068831"/>
                <a:gd name="connsiteX36" fmla="*/ 0 w 2484707"/>
                <a:gd name="connsiteY36" fmla="*/ 1213690 h 5068831"/>
                <a:gd name="connsiteX37" fmla="*/ 373096 w 2484707"/>
                <a:gd name="connsiteY37" fmla="*/ 1368200 h 506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84707" h="5068831">
                  <a:moveTo>
                    <a:pt x="498024" y="1243272"/>
                  </a:moveTo>
                  <a:lnTo>
                    <a:pt x="1380658" y="2125956"/>
                  </a:lnTo>
                  <a:cubicBezTo>
                    <a:pt x="1412969" y="2158268"/>
                    <a:pt x="1430738" y="2201201"/>
                    <a:pt x="1430738" y="2246863"/>
                  </a:cubicBezTo>
                  <a:lnTo>
                    <a:pt x="1430738" y="3118281"/>
                  </a:lnTo>
                  <a:cubicBezTo>
                    <a:pt x="1430738" y="3170892"/>
                    <a:pt x="1473423" y="3213577"/>
                    <a:pt x="1526035" y="3213577"/>
                  </a:cubicBezTo>
                  <a:cubicBezTo>
                    <a:pt x="1578646" y="3213577"/>
                    <a:pt x="1621331" y="3170892"/>
                    <a:pt x="1621331" y="3118281"/>
                  </a:cubicBezTo>
                  <a:lnTo>
                    <a:pt x="1621331" y="2246863"/>
                  </a:lnTo>
                  <a:cubicBezTo>
                    <a:pt x="1621331" y="2150277"/>
                    <a:pt x="1583709" y="2059497"/>
                    <a:pt x="1515413" y="1991201"/>
                  </a:cubicBezTo>
                  <a:lnTo>
                    <a:pt x="565376" y="1041164"/>
                  </a:lnTo>
                  <a:cubicBezTo>
                    <a:pt x="528151" y="1003939"/>
                    <a:pt x="467846" y="1003939"/>
                    <a:pt x="430621" y="1041164"/>
                  </a:cubicBezTo>
                  <a:lnTo>
                    <a:pt x="238291" y="1233445"/>
                  </a:lnTo>
                  <a:cubicBezTo>
                    <a:pt x="220770" y="1250965"/>
                    <a:pt x="190593" y="1238209"/>
                    <a:pt x="190593" y="1213690"/>
                  </a:cubicBezTo>
                  <a:lnTo>
                    <a:pt x="190593" y="252734"/>
                  </a:lnTo>
                  <a:cubicBezTo>
                    <a:pt x="190593" y="218487"/>
                    <a:pt x="218437" y="190643"/>
                    <a:pt x="252685" y="190643"/>
                  </a:cubicBezTo>
                  <a:lnTo>
                    <a:pt x="1213641" y="190643"/>
                  </a:lnTo>
                  <a:cubicBezTo>
                    <a:pt x="1238557" y="190643"/>
                    <a:pt x="1250916" y="220820"/>
                    <a:pt x="1233395" y="238341"/>
                  </a:cubicBezTo>
                  <a:cubicBezTo>
                    <a:pt x="1233395" y="238341"/>
                    <a:pt x="1041263" y="430522"/>
                    <a:pt x="1041114" y="430671"/>
                  </a:cubicBezTo>
                  <a:cubicBezTo>
                    <a:pt x="1004336" y="467449"/>
                    <a:pt x="1004336" y="528697"/>
                    <a:pt x="1041114" y="565426"/>
                  </a:cubicBezTo>
                  <a:lnTo>
                    <a:pt x="2195592" y="1719904"/>
                  </a:lnTo>
                  <a:cubicBezTo>
                    <a:pt x="2259123" y="1783435"/>
                    <a:pt x="2294115" y="1867911"/>
                    <a:pt x="2294115" y="1957748"/>
                  </a:cubicBezTo>
                  <a:lnTo>
                    <a:pt x="2294115" y="4878288"/>
                  </a:lnTo>
                  <a:lnTo>
                    <a:pt x="1621331" y="4878288"/>
                  </a:lnTo>
                  <a:lnTo>
                    <a:pt x="1621331" y="3499467"/>
                  </a:lnTo>
                  <a:cubicBezTo>
                    <a:pt x="1621331" y="3446855"/>
                    <a:pt x="1578646" y="3404170"/>
                    <a:pt x="1526035" y="3404170"/>
                  </a:cubicBezTo>
                  <a:cubicBezTo>
                    <a:pt x="1473423" y="3404170"/>
                    <a:pt x="1430738" y="3446855"/>
                    <a:pt x="1430738" y="3499467"/>
                  </a:cubicBezTo>
                  <a:lnTo>
                    <a:pt x="1430738" y="4973535"/>
                  </a:lnTo>
                  <a:cubicBezTo>
                    <a:pt x="1430738" y="5026196"/>
                    <a:pt x="1473423" y="5068831"/>
                    <a:pt x="1526035" y="5068831"/>
                  </a:cubicBezTo>
                  <a:lnTo>
                    <a:pt x="2389411" y="5068831"/>
                  </a:lnTo>
                  <a:cubicBezTo>
                    <a:pt x="2442023" y="5068831"/>
                    <a:pt x="2484708" y="5026196"/>
                    <a:pt x="2484708" y="4973535"/>
                  </a:cubicBezTo>
                  <a:lnTo>
                    <a:pt x="2484708" y="1957748"/>
                  </a:lnTo>
                  <a:cubicBezTo>
                    <a:pt x="2484708" y="1816987"/>
                    <a:pt x="2429863" y="1684664"/>
                    <a:pt x="2330347" y="1585099"/>
                  </a:cubicBezTo>
                  <a:lnTo>
                    <a:pt x="1243272" y="498024"/>
                  </a:lnTo>
                  <a:cubicBezTo>
                    <a:pt x="1243272" y="498024"/>
                    <a:pt x="1368001" y="373245"/>
                    <a:pt x="1368200" y="373096"/>
                  </a:cubicBezTo>
                  <a:cubicBezTo>
                    <a:pt x="1503203" y="238043"/>
                    <a:pt x="1403936" y="0"/>
                    <a:pt x="1213641" y="0"/>
                  </a:cubicBezTo>
                  <a:lnTo>
                    <a:pt x="252685" y="0"/>
                  </a:lnTo>
                  <a:cubicBezTo>
                    <a:pt x="113363" y="0"/>
                    <a:pt x="0" y="113363"/>
                    <a:pt x="0" y="252734"/>
                  </a:cubicBezTo>
                  <a:lnTo>
                    <a:pt x="0" y="1213690"/>
                  </a:lnTo>
                  <a:cubicBezTo>
                    <a:pt x="0" y="1402447"/>
                    <a:pt x="237447" y="1503848"/>
                    <a:pt x="373096" y="1368200"/>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7" name="Forma libre: forma 75">
              <a:extLst>
                <a:ext uri="{FF2B5EF4-FFF2-40B4-BE49-F238E27FC236}">
                  <a16:creationId xmlns:a16="http://schemas.microsoft.com/office/drawing/2014/main" id="{F0AFD62E-CE1B-4FA3-B854-816135A62CF7}"/>
                </a:ext>
              </a:extLst>
            </p:cNvPr>
            <p:cNvSpPr/>
            <p:nvPr/>
          </p:nvSpPr>
          <p:spPr>
            <a:xfrm>
              <a:off x="7518478" y="9924277"/>
              <a:ext cx="2484707" cy="3835386"/>
            </a:xfrm>
            <a:custGeom>
              <a:avLst/>
              <a:gdLst>
                <a:gd name="connsiteX0" fmla="*/ 2276743 w 2484707"/>
                <a:gd name="connsiteY0" fmla="*/ 1239202 h 3835386"/>
                <a:gd name="connsiteX1" fmla="*/ 2246367 w 2484707"/>
                <a:gd name="connsiteY1" fmla="*/ 1233395 h 3835386"/>
                <a:gd name="connsiteX2" fmla="*/ 2054087 w 2484707"/>
                <a:gd name="connsiteY2" fmla="*/ 1041065 h 3835386"/>
                <a:gd name="connsiteX3" fmla="*/ 1915212 w 2484707"/>
                <a:gd name="connsiteY3" fmla="*/ 1045433 h 3835386"/>
                <a:gd name="connsiteX4" fmla="*/ 1639596 w 2484707"/>
                <a:gd name="connsiteY4" fmla="*/ 1357975 h 3835386"/>
                <a:gd name="connsiteX5" fmla="*/ 1647984 w 2484707"/>
                <a:gd name="connsiteY5" fmla="*/ 1492482 h 3835386"/>
                <a:gd name="connsiteX6" fmla="*/ 1782491 w 2484707"/>
                <a:gd name="connsiteY6" fmla="*/ 1484045 h 3835386"/>
                <a:gd name="connsiteX7" fmla="*/ 1991052 w 2484707"/>
                <a:gd name="connsiteY7" fmla="*/ 1247590 h 3835386"/>
                <a:gd name="connsiteX8" fmla="*/ 2111612 w 2484707"/>
                <a:gd name="connsiteY8" fmla="*/ 1368150 h 3835386"/>
                <a:gd name="connsiteX9" fmla="*/ 2484708 w 2484707"/>
                <a:gd name="connsiteY9" fmla="*/ 1213641 h 3835386"/>
                <a:gd name="connsiteX10" fmla="*/ 2484708 w 2484707"/>
                <a:gd name="connsiteY10" fmla="*/ 252685 h 3835386"/>
                <a:gd name="connsiteX11" fmla="*/ 2232023 w 2484707"/>
                <a:gd name="connsiteY11" fmla="*/ 0 h 3835386"/>
                <a:gd name="connsiteX12" fmla="*/ 1271067 w 2484707"/>
                <a:gd name="connsiteY12" fmla="*/ 0 h 3835386"/>
                <a:gd name="connsiteX13" fmla="*/ 1116508 w 2484707"/>
                <a:gd name="connsiteY13" fmla="*/ 373046 h 3835386"/>
                <a:gd name="connsiteX14" fmla="*/ 1241436 w 2484707"/>
                <a:gd name="connsiteY14" fmla="*/ 497974 h 3835386"/>
                <a:gd name="connsiteX15" fmla="*/ 154360 w 2484707"/>
                <a:gd name="connsiteY15" fmla="*/ 1585049 h 3835386"/>
                <a:gd name="connsiteX16" fmla="*/ 0 w 2484707"/>
                <a:gd name="connsiteY16" fmla="*/ 1957698 h 3835386"/>
                <a:gd name="connsiteX17" fmla="*/ 0 w 2484707"/>
                <a:gd name="connsiteY17" fmla="*/ 3740090 h 3835386"/>
                <a:gd name="connsiteX18" fmla="*/ 95297 w 2484707"/>
                <a:gd name="connsiteY18" fmla="*/ 3835387 h 3835386"/>
                <a:gd name="connsiteX19" fmla="*/ 958673 w 2484707"/>
                <a:gd name="connsiteY19" fmla="*/ 3835387 h 3835386"/>
                <a:gd name="connsiteX20" fmla="*/ 1053970 w 2484707"/>
                <a:gd name="connsiteY20" fmla="*/ 3740090 h 3835386"/>
                <a:gd name="connsiteX21" fmla="*/ 1053970 w 2484707"/>
                <a:gd name="connsiteY21" fmla="*/ 2373876 h 3835386"/>
                <a:gd name="connsiteX22" fmla="*/ 1104050 w 2484707"/>
                <a:gd name="connsiteY22" fmla="*/ 2252968 h 3835386"/>
                <a:gd name="connsiteX23" fmla="*/ 1108120 w 2484707"/>
                <a:gd name="connsiteY23" fmla="*/ 2248601 h 3835386"/>
                <a:gd name="connsiteX24" fmla="*/ 1532140 w 2484707"/>
                <a:gd name="connsiteY24" fmla="*/ 1767899 h 3835386"/>
                <a:gd name="connsiteX25" fmla="*/ 1523702 w 2484707"/>
                <a:gd name="connsiteY25" fmla="*/ 1633392 h 3835386"/>
                <a:gd name="connsiteX26" fmla="*/ 1389195 w 2484707"/>
                <a:gd name="connsiteY26" fmla="*/ 1641830 h 3835386"/>
                <a:gd name="connsiteX27" fmla="*/ 967011 w 2484707"/>
                <a:gd name="connsiteY27" fmla="*/ 2120496 h 3835386"/>
                <a:gd name="connsiteX28" fmla="*/ 863376 w 2484707"/>
                <a:gd name="connsiteY28" fmla="*/ 2373876 h 3835386"/>
                <a:gd name="connsiteX29" fmla="*/ 863376 w 2484707"/>
                <a:gd name="connsiteY29" fmla="*/ 3644794 h 3835386"/>
                <a:gd name="connsiteX30" fmla="*/ 190593 w 2484707"/>
                <a:gd name="connsiteY30" fmla="*/ 3644794 h 3835386"/>
                <a:gd name="connsiteX31" fmla="*/ 190593 w 2484707"/>
                <a:gd name="connsiteY31" fmla="*/ 1957698 h 3835386"/>
                <a:gd name="connsiteX32" fmla="*/ 289116 w 2484707"/>
                <a:gd name="connsiteY32" fmla="*/ 1719804 h 3835386"/>
                <a:gd name="connsiteX33" fmla="*/ 1443593 w 2484707"/>
                <a:gd name="connsiteY33" fmla="*/ 565376 h 3835386"/>
                <a:gd name="connsiteX34" fmla="*/ 1443593 w 2484707"/>
                <a:gd name="connsiteY34" fmla="*/ 430621 h 3835386"/>
                <a:gd name="connsiteX35" fmla="*/ 1251263 w 2484707"/>
                <a:gd name="connsiteY35" fmla="*/ 238291 h 3835386"/>
                <a:gd name="connsiteX36" fmla="*/ 1271017 w 2484707"/>
                <a:gd name="connsiteY36" fmla="*/ 190593 h 3835386"/>
                <a:gd name="connsiteX37" fmla="*/ 2231973 w 2484707"/>
                <a:gd name="connsiteY37" fmla="*/ 190593 h 3835386"/>
                <a:gd name="connsiteX38" fmla="*/ 2294065 w 2484707"/>
                <a:gd name="connsiteY38" fmla="*/ 252685 h 3835386"/>
                <a:gd name="connsiteX39" fmla="*/ 2294065 w 2484707"/>
                <a:gd name="connsiteY39" fmla="*/ 1213591 h 3835386"/>
                <a:gd name="connsiteX40" fmla="*/ 2276743 w 2484707"/>
                <a:gd name="connsiteY40" fmla="*/ 1239202 h 383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4707" h="3835386">
                  <a:moveTo>
                    <a:pt x="2276743" y="1239202"/>
                  </a:moveTo>
                  <a:cubicBezTo>
                    <a:pt x="2266965" y="1243222"/>
                    <a:pt x="2255003" y="1242031"/>
                    <a:pt x="2246367" y="1233395"/>
                  </a:cubicBezTo>
                  <a:cubicBezTo>
                    <a:pt x="2246367" y="1233395"/>
                    <a:pt x="2054384" y="1041363"/>
                    <a:pt x="2054087" y="1041065"/>
                  </a:cubicBezTo>
                  <a:cubicBezTo>
                    <a:pt x="2015720" y="1002698"/>
                    <a:pt x="1951097" y="1004733"/>
                    <a:pt x="1915212" y="1045433"/>
                  </a:cubicBezTo>
                  <a:lnTo>
                    <a:pt x="1639596" y="1357975"/>
                  </a:lnTo>
                  <a:cubicBezTo>
                    <a:pt x="1604754" y="1397434"/>
                    <a:pt x="1608526" y="1457640"/>
                    <a:pt x="1647984" y="1492482"/>
                  </a:cubicBezTo>
                  <a:cubicBezTo>
                    <a:pt x="1687493" y="1527276"/>
                    <a:pt x="1747698" y="1523503"/>
                    <a:pt x="1782491" y="1484045"/>
                  </a:cubicBezTo>
                  <a:lnTo>
                    <a:pt x="1991052" y="1247590"/>
                  </a:lnTo>
                  <a:cubicBezTo>
                    <a:pt x="1991052" y="1247590"/>
                    <a:pt x="2111513" y="1368051"/>
                    <a:pt x="2111612" y="1368150"/>
                  </a:cubicBezTo>
                  <a:cubicBezTo>
                    <a:pt x="2246665" y="1503203"/>
                    <a:pt x="2484708" y="1403936"/>
                    <a:pt x="2484708" y="1213641"/>
                  </a:cubicBezTo>
                  <a:lnTo>
                    <a:pt x="2484708" y="252685"/>
                  </a:lnTo>
                  <a:cubicBezTo>
                    <a:pt x="2484708" y="113363"/>
                    <a:pt x="2371345" y="0"/>
                    <a:pt x="2232023" y="0"/>
                  </a:cubicBezTo>
                  <a:cubicBezTo>
                    <a:pt x="2232023" y="0"/>
                    <a:pt x="1272060" y="0"/>
                    <a:pt x="1271067" y="0"/>
                  </a:cubicBezTo>
                  <a:cubicBezTo>
                    <a:pt x="1080474" y="0"/>
                    <a:pt x="981753" y="238291"/>
                    <a:pt x="1116508" y="373046"/>
                  </a:cubicBezTo>
                  <a:lnTo>
                    <a:pt x="1241436" y="497974"/>
                  </a:lnTo>
                  <a:lnTo>
                    <a:pt x="154360" y="1585049"/>
                  </a:lnTo>
                  <a:cubicBezTo>
                    <a:pt x="54795" y="1684614"/>
                    <a:pt x="0" y="1816937"/>
                    <a:pt x="0" y="1957698"/>
                  </a:cubicBezTo>
                  <a:lnTo>
                    <a:pt x="0" y="3740090"/>
                  </a:lnTo>
                  <a:cubicBezTo>
                    <a:pt x="0" y="3792752"/>
                    <a:pt x="42685" y="3835387"/>
                    <a:pt x="95297" y="3835387"/>
                  </a:cubicBezTo>
                  <a:lnTo>
                    <a:pt x="958673" y="3835387"/>
                  </a:lnTo>
                  <a:cubicBezTo>
                    <a:pt x="1011285" y="3835387"/>
                    <a:pt x="1053970" y="3792752"/>
                    <a:pt x="1053970" y="3740090"/>
                  </a:cubicBezTo>
                  <a:lnTo>
                    <a:pt x="1053970" y="2373876"/>
                  </a:lnTo>
                  <a:cubicBezTo>
                    <a:pt x="1053970" y="2328163"/>
                    <a:pt x="1071738" y="2285230"/>
                    <a:pt x="1104050" y="2252968"/>
                  </a:cubicBezTo>
                  <a:cubicBezTo>
                    <a:pt x="1105440" y="2251579"/>
                    <a:pt x="1106829" y="2250090"/>
                    <a:pt x="1108120" y="2248601"/>
                  </a:cubicBezTo>
                  <a:lnTo>
                    <a:pt x="1532140" y="1767899"/>
                  </a:lnTo>
                  <a:cubicBezTo>
                    <a:pt x="1566933" y="1728440"/>
                    <a:pt x="1563161" y="1668185"/>
                    <a:pt x="1523702" y="1633392"/>
                  </a:cubicBezTo>
                  <a:cubicBezTo>
                    <a:pt x="1484243" y="1598599"/>
                    <a:pt x="1423988" y="1602371"/>
                    <a:pt x="1389195" y="1641830"/>
                  </a:cubicBezTo>
                  <a:lnTo>
                    <a:pt x="967011" y="2120496"/>
                  </a:lnTo>
                  <a:cubicBezTo>
                    <a:pt x="900155" y="2188494"/>
                    <a:pt x="863376" y="2278331"/>
                    <a:pt x="863376" y="2373876"/>
                  </a:cubicBezTo>
                  <a:lnTo>
                    <a:pt x="863376" y="3644794"/>
                  </a:lnTo>
                  <a:lnTo>
                    <a:pt x="190593" y="3644794"/>
                  </a:lnTo>
                  <a:lnTo>
                    <a:pt x="190593" y="1957698"/>
                  </a:lnTo>
                  <a:cubicBezTo>
                    <a:pt x="190593" y="1867861"/>
                    <a:pt x="225585" y="1783385"/>
                    <a:pt x="289116" y="1719804"/>
                  </a:cubicBezTo>
                  <a:cubicBezTo>
                    <a:pt x="289116" y="1719804"/>
                    <a:pt x="1442601" y="566319"/>
                    <a:pt x="1443593" y="565376"/>
                  </a:cubicBezTo>
                  <a:cubicBezTo>
                    <a:pt x="1480372" y="528598"/>
                    <a:pt x="1480322" y="467350"/>
                    <a:pt x="1443593" y="430621"/>
                  </a:cubicBezTo>
                  <a:cubicBezTo>
                    <a:pt x="1443593" y="430621"/>
                    <a:pt x="1252901" y="239929"/>
                    <a:pt x="1251263" y="238291"/>
                  </a:cubicBezTo>
                  <a:cubicBezTo>
                    <a:pt x="1234735" y="221763"/>
                    <a:pt x="1245109" y="190593"/>
                    <a:pt x="1271017" y="190593"/>
                  </a:cubicBezTo>
                  <a:lnTo>
                    <a:pt x="2231973" y="190593"/>
                  </a:lnTo>
                  <a:cubicBezTo>
                    <a:pt x="2266221" y="190593"/>
                    <a:pt x="2294065" y="218437"/>
                    <a:pt x="2294065" y="252685"/>
                  </a:cubicBezTo>
                  <a:lnTo>
                    <a:pt x="2294065" y="1213591"/>
                  </a:lnTo>
                  <a:cubicBezTo>
                    <a:pt x="2294115" y="1225900"/>
                    <a:pt x="2286521" y="1235132"/>
                    <a:pt x="2276743" y="1239202"/>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sp>
          <p:nvSpPr>
            <p:cNvPr id="28" name="Forma libre: forma 76">
              <a:extLst>
                <a:ext uri="{FF2B5EF4-FFF2-40B4-BE49-F238E27FC236}">
                  <a16:creationId xmlns:a16="http://schemas.microsoft.com/office/drawing/2014/main" id="{D041ADFB-ECC6-4130-A3E6-CA3D2F80E5EC}"/>
                </a:ext>
              </a:extLst>
            </p:cNvPr>
            <p:cNvSpPr/>
            <p:nvPr/>
          </p:nvSpPr>
          <p:spPr>
            <a:xfrm>
              <a:off x="5829902" y="7266460"/>
              <a:ext cx="1840955" cy="6493203"/>
            </a:xfrm>
            <a:custGeom>
              <a:avLst/>
              <a:gdLst>
                <a:gd name="connsiteX0" fmla="*/ 488783 w 1840955"/>
                <a:gd name="connsiteY0" fmla="*/ 6493204 h 6493203"/>
                <a:gd name="connsiteX1" fmla="*/ 1352159 w 1840955"/>
                <a:gd name="connsiteY1" fmla="*/ 6493204 h 6493203"/>
                <a:gd name="connsiteX2" fmla="*/ 1447456 w 1840955"/>
                <a:gd name="connsiteY2" fmla="*/ 6397908 h 6493203"/>
                <a:gd name="connsiteX3" fmla="*/ 1447456 w 1840955"/>
                <a:gd name="connsiteY3" fmla="*/ 1125578 h 6493203"/>
                <a:gd name="connsiteX4" fmla="*/ 1624151 w 1840955"/>
                <a:gd name="connsiteY4" fmla="*/ 1125578 h 6493203"/>
                <a:gd name="connsiteX5" fmla="*/ 1778661 w 1840955"/>
                <a:gd name="connsiteY5" fmla="*/ 752532 h 6493203"/>
                <a:gd name="connsiteX6" fmla="*/ 1099177 w 1840955"/>
                <a:gd name="connsiteY6" fmla="*/ 72999 h 6493203"/>
                <a:gd name="connsiteX7" fmla="*/ 741815 w 1840955"/>
                <a:gd name="connsiteY7" fmla="*/ 72999 h 6493203"/>
                <a:gd name="connsiteX8" fmla="*/ 62331 w 1840955"/>
                <a:gd name="connsiteY8" fmla="*/ 752483 h 6493203"/>
                <a:gd name="connsiteX9" fmla="*/ 216840 w 1840955"/>
                <a:gd name="connsiteY9" fmla="*/ 1125578 h 6493203"/>
                <a:gd name="connsiteX10" fmla="*/ 393486 w 1840955"/>
                <a:gd name="connsiteY10" fmla="*/ 1125578 h 6493203"/>
                <a:gd name="connsiteX11" fmla="*/ 393486 w 1840955"/>
                <a:gd name="connsiteY11" fmla="*/ 6397908 h 6493203"/>
                <a:gd name="connsiteX12" fmla="*/ 488783 w 1840955"/>
                <a:gd name="connsiteY12" fmla="*/ 6493204 h 6493203"/>
                <a:gd name="connsiteX13" fmla="*/ 216840 w 1840955"/>
                <a:gd name="connsiteY13" fmla="*/ 934985 h 6493203"/>
                <a:gd name="connsiteX14" fmla="*/ 197086 w 1840955"/>
                <a:gd name="connsiteY14" fmla="*/ 887287 h 6493203"/>
                <a:gd name="connsiteX15" fmla="*/ 876570 w 1840955"/>
                <a:gd name="connsiteY15" fmla="*/ 207803 h 6493203"/>
                <a:gd name="connsiteX16" fmla="*/ 964422 w 1840955"/>
                <a:gd name="connsiteY16" fmla="*/ 207803 h 6493203"/>
                <a:gd name="connsiteX17" fmla="*/ 1643906 w 1840955"/>
                <a:gd name="connsiteY17" fmla="*/ 887287 h 6493203"/>
                <a:gd name="connsiteX18" fmla="*/ 1624151 w 1840955"/>
                <a:gd name="connsiteY18" fmla="*/ 934985 h 6493203"/>
                <a:gd name="connsiteX19" fmla="*/ 1352159 w 1840955"/>
                <a:gd name="connsiteY19" fmla="*/ 934985 h 6493203"/>
                <a:gd name="connsiteX20" fmla="*/ 1256863 w 1840955"/>
                <a:gd name="connsiteY20" fmla="*/ 1030282 h 6493203"/>
                <a:gd name="connsiteX21" fmla="*/ 1256863 w 1840955"/>
                <a:gd name="connsiteY21" fmla="*/ 6302611 h 6493203"/>
                <a:gd name="connsiteX22" fmla="*/ 584079 w 1840955"/>
                <a:gd name="connsiteY22" fmla="*/ 6302611 h 6493203"/>
                <a:gd name="connsiteX23" fmla="*/ 584079 w 1840955"/>
                <a:gd name="connsiteY23" fmla="*/ 1030282 h 6493203"/>
                <a:gd name="connsiteX24" fmla="*/ 488783 w 1840955"/>
                <a:gd name="connsiteY24" fmla="*/ 934985 h 6493203"/>
                <a:gd name="connsiteX25" fmla="*/ 216840 w 1840955"/>
                <a:gd name="connsiteY25" fmla="*/ 934985 h 64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0955" h="6493203">
                  <a:moveTo>
                    <a:pt x="488783" y="6493204"/>
                  </a:moveTo>
                  <a:lnTo>
                    <a:pt x="1352159" y="6493204"/>
                  </a:lnTo>
                  <a:cubicBezTo>
                    <a:pt x="1404821" y="6493204"/>
                    <a:pt x="1447456" y="6450569"/>
                    <a:pt x="1447456" y="6397908"/>
                  </a:cubicBezTo>
                  <a:lnTo>
                    <a:pt x="1447456" y="1125578"/>
                  </a:lnTo>
                  <a:lnTo>
                    <a:pt x="1624151" y="1125578"/>
                  </a:lnTo>
                  <a:cubicBezTo>
                    <a:pt x="1814645" y="1125578"/>
                    <a:pt x="1913466" y="887337"/>
                    <a:pt x="1778661" y="752532"/>
                  </a:cubicBezTo>
                  <a:cubicBezTo>
                    <a:pt x="1778661" y="752532"/>
                    <a:pt x="1099475" y="73346"/>
                    <a:pt x="1099177" y="72999"/>
                  </a:cubicBezTo>
                  <a:cubicBezTo>
                    <a:pt x="1001746" y="-24383"/>
                    <a:pt x="839097" y="-24283"/>
                    <a:pt x="741815" y="72999"/>
                  </a:cubicBezTo>
                  <a:cubicBezTo>
                    <a:pt x="741815" y="72999"/>
                    <a:pt x="62331" y="752483"/>
                    <a:pt x="62331" y="752483"/>
                  </a:cubicBezTo>
                  <a:cubicBezTo>
                    <a:pt x="-72672" y="887486"/>
                    <a:pt x="26595" y="1125578"/>
                    <a:pt x="216840" y="1125578"/>
                  </a:cubicBezTo>
                  <a:lnTo>
                    <a:pt x="393486" y="1125578"/>
                  </a:lnTo>
                  <a:lnTo>
                    <a:pt x="393486" y="6397908"/>
                  </a:lnTo>
                  <a:cubicBezTo>
                    <a:pt x="393486" y="6450569"/>
                    <a:pt x="436171" y="6493204"/>
                    <a:pt x="488783" y="6493204"/>
                  </a:cubicBezTo>
                  <a:close/>
                  <a:moveTo>
                    <a:pt x="216840" y="934985"/>
                  </a:moveTo>
                  <a:cubicBezTo>
                    <a:pt x="193165" y="934985"/>
                    <a:pt x="179119" y="905205"/>
                    <a:pt x="197086" y="887287"/>
                  </a:cubicBezTo>
                  <a:cubicBezTo>
                    <a:pt x="197086" y="887287"/>
                    <a:pt x="875478" y="208895"/>
                    <a:pt x="876570" y="207803"/>
                  </a:cubicBezTo>
                  <a:cubicBezTo>
                    <a:pt x="900593" y="183731"/>
                    <a:pt x="940349" y="183731"/>
                    <a:pt x="964422" y="207803"/>
                  </a:cubicBezTo>
                  <a:cubicBezTo>
                    <a:pt x="964422" y="207803"/>
                    <a:pt x="1643012" y="886394"/>
                    <a:pt x="1643906" y="887287"/>
                  </a:cubicBezTo>
                  <a:cubicBezTo>
                    <a:pt x="1660682" y="904014"/>
                    <a:pt x="1649514" y="934985"/>
                    <a:pt x="1624151" y="934985"/>
                  </a:cubicBezTo>
                  <a:lnTo>
                    <a:pt x="1352159" y="934985"/>
                  </a:lnTo>
                  <a:cubicBezTo>
                    <a:pt x="1299548" y="934985"/>
                    <a:pt x="1256863" y="977670"/>
                    <a:pt x="1256863" y="1030282"/>
                  </a:cubicBezTo>
                  <a:lnTo>
                    <a:pt x="1256863" y="6302611"/>
                  </a:lnTo>
                  <a:lnTo>
                    <a:pt x="584079" y="6302611"/>
                  </a:lnTo>
                  <a:lnTo>
                    <a:pt x="584079" y="1030282"/>
                  </a:lnTo>
                  <a:cubicBezTo>
                    <a:pt x="584079" y="977670"/>
                    <a:pt x="541444" y="934985"/>
                    <a:pt x="488783" y="934985"/>
                  </a:cubicBezTo>
                  <a:cubicBezTo>
                    <a:pt x="488783" y="934985"/>
                    <a:pt x="217535" y="934985"/>
                    <a:pt x="216840" y="934985"/>
                  </a:cubicBezTo>
                  <a:close/>
                </a:path>
              </a:pathLst>
            </a:custGeom>
            <a:solidFill>
              <a:schemeClr val="bg1"/>
            </a:solidFill>
            <a:ln w="3175" cap="flat">
              <a:solidFill>
                <a:schemeClr val="bg1"/>
              </a:solidFill>
              <a:prstDash val="solid"/>
              <a:miter/>
            </a:ln>
          </p:spPr>
          <p:txBody>
            <a:bodyPr rtlCol="0" anchor="ctr"/>
            <a:lstStyle/>
            <a:p>
              <a:pPr defTabSz="685749">
                <a:defRPr/>
              </a:pPr>
              <a:endParaRPr lang="en-GB" sz="1800" b="1">
                <a:solidFill>
                  <a:srgbClr val="000000"/>
                </a:solidFill>
                <a:latin typeface="Nexa Bold" pitchFamily="2" charset="77"/>
              </a:endParaRPr>
            </a:p>
          </p:txBody>
        </p:sp>
      </p:grpSp>
    </p:spTree>
    <p:extLst>
      <p:ext uri="{BB962C8B-B14F-4D97-AF65-F5344CB8AC3E}">
        <p14:creationId xmlns:p14="http://schemas.microsoft.com/office/powerpoint/2010/main" val="6183341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0/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rPr lang="en-US"/>
              <a:t>DATA SOURCE: Trade Panel/Retailer Data | Ending Dec 2022</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olume Uplift vs discount depth | By Product | Category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865551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0/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rPr lang="en-US"/>
              <a:t>DATA SOURCE: Trade Panel/Retailer Data | Ending Dec 2022</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olume Uplift vs discount depth | By Product | Category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266305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0/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rPr lang="en-US"/>
              <a:t>DATA SOURCE: Trade Panel/Retailer Data | Ending Dec 2022</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olume Uplift vs discount depth | By Product | Category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527003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0/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rPr lang="en-US"/>
              <a:t>DATA SOURCE: Trade Panel/Retailer Data | Ending Dec 2022</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olume Uplift vs discount depth | By Product | Category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628679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670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0/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rPr lang="en-US"/>
              <a:t>DATA SOURCE: Trade Panel/Retailer Data | Ending Dec 2022</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olume Uplift vs discount depth | By Product | Category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502261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0/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rPr lang="en-US"/>
              <a:t>DATA SOURCE: Trade Panel/Retailer Data | Ending Dec 2022</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olume Uplift vs discount depth | By Product | Category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3394540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0/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rPr lang="en-US"/>
              <a:t>DATA SOURCE: Trade Panel/Retailer Data | Ending Dec 2022</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olume Uplift vs discount depth | By Product | Category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163040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0/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rPr lang="en-US"/>
              <a:t>DATA SOURCE: Trade Panel/Retailer Data | Ending Dec 2022</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olume Uplift vs discount depth | By Product | Category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9897573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FBCAF4A-447E-1E0F-687C-29F4248BCD3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FBCAF4A-447E-1E0F-687C-29F4248BCD3B}"/>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6530F2F-4B9B-F1F2-5EBC-416F5231725A}"/>
              </a:ext>
            </a:extLst>
          </p:cNvPr>
          <p:cNvSpPr>
            <a:spLocks noGrp="1"/>
          </p:cNvSpPr>
          <p:nvPr>
            <p:ph type="dt" sz="half" idx="14"/>
          </p:nvPr>
        </p:nvSpPr>
        <p:spPr>
          <a:xfrm>
            <a:off x="8082390" y="4972050"/>
            <a:ext cx="557609" cy="171450"/>
          </a:xfrm>
        </p:spPr>
        <p:txBody>
          <a:bodyPr/>
          <a:lstStyle/>
          <a:p>
            <a:fld id="{F845A162-4B28-48B1-8F50-074C116A20B5}" type="datetime1">
              <a:rPr lang="en-US"/>
              <a:pPr/>
              <a:t>8/10/2025</a:t>
            </a:fld>
            <a:endParaRPr lang="en-US"/>
          </a:p>
        </p:txBody>
      </p:sp>
      <p:sp>
        <p:nvSpPr>
          <p:cNvPr id="10" name="Footer Placeholder 9">
            <a:extLst>
              <a:ext uri="{FF2B5EF4-FFF2-40B4-BE49-F238E27FC236}">
                <a16:creationId xmlns:a16="http://schemas.microsoft.com/office/drawing/2014/main" id="{5F9A9A90-1429-5D6B-0D39-BC5315EDAE02}"/>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DD69EBC2-69FA-4460-7F83-B1B518392934}"/>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a:t>
            </a:fld>
            <a:endParaRPr lang="en-US"/>
          </a:p>
        </p:txBody>
      </p:sp>
      <p:sp>
        <p:nvSpPr>
          <p:cNvPr id="19" name="Text Placeholder 18">
            <a:extLst>
              <a:ext uri="{FF2B5EF4-FFF2-40B4-BE49-F238E27FC236}">
                <a16:creationId xmlns:a16="http://schemas.microsoft.com/office/drawing/2014/main" id="{311CBFAF-D10E-3CFC-D46D-555ADEFB2FC2}"/>
              </a:ext>
            </a:extLst>
          </p:cNvPr>
          <p:cNvSpPr>
            <a:spLocks noGrp="1"/>
          </p:cNvSpPr>
          <p:nvPr>
            <p:ph type="body" sz="quarter" idx="17"/>
          </p:nvPr>
        </p:nvSpPr>
        <p:spPr>
          <a:xfrm>
            <a:off x="0" y="4734106"/>
            <a:ext cx="4572000" cy="222878"/>
          </a:xfrm>
        </p:spPr>
        <p:txBody>
          <a:bodyPr/>
          <a:lstStyle/>
          <a:p>
            <a:r>
              <a:rPr lang="en-US"/>
              <a:t>DATA SOURCE: Trade Panel/Retailer Data | Ending Dec 2022</a:t>
            </a:r>
          </a:p>
        </p:txBody>
      </p:sp>
      <p:sp>
        <p:nvSpPr>
          <p:cNvPr id="7" name="Text Placeholder 6">
            <a:extLst>
              <a:ext uri="{FF2B5EF4-FFF2-40B4-BE49-F238E27FC236}">
                <a16:creationId xmlns:a16="http://schemas.microsoft.com/office/drawing/2014/main" id="{E6EA2BCF-EA76-E9D1-AFBE-F5F0987199EA}"/>
              </a:ext>
            </a:extLst>
          </p:cNvPr>
          <p:cNvSpPr>
            <a:spLocks noGrp="1"/>
          </p:cNvSpPr>
          <p:nvPr>
            <p:ph type="body" sz="quarter" idx="18"/>
          </p:nvPr>
        </p:nvSpPr>
        <p:spPr>
          <a:xfrm>
            <a:off x="503238" y="774000"/>
            <a:ext cx="8136762" cy="360000"/>
          </a:xfrm>
        </p:spPr>
        <p:txBody>
          <a:bodyPr/>
          <a:lstStyle/>
          <a:p>
            <a:r>
              <a:rPr lang="en-US"/>
              <a:t>Volume Uplift vs discount depth | By Product | Category | Coop </a:t>
            </a:r>
            <a:r>
              <a:rPr lang="en-US" err="1"/>
              <a:t>Alleanza</a:t>
            </a:r>
            <a:r>
              <a:rPr lang="en-US"/>
              <a:t> | P12M</a:t>
            </a:r>
            <a:endParaRPr lang="en-CH"/>
          </a:p>
        </p:txBody>
      </p:sp>
      <p:sp>
        <p:nvSpPr>
          <p:cNvPr id="8" name="Title 7">
            <a:extLst>
              <a:ext uri="{FF2B5EF4-FFF2-40B4-BE49-F238E27FC236}">
                <a16:creationId xmlns:a16="http://schemas.microsoft.com/office/drawing/2014/main" id="{D08244A2-46F0-8D32-A17B-0883FEB564EB}"/>
              </a:ext>
            </a:extLst>
          </p:cNvPr>
          <p:cNvSpPr>
            <a:spLocks noGrp="1"/>
          </p:cNvSpPr>
          <p:nvPr>
            <p:ph type="title"/>
          </p:nvPr>
        </p:nvSpPr>
        <p:spPr>
          <a:xfrm>
            <a:off x="504000" y="-1"/>
            <a:ext cx="8136000" cy="771525"/>
          </a:xfrm>
        </p:spPr>
        <p:txBody>
          <a:bodyPr vert="horz"/>
          <a:lstStyle/>
          <a:p>
            <a:r>
              <a:rPr lang="en-US" dirty="0">
                <a:highlight>
                  <a:srgbClr val="FFFF00"/>
                </a:highlight>
              </a:rPr>
              <a:t>Volume Uplift vs discount depth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1" name="Content Placeholder 10">
            <a:extLst>
              <a:ext uri="{FF2B5EF4-FFF2-40B4-BE49-F238E27FC236}">
                <a16:creationId xmlns:a16="http://schemas.microsoft.com/office/drawing/2014/main" id="{F4699592-EE62-62A9-F892-BE173D2058B3}"/>
              </a:ext>
            </a:extLst>
          </p:cNvPr>
          <p:cNvGraphicFramePr>
            <a:graphicFrameLocks noGrp="1"/>
          </p:cNvGraphicFramePr>
          <p:nvPr>
            <p:ph idx="4294967295"/>
            <p:extLst>
              <p:ext uri="{D42A27DB-BD31-4B8C-83A1-F6EECF244321}">
                <p14:modId xmlns:p14="http://schemas.microsoft.com/office/powerpoint/2010/main" val="642153818"/>
              </p:ext>
            </p:extLst>
          </p:nvPr>
        </p:nvGraphicFramePr>
        <p:xfrm>
          <a:off x="511175" y="1136650"/>
          <a:ext cx="8099425" cy="359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05325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0/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dirty="0"/>
              <a:t>DATA SOURCE: Trade Panel/Retailer Data | Ending Dec 2022</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Value Uplift vs Promo Efficiency | By Product | Category/Sector | Retailer | P12M</a:t>
            </a:r>
          </a:p>
          <a:p>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
                <a:tc>
                  <a:txBody>
                    <a:bodyPr/>
                    <a:lstStyle/>
                    <a:p>
                      <a:pPr algn="ctr" fontAlgn="b"/>
                      <a:r>
                        <a:rPr lang="en-CH" sz="400" b="0" i="0" u="none" strike="noStrike">
                          <a:solidFill>
                            <a:schemeClr val="tx2"/>
                          </a:solidFill>
                          <a:effectLst/>
                          <a:latin typeface="+mn-lt"/>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68475315"/>
                  </a:ext>
                </a:extLst>
              </a:tr>
              <a:tr h="72141">
                <a:tc>
                  <a:txBody>
                    <a:bodyPr/>
                    <a:lstStyle/>
                    <a:p>
                      <a:pPr algn="ctr" fontAlgn="b"/>
                      <a:r>
                        <a:rPr lang="en-CH" sz="400" b="0" i="0" u="none" strike="noStrike">
                          <a:solidFill>
                            <a:schemeClr val="tx2"/>
                          </a:solidFill>
                          <a:effectLst/>
                          <a:latin typeface="+mn-lt"/>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74345675"/>
                  </a:ext>
                </a:extLst>
              </a:tr>
              <a:tr h="72141">
                <a:tc>
                  <a:txBody>
                    <a:bodyPr/>
                    <a:lstStyle/>
                    <a:p>
                      <a:pPr algn="ctr" fontAlgn="b"/>
                      <a:r>
                        <a:rPr lang="en-CH" sz="400" b="0" i="0" u="none" strike="noStrike">
                          <a:solidFill>
                            <a:schemeClr val="tx2"/>
                          </a:solidFill>
                          <a:effectLst/>
                          <a:latin typeface="+mn-lt"/>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1017686"/>
                  </a:ext>
                </a:extLst>
              </a:tr>
              <a:tr h="72141">
                <a:tc>
                  <a:txBody>
                    <a:bodyPr/>
                    <a:lstStyle/>
                    <a:p>
                      <a:pPr algn="ctr" fontAlgn="b"/>
                      <a:r>
                        <a:rPr lang="en-CH" sz="400" b="0" i="0" u="none" strike="noStrike">
                          <a:solidFill>
                            <a:schemeClr val="tx2"/>
                          </a:solidFill>
                          <a:effectLst/>
                          <a:latin typeface="+mn-lt"/>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Weihenstepha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53934404"/>
                  </a:ext>
                </a:extLst>
              </a:tr>
              <a:tr h="72141">
                <a:tc>
                  <a:txBody>
                    <a:bodyPr/>
                    <a:lstStyle/>
                    <a:p>
                      <a:pPr algn="ctr" fontAlgn="b"/>
                      <a:r>
                        <a:rPr lang="en-CH" sz="400" b="0" i="0" u="none" strike="noStrike">
                          <a:solidFill>
                            <a:schemeClr val="tx2"/>
                          </a:solidFill>
                          <a:effectLst/>
                          <a:latin typeface="+mn-lt"/>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83251638"/>
                  </a:ext>
                </a:extLst>
              </a:tr>
              <a:tr h="72141">
                <a:tc>
                  <a:txBody>
                    <a:bodyPr/>
                    <a:lstStyle/>
                    <a:p>
                      <a:pPr algn="ctr" fontAlgn="b"/>
                      <a:r>
                        <a:rPr lang="en-CH" sz="400" b="0" i="0" u="none" strike="noStrike">
                          <a:solidFill>
                            <a:schemeClr val="tx2"/>
                          </a:solidFill>
                          <a:effectLst/>
                          <a:latin typeface="+mn-lt"/>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Frau Antj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61931653"/>
                  </a:ext>
                </a:extLst>
              </a:tr>
              <a:tr h="72141">
                <a:tc>
                  <a:txBody>
                    <a:bodyPr/>
                    <a:lstStyle/>
                    <a:p>
                      <a:pPr algn="ctr" fontAlgn="b"/>
                      <a:r>
                        <a:rPr lang="en-CH" sz="400" b="0" i="0" u="none" strike="noStrike">
                          <a:solidFill>
                            <a:schemeClr val="tx2"/>
                          </a:solidFill>
                          <a:effectLst/>
                          <a:latin typeface="+mn-lt"/>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Becher 2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29411828"/>
                  </a:ext>
                </a:extLst>
              </a:tr>
              <a:tr h="72141">
                <a:tc>
                  <a:txBody>
                    <a:bodyPr/>
                    <a:lstStyle/>
                    <a:p>
                      <a:pPr algn="ctr" fontAlgn="b"/>
                      <a:r>
                        <a:rPr lang="en-CH" sz="400" b="0" i="0" u="none" strike="noStrike">
                          <a:solidFill>
                            <a:schemeClr val="tx2"/>
                          </a:solidFill>
                          <a:effectLst/>
                          <a:latin typeface="+mn-lt"/>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9762943"/>
                  </a:ext>
                </a:extLst>
              </a:tr>
              <a:tr h="72141">
                <a:tc>
                  <a:txBody>
                    <a:bodyPr/>
                    <a:lstStyle/>
                    <a:p>
                      <a:pPr algn="ctr" fontAlgn="b"/>
                      <a:r>
                        <a:rPr lang="en-CH" sz="400" b="0" i="0" u="none" strike="noStrike">
                          <a:solidFill>
                            <a:schemeClr val="tx2"/>
                          </a:solidFill>
                          <a:effectLst/>
                          <a:latin typeface="+mn-lt"/>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Bech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63467390"/>
                  </a:ext>
                </a:extLst>
              </a:tr>
              <a:tr h="72141">
                <a:tc>
                  <a:txBody>
                    <a:bodyPr/>
                    <a:lstStyle/>
                    <a:p>
                      <a:pPr algn="ctr" fontAlgn="b"/>
                      <a:r>
                        <a:rPr lang="en-CH" sz="400" b="0" i="0" u="none" strike="noStrike">
                          <a:solidFill>
                            <a:schemeClr val="tx2"/>
                          </a:solidFill>
                          <a:effectLst/>
                          <a:latin typeface="+mn-lt"/>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8294199"/>
                  </a:ext>
                </a:extLst>
              </a:tr>
              <a:tr h="72141">
                <a:tc>
                  <a:txBody>
                    <a:bodyPr/>
                    <a:lstStyle/>
                    <a:p>
                      <a:pPr algn="ctr" fontAlgn="b"/>
                      <a:r>
                        <a:rPr lang="en-CH" sz="400" b="0" i="0" u="none" strike="noStrike">
                          <a:solidFill>
                            <a:schemeClr val="tx2"/>
                          </a:solidFill>
                          <a:effectLst/>
                          <a:latin typeface="+mn-lt"/>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12783936"/>
                  </a:ext>
                </a:extLst>
              </a:tr>
              <a:tr h="72141">
                <a:tc>
                  <a:txBody>
                    <a:bodyPr/>
                    <a:lstStyle/>
                    <a:p>
                      <a:pPr algn="ctr" fontAlgn="b"/>
                      <a:r>
                        <a:rPr lang="en-CH" sz="400" b="0" i="0" u="none" strike="noStrike">
                          <a:solidFill>
                            <a:schemeClr val="tx2"/>
                          </a:solidFill>
                          <a:effectLst/>
                          <a:latin typeface="+mn-lt"/>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alte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7362147"/>
                  </a:ext>
                </a:extLst>
              </a:tr>
              <a:tr h="72141">
                <a:tc>
                  <a:txBody>
                    <a:bodyPr/>
                    <a:lstStyle/>
                    <a:p>
                      <a:pPr algn="ctr" fontAlgn="b"/>
                      <a:r>
                        <a:rPr lang="en-CH" sz="400" b="0" i="0" u="none" strike="noStrike">
                          <a:solidFill>
                            <a:schemeClr val="tx2"/>
                          </a:solidFill>
                          <a:effectLst/>
                          <a:latin typeface="+mn-lt"/>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91460699"/>
                  </a:ext>
                </a:extLst>
              </a:tr>
              <a:tr h="72141">
                <a:tc>
                  <a:txBody>
                    <a:bodyPr/>
                    <a:lstStyle/>
                    <a:p>
                      <a:pPr algn="ctr" fontAlgn="b"/>
                      <a:r>
                        <a:rPr lang="en-CH" sz="400" b="0" i="0" u="none" strike="noStrike">
                          <a:solidFill>
                            <a:schemeClr val="tx2"/>
                          </a:solidFill>
                          <a:effectLst/>
                          <a:latin typeface="+mn-lt"/>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iolife Vioblock Vegan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40093880"/>
                  </a:ext>
                </a:extLst>
              </a:tr>
              <a:tr h="72141">
                <a:tc>
                  <a:txBody>
                    <a:bodyPr/>
                    <a:lstStyle/>
                    <a:p>
                      <a:pPr algn="ctr" fontAlgn="b"/>
                      <a:r>
                        <a:rPr lang="en-CH" sz="400" b="0" i="0" u="none" strike="noStrike">
                          <a:solidFill>
                            <a:schemeClr val="tx2"/>
                          </a:solidFill>
                          <a:effectLst/>
                          <a:latin typeface="+mn-lt"/>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llgaeuer Hof 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50994264"/>
                  </a:ext>
                </a:extLst>
              </a:tr>
              <a:tr h="72141">
                <a:tc>
                  <a:txBody>
                    <a:bodyPr/>
                    <a:lstStyle/>
                    <a:p>
                      <a:pPr algn="ctr" fontAlgn="b"/>
                      <a:r>
                        <a:rPr lang="en-CH" sz="400" b="0" i="0" u="none" strike="noStrike">
                          <a:solidFill>
                            <a:schemeClr val="tx2"/>
                          </a:solidFill>
                          <a:effectLst/>
                          <a:latin typeface="+mn-lt"/>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Tube Vegan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75426428"/>
                  </a:ext>
                </a:extLst>
              </a:tr>
              <a:tr h="72141">
                <a:tc>
                  <a:txBody>
                    <a:bodyPr/>
                    <a:lstStyle/>
                    <a:p>
                      <a:pPr algn="ctr" fontAlgn="b"/>
                      <a:r>
                        <a:rPr lang="en-CH" sz="400" b="0" i="0" u="none" strike="noStrike">
                          <a:solidFill>
                            <a:schemeClr val="tx2"/>
                          </a:solidFill>
                          <a:effectLst/>
                          <a:latin typeface="+mn-lt"/>
                        </a:rPr>
                        <a:t>1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Allgaeuer Hof 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97241745"/>
                  </a:ext>
                </a:extLst>
              </a:tr>
              <a:tr h="72141">
                <a:tc>
                  <a:txBody>
                    <a:bodyPr/>
                    <a:lstStyle/>
                    <a:p>
                      <a:pPr algn="ctr" fontAlgn="b"/>
                      <a:r>
                        <a:rPr lang="en-CH" sz="400" b="0" i="0" u="none" strike="noStrike">
                          <a:solidFill>
                            <a:schemeClr val="tx2"/>
                          </a:solidFill>
                          <a:effectLst/>
                          <a:latin typeface="+mn-lt"/>
                        </a:rPr>
                        <a:t>1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Becher 1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13182630"/>
                  </a:ext>
                </a:extLst>
              </a:tr>
              <a:tr h="72141">
                <a:tc>
                  <a:txBody>
                    <a:bodyPr/>
                    <a:lstStyle/>
                    <a:p>
                      <a:pPr algn="ctr" fontAlgn="b"/>
                      <a:r>
                        <a:rPr lang="en-CH" sz="400" b="0" i="0" u="none" strike="noStrike">
                          <a:solidFill>
                            <a:schemeClr val="tx2"/>
                          </a:solidFill>
                          <a:effectLst/>
                          <a:latin typeface="+mn-lt"/>
                        </a:rPr>
                        <a:t>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5205234"/>
                  </a:ext>
                </a:extLst>
              </a:tr>
              <a:tr h="72141">
                <a:tc>
                  <a:txBody>
                    <a:bodyPr/>
                    <a:lstStyle/>
                    <a:p>
                      <a:pPr algn="ctr" fontAlgn="b"/>
                      <a:r>
                        <a:rPr lang="en-CH" sz="400" b="0" i="0" u="none" strike="noStrike">
                          <a:solidFill>
                            <a:schemeClr val="tx2"/>
                          </a:solidFill>
                          <a:effectLst/>
                          <a:latin typeface="+mn-lt"/>
                        </a:rPr>
                        <a:t>2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04871848"/>
                  </a:ext>
                </a:extLst>
              </a:tr>
              <a:tr h="72141">
                <a:tc>
                  <a:txBody>
                    <a:bodyPr/>
                    <a:lstStyle/>
                    <a:p>
                      <a:pPr algn="ctr" fontAlgn="b"/>
                      <a:r>
                        <a:rPr lang="en-CH" sz="400" b="0" i="0" u="none" strike="noStrike">
                          <a:solidFill>
                            <a:schemeClr val="tx2"/>
                          </a:solidFill>
                          <a:effectLst/>
                          <a:latin typeface="+mn-lt"/>
                        </a:rPr>
                        <a:t>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Die Vegan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49180832"/>
                  </a:ext>
                </a:extLst>
              </a:tr>
              <a:tr h="72141">
                <a:tc>
                  <a:txBody>
                    <a:bodyPr/>
                    <a:lstStyle/>
                    <a:p>
                      <a:pPr algn="ctr" fontAlgn="b"/>
                      <a:r>
                        <a:rPr lang="en-CH" sz="400" b="0" i="0" u="none" strike="noStrike">
                          <a:solidFill>
                            <a:schemeClr val="tx2"/>
                          </a:solidFill>
                          <a:effectLst/>
                          <a:latin typeface="+mn-lt"/>
                        </a:rPr>
                        <a:t>2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17787889"/>
                  </a:ext>
                </a:extLst>
              </a:tr>
              <a:tr h="72141">
                <a:tc>
                  <a:txBody>
                    <a:bodyPr/>
                    <a:lstStyle/>
                    <a:p>
                      <a:pPr algn="ctr" fontAlgn="b"/>
                      <a:r>
                        <a:rPr lang="en-CH" sz="400" b="0" i="0" u="none" strike="noStrike">
                          <a:solidFill>
                            <a:schemeClr val="tx2"/>
                          </a:solidFill>
                          <a:effectLst/>
                          <a:latin typeface="+mn-lt"/>
                        </a:rPr>
                        <a:t>2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9181467"/>
                  </a:ext>
                </a:extLst>
              </a:tr>
              <a:tr h="72141">
                <a:tc>
                  <a:txBody>
                    <a:bodyPr/>
                    <a:lstStyle/>
                    <a:p>
                      <a:pPr algn="ctr" fontAlgn="b"/>
                      <a:r>
                        <a:rPr lang="en-CH" sz="400" b="0" i="0" u="none" strike="noStrike">
                          <a:solidFill>
                            <a:schemeClr val="tx2"/>
                          </a:solidFill>
                          <a:effectLst/>
                          <a:latin typeface="+mn-lt"/>
                        </a:rPr>
                        <a:t>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esident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49409313"/>
                  </a:ext>
                </a:extLst>
              </a:tr>
              <a:tr h="72141">
                <a:tc>
                  <a:txBody>
                    <a:bodyPr/>
                    <a:lstStyle/>
                    <a:p>
                      <a:pPr algn="ctr" fontAlgn="b"/>
                      <a:r>
                        <a:rPr lang="en-CH" sz="400" b="0" i="0" u="none" strike="noStrike">
                          <a:solidFill>
                            <a:schemeClr val="tx2"/>
                          </a:solidFill>
                          <a:effectLst/>
                          <a:latin typeface="+mn-lt"/>
                        </a:rPr>
                        <a:t>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ndechser Natur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0138508"/>
                  </a:ext>
                </a:extLst>
              </a:tr>
              <a:tr h="72141">
                <a:tc>
                  <a:txBody>
                    <a:bodyPr/>
                    <a:lstStyle/>
                    <a:p>
                      <a:pPr algn="ctr" fontAlgn="b"/>
                      <a:r>
                        <a:rPr lang="en-CH" sz="400" b="0" i="0" u="none" strike="noStrike">
                          <a:solidFill>
                            <a:schemeClr val="tx2"/>
                          </a:solidFill>
                          <a:effectLst/>
                          <a:latin typeface="+mn-lt"/>
                        </a:rPr>
                        <a:t>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Echt Franke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62685953"/>
                  </a:ext>
                </a:extLst>
              </a:tr>
              <a:tr h="72141">
                <a:tc>
                  <a:txBody>
                    <a:bodyPr/>
                    <a:lstStyle/>
                    <a:p>
                      <a:pPr algn="ctr" fontAlgn="b"/>
                      <a:r>
                        <a:rPr lang="en-CH" sz="400" b="0" i="0" u="none" strike="noStrike">
                          <a:solidFill>
                            <a:schemeClr val="tx2"/>
                          </a:solidFill>
                          <a:effectLst/>
                          <a:latin typeface="+mn-lt"/>
                        </a:rPr>
                        <a:t>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nb-NO" sz="400" b="0" i="0" u="none" strike="noStrike">
                          <a:solidFill>
                            <a:schemeClr val="tx2"/>
                          </a:solidFill>
                          <a:effectLst/>
                          <a:latin typeface="+mn-lt"/>
                        </a:rPr>
                        <a:t>Private Label Pilz Glas 1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84834823"/>
                  </a:ext>
                </a:extLst>
              </a:tr>
              <a:tr h="72141">
                <a:tc>
                  <a:txBody>
                    <a:bodyPr/>
                    <a:lstStyle/>
                    <a:p>
                      <a:pPr algn="ctr" fontAlgn="b"/>
                      <a:r>
                        <a:rPr lang="en-CH" sz="400" b="0" i="0" u="none" strike="noStrike">
                          <a:solidFill>
                            <a:schemeClr val="tx2"/>
                          </a:solidFill>
                          <a:effectLst/>
                          <a:latin typeface="+mn-lt"/>
                        </a:rPr>
                        <a:t>2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Kerrygold Original Kraeuter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2592600"/>
                  </a:ext>
                </a:extLst>
              </a:tr>
              <a:tr h="72141">
                <a:tc>
                  <a:txBody>
                    <a:bodyPr/>
                    <a:lstStyle/>
                    <a:p>
                      <a:pPr algn="ctr" fontAlgn="b"/>
                      <a:r>
                        <a:rPr lang="en-CH" sz="400" b="0" i="0" u="none" strike="noStrike">
                          <a:solidFill>
                            <a:schemeClr val="tx2"/>
                          </a:solidFill>
                          <a:effectLst/>
                          <a:latin typeface="+mn-lt"/>
                        </a:rPr>
                        <a:t>2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Bio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4432554"/>
                  </a:ext>
                </a:extLst>
              </a:tr>
              <a:tr h="72141">
                <a:tc>
                  <a:txBody>
                    <a:bodyPr/>
                    <a:lstStyle/>
                    <a:p>
                      <a:pPr algn="ctr" fontAlgn="b"/>
                      <a:r>
                        <a:rPr lang="en-CH" sz="400" b="0" i="0" u="none" strike="noStrike">
                          <a:solidFill>
                            <a:schemeClr val="tx2"/>
                          </a:solidFill>
                          <a:effectLst/>
                          <a:latin typeface="+mn-lt"/>
                        </a:rPr>
                        <a:t>3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Hansano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5818235"/>
                  </a:ext>
                </a:extLst>
              </a:tr>
              <a:tr h="72141">
                <a:tc>
                  <a:txBody>
                    <a:bodyPr/>
                    <a:lstStyle/>
                    <a:p>
                      <a:pPr algn="ctr" fontAlgn="b"/>
                      <a:r>
                        <a:rPr lang="en-CH" sz="400" b="0" i="0" u="none" strike="noStrike">
                          <a:solidFill>
                            <a:schemeClr val="tx2"/>
                          </a:solidFill>
                          <a:effectLst/>
                          <a:latin typeface="+mn-lt"/>
                        </a:rPr>
                        <a:t>3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Meggle Knoblauch / Zwiebel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14338691"/>
                  </a:ext>
                </a:extLst>
              </a:tr>
              <a:tr h="72141">
                <a:tc>
                  <a:txBody>
                    <a:bodyPr/>
                    <a:lstStyle/>
                    <a:p>
                      <a:pPr algn="ctr" fontAlgn="b"/>
                      <a:r>
                        <a:rPr lang="en-CH" sz="400" b="0" i="0" u="none" strike="noStrike">
                          <a:solidFill>
                            <a:schemeClr val="tx2"/>
                          </a:solidFill>
                          <a:effectLst/>
                          <a:latin typeface="+mn-lt"/>
                        </a:rPr>
                        <a:t>3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9559883"/>
                  </a:ext>
                </a:extLst>
              </a:tr>
              <a:tr h="72141">
                <a:tc>
                  <a:txBody>
                    <a:bodyPr/>
                    <a:lstStyle/>
                    <a:p>
                      <a:pPr algn="ctr" fontAlgn="b"/>
                      <a:r>
                        <a:rPr lang="en-CH" sz="400" b="0" i="0" u="none" strike="noStrike">
                          <a:solidFill>
                            <a:schemeClr val="tx2"/>
                          </a:solidFill>
                          <a:effectLst/>
                          <a:latin typeface="+mn-lt"/>
                        </a:rPr>
                        <a:t>3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6527690"/>
                  </a:ext>
                </a:extLst>
              </a:tr>
              <a:tr h="72141">
                <a:tc>
                  <a:txBody>
                    <a:bodyPr/>
                    <a:lstStyle/>
                    <a:p>
                      <a:pPr algn="ctr" fontAlgn="b"/>
                      <a:r>
                        <a:rPr lang="en-CH" sz="400" b="0" i="0" u="none" strike="noStrike">
                          <a:solidFill>
                            <a:schemeClr val="tx2"/>
                          </a:solidFill>
                          <a:effectLst/>
                          <a:latin typeface="+mn-lt"/>
                        </a:rPr>
                        <a:t>3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3181845"/>
                  </a:ext>
                </a:extLst>
              </a:tr>
              <a:tr h="72141">
                <a:tc>
                  <a:txBody>
                    <a:bodyPr/>
                    <a:lstStyle/>
                    <a:p>
                      <a:pPr algn="ctr" fontAlgn="b"/>
                      <a:r>
                        <a:rPr lang="en-CH" sz="400" b="0" i="0" u="none" strike="noStrike">
                          <a:solidFill>
                            <a:schemeClr val="tx2"/>
                          </a:solidFill>
                          <a:effectLst/>
                          <a:latin typeface="+mn-lt"/>
                        </a:rPr>
                        <a:t>3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72141">
                <a:tc>
                  <a:txBody>
                    <a:bodyPr/>
                    <a:lstStyle/>
                    <a:p>
                      <a:pPr algn="ctr" fontAlgn="b"/>
                      <a:r>
                        <a:rPr lang="en-CH" sz="400" b="0" i="0" u="none" strike="noStrike">
                          <a:solidFill>
                            <a:schemeClr val="tx2"/>
                          </a:solidFill>
                          <a:effectLst/>
                          <a:latin typeface="+mn-lt"/>
                        </a:rPr>
                        <a:t>3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ogtlandweide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72141">
                <a:tc>
                  <a:txBody>
                    <a:bodyPr/>
                    <a:lstStyle/>
                    <a:p>
                      <a:pPr algn="ctr" fontAlgn="b"/>
                      <a:r>
                        <a:rPr lang="en-CH" sz="400" b="0" i="0" u="none" strike="noStrike">
                          <a:solidFill>
                            <a:schemeClr val="tx2"/>
                          </a:solidFill>
                          <a:effectLst/>
                          <a:latin typeface="+mn-lt"/>
                        </a:rPr>
                        <a:t>3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oldsteig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72141">
                <a:tc>
                  <a:txBody>
                    <a:bodyPr/>
                    <a:lstStyle/>
                    <a:p>
                      <a:pPr algn="ctr" fontAlgn="b"/>
                      <a:r>
                        <a:rPr lang="en-CH" sz="400" b="0" i="0" u="none" strike="noStrike">
                          <a:solidFill>
                            <a:schemeClr val="tx2"/>
                          </a:solidFill>
                          <a:effectLst/>
                          <a:latin typeface="+mn-lt"/>
                        </a:rPr>
                        <a:t>3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achsen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72141">
                <a:tc>
                  <a:txBody>
                    <a:bodyPr/>
                    <a:lstStyle/>
                    <a:p>
                      <a:pPr algn="ctr" fontAlgn="b"/>
                      <a:r>
                        <a:rPr lang="en-CH" sz="400" b="0" i="0" u="none" strike="noStrike">
                          <a:solidFill>
                            <a:schemeClr val="tx2"/>
                          </a:solidFill>
                          <a:effectLst/>
                          <a:latin typeface="+mn-lt"/>
                        </a:rPr>
                        <a:t>3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72141">
                <a:tc>
                  <a:txBody>
                    <a:bodyPr/>
                    <a:lstStyle/>
                    <a:p>
                      <a:pPr algn="ctr" fontAlgn="b"/>
                      <a:r>
                        <a:rPr lang="en-CH" sz="400" b="0" i="0" u="none" strike="noStrike">
                          <a:solidFill>
                            <a:schemeClr val="tx2"/>
                          </a:solidFill>
                          <a:effectLst/>
                          <a:latin typeface="+mn-lt"/>
                        </a:rPr>
                        <a:t>4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en-US" sz="400" b="0" i="0" u="none" strike="noStrike">
                          <a:solidFill>
                            <a:schemeClr val="tx2"/>
                          </a:solidFill>
                          <a:effectLst/>
                          <a:latin typeface="+mn-lt"/>
                        </a:rPr>
                        <a:t>Kerrygold Becher 1 Ct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72141">
                <a:tc>
                  <a:txBody>
                    <a:bodyPr/>
                    <a:lstStyle/>
                    <a:p>
                      <a:pPr algn="ctr" fontAlgn="b"/>
                      <a:r>
                        <a:rPr lang="en-CH" sz="400" b="0" i="0" u="none" strike="noStrike">
                          <a:solidFill>
                            <a:schemeClr val="tx2"/>
                          </a:solidFill>
                          <a:effectLst/>
                          <a:latin typeface="+mn-lt"/>
                        </a:rPr>
                        <a:t>4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72141">
                <a:tc>
                  <a:txBody>
                    <a:bodyPr/>
                    <a:lstStyle/>
                    <a:p>
                      <a:pPr algn="ctr" fontAlgn="b"/>
                      <a:r>
                        <a:rPr lang="en-CH" sz="400" b="0" i="0" u="none" strike="noStrike">
                          <a:solidFill>
                            <a:schemeClr val="tx2"/>
                          </a:solidFill>
                          <a:effectLst/>
                          <a:latin typeface="+mn-lt"/>
                        </a:rPr>
                        <a:t>4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Uplaender Bio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72141">
                <a:tc>
                  <a:txBody>
                    <a:bodyPr/>
                    <a:lstStyle/>
                    <a:p>
                      <a:pPr algn="ctr" fontAlgn="b"/>
                      <a:r>
                        <a:rPr lang="en-CH" sz="400" b="0" i="0" u="none" strike="noStrike">
                          <a:solidFill>
                            <a:schemeClr val="tx2"/>
                          </a:solidFill>
                          <a:effectLst/>
                          <a:latin typeface="+mn-lt"/>
                        </a:rPr>
                        <a:t>4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Grill / Fleisch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72141">
                <a:tc>
                  <a:txBody>
                    <a:bodyPr/>
                    <a:lstStyle/>
                    <a:p>
                      <a:pPr algn="ctr" fontAlgn="b"/>
                      <a:r>
                        <a:rPr lang="en-CH" sz="400" b="0" i="0" u="none" strike="noStrike">
                          <a:solidFill>
                            <a:schemeClr val="tx2"/>
                          </a:solidFill>
                          <a:effectLst/>
                          <a:latin typeface="+mn-lt"/>
                        </a:rPr>
                        <a:t>4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Dairygold Original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72141">
                <a:tc>
                  <a:txBody>
                    <a:bodyPr/>
                    <a:lstStyle/>
                    <a:p>
                      <a:pPr algn="ctr" fontAlgn="b"/>
                      <a:r>
                        <a:rPr lang="en-CH" sz="400" b="0" i="0" u="none" strike="noStrike">
                          <a:solidFill>
                            <a:schemeClr val="tx2"/>
                          </a:solidFill>
                          <a:effectLst/>
                          <a:latin typeface="+mn-lt"/>
                        </a:rPr>
                        <a:t>4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72141">
                <a:tc>
                  <a:txBody>
                    <a:bodyPr/>
                    <a:lstStyle/>
                    <a:p>
                      <a:pPr algn="ctr" fontAlgn="b"/>
                      <a:r>
                        <a:rPr lang="en-CH" sz="400" b="0" i="0" u="none" strike="noStrike">
                          <a:solidFill>
                            <a:schemeClr val="tx2"/>
                          </a:solidFill>
                          <a:effectLst/>
                          <a:latin typeface="+mn-lt"/>
                        </a:rPr>
                        <a:t>4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uessrahmbut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
                <a:tc>
                  <a:txBody>
                    <a:bodyPr/>
                    <a:lstStyle/>
                    <a:p>
                      <a:pPr algn="ctr" fontAlgn="b"/>
                      <a:r>
                        <a:rPr lang="en-CH" sz="400" b="0" i="0" u="none" strike="noStrike">
                          <a:solidFill>
                            <a:schemeClr val="tx2"/>
                          </a:solidFill>
                          <a:effectLst/>
                          <a:latin typeface="+mn-lt"/>
                        </a:rPr>
                        <a:t>4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Suessrahmbutter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
                <a:tc>
                  <a:txBody>
                    <a:bodyPr/>
                    <a:lstStyle/>
                    <a:p>
                      <a:pPr algn="ctr" fontAlgn="b"/>
                      <a:r>
                        <a:rPr lang="en-CH" sz="400" b="0" i="0" u="none" strike="noStrike">
                          <a:solidFill>
                            <a:schemeClr val="tx2"/>
                          </a:solidFill>
                          <a:effectLst/>
                          <a:latin typeface="+mn-lt"/>
                        </a:rPr>
                        <a:t>4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Mediterran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
                <a:tc>
                  <a:txBody>
                    <a:bodyPr/>
                    <a:lstStyle/>
                    <a:p>
                      <a:pPr algn="ctr" fontAlgn="b"/>
                      <a:r>
                        <a:rPr lang="en-CH" sz="400" b="0" i="0" u="none" strike="noStrike">
                          <a:solidFill>
                            <a:schemeClr val="tx2"/>
                          </a:solidFill>
                          <a:effectLst/>
                          <a:latin typeface="+mn-lt"/>
                        </a:rPr>
                        <a:t>4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Frankenland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
                <a:tc>
                  <a:txBody>
                    <a:bodyPr/>
                    <a:lstStyle/>
                    <a:p>
                      <a:pPr algn="ctr" fontAlgn="b"/>
                      <a:r>
                        <a:rPr lang="en-CH" sz="400" b="0" i="0" u="none" strike="noStrike">
                          <a:solidFill>
                            <a:schemeClr val="tx2"/>
                          </a:solidFill>
                          <a:effectLst/>
                          <a:latin typeface="+mn-lt"/>
                        </a:rPr>
                        <a:t>5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dirty="0" err="1">
                          <a:solidFill>
                            <a:schemeClr val="tx2"/>
                          </a:solidFill>
                          <a:effectLst/>
                          <a:latin typeface="+mn-lt"/>
                        </a:rPr>
                        <a:t>Meggle</a:t>
                      </a:r>
                      <a:r>
                        <a:rPr lang="fr-CH" sz="400" b="0" i="0" u="none" strike="noStrike" dirty="0">
                          <a:solidFill>
                            <a:schemeClr val="tx2"/>
                          </a:solidFill>
                          <a:effectLst/>
                          <a:latin typeface="+mn-lt"/>
                        </a:rPr>
                        <a:t> </a:t>
                      </a:r>
                      <a:r>
                        <a:rPr lang="fr-CH" sz="400" b="0" i="0" u="none" strike="noStrike" dirty="0" err="1">
                          <a:solidFill>
                            <a:schemeClr val="tx2"/>
                          </a:solidFill>
                          <a:effectLst/>
                          <a:latin typeface="+mn-lt"/>
                        </a:rPr>
                        <a:t>Vegane</a:t>
                      </a:r>
                      <a:r>
                        <a:rPr lang="fr-CH" sz="400" b="0" i="0" u="none" strike="noStrike" dirty="0">
                          <a:solidFill>
                            <a:schemeClr val="tx2"/>
                          </a:solidFill>
                          <a:effectLst/>
                          <a:latin typeface="+mn-lt"/>
                        </a:rPr>
                        <a:t> Grill / </a:t>
                      </a:r>
                      <a:r>
                        <a:rPr lang="fr-CH" sz="400" b="0" i="0" u="none" strike="noStrike" dirty="0" err="1">
                          <a:solidFill>
                            <a:schemeClr val="tx2"/>
                          </a:solidFill>
                          <a:effectLst/>
                          <a:latin typeface="+mn-lt"/>
                        </a:rPr>
                        <a:t>Fleisch</a:t>
                      </a:r>
                      <a:r>
                        <a:rPr lang="fr-CH" sz="400" b="0" i="0" u="none" strike="noStrike" dirty="0">
                          <a:solidFill>
                            <a:schemeClr val="tx2"/>
                          </a:solidFill>
                          <a:effectLst/>
                          <a:latin typeface="+mn-lt"/>
                        </a:rPr>
                        <a:t> Tube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65987557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0/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dirty="0"/>
              <a:t>DATA SOURCE: Trade Panel/Retailer Data | Ending Dec 2022</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Value Uplift vs Promo Efficiency | By Product | Category/Sector | Retailer | P12M</a:t>
            </a:r>
          </a:p>
          <a:p>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
                <a:tc>
                  <a:txBody>
                    <a:bodyPr/>
                    <a:lstStyle/>
                    <a:p>
                      <a:pPr algn="ctr" fontAlgn="b"/>
                      <a:r>
                        <a:rPr lang="en-CH" sz="400" b="0" i="0" u="none" strike="noStrike">
                          <a:solidFill>
                            <a:schemeClr val="tx2"/>
                          </a:solidFill>
                          <a:effectLst/>
                          <a:latin typeface="+mn-lt"/>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68475315"/>
                  </a:ext>
                </a:extLst>
              </a:tr>
              <a:tr h="72141">
                <a:tc>
                  <a:txBody>
                    <a:bodyPr/>
                    <a:lstStyle/>
                    <a:p>
                      <a:pPr algn="ctr" fontAlgn="b"/>
                      <a:r>
                        <a:rPr lang="en-CH" sz="400" b="0" i="0" u="none" strike="noStrike">
                          <a:solidFill>
                            <a:schemeClr val="tx2"/>
                          </a:solidFill>
                          <a:effectLst/>
                          <a:latin typeface="+mn-lt"/>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74345675"/>
                  </a:ext>
                </a:extLst>
              </a:tr>
              <a:tr h="72141">
                <a:tc>
                  <a:txBody>
                    <a:bodyPr/>
                    <a:lstStyle/>
                    <a:p>
                      <a:pPr algn="ctr" fontAlgn="b"/>
                      <a:r>
                        <a:rPr lang="en-CH" sz="400" b="0" i="0" u="none" strike="noStrike">
                          <a:solidFill>
                            <a:schemeClr val="tx2"/>
                          </a:solidFill>
                          <a:effectLst/>
                          <a:latin typeface="+mn-lt"/>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1017686"/>
                  </a:ext>
                </a:extLst>
              </a:tr>
              <a:tr h="72141">
                <a:tc>
                  <a:txBody>
                    <a:bodyPr/>
                    <a:lstStyle/>
                    <a:p>
                      <a:pPr algn="ctr" fontAlgn="b"/>
                      <a:r>
                        <a:rPr lang="en-CH" sz="400" b="0" i="0" u="none" strike="noStrike">
                          <a:solidFill>
                            <a:schemeClr val="tx2"/>
                          </a:solidFill>
                          <a:effectLst/>
                          <a:latin typeface="+mn-lt"/>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Weihenstepha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53934404"/>
                  </a:ext>
                </a:extLst>
              </a:tr>
              <a:tr h="72141">
                <a:tc>
                  <a:txBody>
                    <a:bodyPr/>
                    <a:lstStyle/>
                    <a:p>
                      <a:pPr algn="ctr" fontAlgn="b"/>
                      <a:r>
                        <a:rPr lang="en-CH" sz="400" b="0" i="0" u="none" strike="noStrike">
                          <a:solidFill>
                            <a:schemeClr val="tx2"/>
                          </a:solidFill>
                          <a:effectLst/>
                          <a:latin typeface="+mn-lt"/>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83251638"/>
                  </a:ext>
                </a:extLst>
              </a:tr>
              <a:tr h="72141">
                <a:tc>
                  <a:txBody>
                    <a:bodyPr/>
                    <a:lstStyle/>
                    <a:p>
                      <a:pPr algn="ctr" fontAlgn="b"/>
                      <a:r>
                        <a:rPr lang="en-CH" sz="400" b="0" i="0" u="none" strike="noStrike">
                          <a:solidFill>
                            <a:schemeClr val="tx2"/>
                          </a:solidFill>
                          <a:effectLst/>
                          <a:latin typeface="+mn-lt"/>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Frau Antj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61931653"/>
                  </a:ext>
                </a:extLst>
              </a:tr>
              <a:tr h="72141">
                <a:tc>
                  <a:txBody>
                    <a:bodyPr/>
                    <a:lstStyle/>
                    <a:p>
                      <a:pPr algn="ctr" fontAlgn="b"/>
                      <a:r>
                        <a:rPr lang="en-CH" sz="400" b="0" i="0" u="none" strike="noStrike">
                          <a:solidFill>
                            <a:schemeClr val="tx2"/>
                          </a:solidFill>
                          <a:effectLst/>
                          <a:latin typeface="+mn-lt"/>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Becher 2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29411828"/>
                  </a:ext>
                </a:extLst>
              </a:tr>
              <a:tr h="72141">
                <a:tc>
                  <a:txBody>
                    <a:bodyPr/>
                    <a:lstStyle/>
                    <a:p>
                      <a:pPr algn="ctr" fontAlgn="b"/>
                      <a:r>
                        <a:rPr lang="en-CH" sz="400" b="0" i="0" u="none" strike="noStrike">
                          <a:solidFill>
                            <a:schemeClr val="tx2"/>
                          </a:solidFill>
                          <a:effectLst/>
                          <a:latin typeface="+mn-lt"/>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9762943"/>
                  </a:ext>
                </a:extLst>
              </a:tr>
              <a:tr h="72141">
                <a:tc>
                  <a:txBody>
                    <a:bodyPr/>
                    <a:lstStyle/>
                    <a:p>
                      <a:pPr algn="ctr" fontAlgn="b"/>
                      <a:r>
                        <a:rPr lang="en-CH" sz="400" b="0" i="0" u="none" strike="noStrike">
                          <a:solidFill>
                            <a:schemeClr val="tx2"/>
                          </a:solidFill>
                          <a:effectLst/>
                          <a:latin typeface="+mn-lt"/>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Bech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63467390"/>
                  </a:ext>
                </a:extLst>
              </a:tr>
              <a:tr h="72141">
                <a:tc>
                  <a:txBody>
                    <a:bodyPr/>
                    <a:lstStyle/>
                    <a:p>
                      <a:pPr algn="ctr" fontAlgn="b"/>
                      <a:r>
                        <a:rPr lang="en-CH" sz="400" b="0" i="0" u="none" strike="noStrike">
                          <a:solidFill>
                            <a:schemeClr val="tx2"/>
                          </a:solidFill>
                          <a:effectLst/>
                          <a:latin typeface="+mn-lt"/>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8294199"/>
                  </a:ext>
                </a:extLst>
              </a:tr>
              <a:tr h="72141">
                <a:tc>
                  <a:txBody>
                    <a:bodyPr/>
                    <a:lstStyle/>
                    <a:p>
                      <a:pPr algn="ctr" fontAlgn="b"/>
                      <a:r>
                        <a:rPr lang="en-CH" sz="400" b="0" i="0" u="none" strike="noStrike">
                          <a:solidFill>
                            <a:schemeClr val="tx2"/>
                          </a:solidFill>
                          <a:effectLst/>
                          <a:latin typeface="+mn-lt"/>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12783936"/>
                  </a:ext>
                </a:extLst>
              </a:tr>
              <a:tr h="72141">
                <a:tc>
                  <a:txBody>
                    <a:bodyPr/>
                    <a:lstStyle/>
                    <a:p>
                      <a:pPr algn="ctr" fontAlgn="b"/>
                      <a:r>
                        <a:rPr lang="en-CH" sz="400" b="0" i="0" u="none" strike="noStrike">
                          <a:solidFill>
                            <a:schemeClr val="tx2"/>
                          </a:solidFill>
                          <a:effectLst/>
                          <a:latin typeface="+mn-lt"/>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alte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7362147"/>
                  </a:ext>
                </a:extLst>
              </a:tr>
              <a:tr h="72141">
                <a:tc>
                  <a:txBody>
                    <a:bodyPr/>
                    <a:lstStyle/>
                    <a:p>
                      <a:pPr algn="ctr" fontAlgn="b"/>
                      <a:r>
                        <a:rPr lang="en-CH" sz="400" b="0" i="0" u="none" strike="noStrike">
                          <a:solidFill>
                            <a:schemeClr val="tx2"/>
                          </a:solidFill>
                          <a:effectLst/>
                          <a:latin typeface="+mn-lt"/>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91460699"/>
                  </a:ext>
                </a:extLst>
              </a:tr>
              <a:tr h="72141">
                <a:tc>
                  <a:txBody>
                    <a:bodyPr/>
                    <a:lstStyle/>
                    <a:p>
                      <a:pPr algn="ctr" fontAlgn="b"/>
                      <a:r>
                        <a:rPr lang="en-CH" sz="400" b="0" i="0" u="none" strike="noStrike">
                          <a:solidFill>
                            <a:schemeClr val="tx2"/>
                          </a:solidFill>
                          <a:effectLst/>
                          <a:latin typeface="+mn-lt"/>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iolife Vioblock Vegan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40093880"/>
                  </a:ext>
                </a:extLst>
              </a:tr>
              <a:tr h="72141">
                <a:tc>
                  <a:txBody>
                    <a:bodyPr/>
                    <a:lstStyle/>
                    <a:p>
                      <a:pPr algn="ctr" fontAlgn="b"/>
                      <a:r>
                        <a:rPr lang="en-CH" sz="400" b="0" i="0" u="none" strike="noStrike">
                          <a:solidFill>
                            <a:schemeClr val="tx2"/>
                          </a:solidFill>
                          <a:effectLst/>
                          <a:latin typeface="+mn-lt"/>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llgaeuer Hof 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50994264"/>
                  </a:ext>
                </a:extLst>
              </a:tr>
              <a:tr h="72141">
                <a:tc>
                  <a:txBody>
                    <a:bodyPr/>
                    <a:lstStyle/>
                    <a:p>
                      <a:pPr algn="ctr" fontAlgn="b"/>
                      <a:r>
                        <a:rPr lang="en-CH" sz="400" b="0" i="0" u="none" strike="noStrike">
                          <a:solidFill>
                            <a:schemeClr val="tx2"/>
                          </a:solidFill>
                          <a:effectLst/>
                          <a:latin typeface="+mn-lt"/>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Tube Vegan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75426428"/>
                  </a:ext>
                </a:extLst>
              </a:tr>
              <a:tr h="72141">
                <a:tc>
                  <a:txBody>
                    <a:bodyPr/>
                    <a:lstStyle/>
                    <a:p>
                      <a:pPr algn="ctr" fontAlgn="b"/>
                      <a:r>
                        <a:rPr lang="en-CH" sz="400" b="0" i="0" u="none" strike="noStrike">
                          <a:solidFill>
                            <a:schemeClr val="tx2"/>
                          </a:solidFill>
                          <a:effectLst/>
                          <a:latin typeface="+mn-lt"/>
                        </a:rPr>
                        <a:t>1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Allgaeuer Hof 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97241745"/>
                  </a:ext>
                </a:extLst>
              </a:tr>
              <a:tr h="72141">
                <a:tc>
                  <a:txBody>
                    <a:bodyPr/>
                    <a:lstStyle/>
                    <a:p>
                      <a:pPr algn="ctr" fontAlgn="b"/>
                      <a:r>
                        <a:rPr lang="en-CH" sz="400" b="0" i="0" u="none" strike="noStrike">
                          <a:solidFill>
                            <a:schemeClr val="tx2"/>
                          </a:solidFill>
                          <a:effectLst/>
                          <a:latin typeface="+mn-lt"/>
                        </a:rPr>
                        <a:t>1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Becher 1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13182630"/>
                  </a:ext>
                </a:extLst>
              </a:tr>
              <a:tr h="72141">
                <a:tc>
                  <a:txBody>
                    <a:bodyPr/>
                    <a:lstStyle/>
                    <a:p>
                      <a:pPr algn="ctr" fontAlgn="b"/>
                      <a:r>
                        <a:rPr lang="en-CH" sz="400" b="0" i="0" u="none" strike="noStrike">
                          <a:solidFill>
                            <a:schemeClr val="tx2"/>
                          </a:solidFill>
                          <a:effectLst/>
                          <a:latin typeface="+mn-lt"/>
                        </a:rPr>
                        <a:t>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5205234"/>
                  </a:ext>
                </a:extLst>
              </a:tr>
              <a:tr h="72141">
                <a:tc>
                  <a:txBody>
                    <a:bodyPr/>
                    <a:lstStyle/>
                    <a:p>
                      <a:pPr algn="ctr" fontAlgn="b"/>
                      <a:r>
                        <a:rPr lang="en-CH" sz="400" b="0" i="0" u="none" strike="noStrike">
                          <a:solidFill>
                            <a:schemeClr val="tx2"/>
                          </a:solidFill>
                          <a:effectLst/>
                          <a:latin typeface="+mn-lt"/>
                        </a:rPr>
                        <a:t>2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04871848"/>
                  </a:ext>
                </a:extLst>
              </a:tr>
              <a:tr h="72141">
                <a:tc>
                  <a:txBody>
                    <a:bodyPr/>
                    <a:lstStyle/>
                    <a:p>
                      <a:pPr algn="ctr" fontAlgn="b"/>
                      <a:r>
                        <a:rPr lang="en-CH" sz="400" b="0" i="0" u="none" strike="noStrike">
                          <a:solidFill>
                            <a:schemeClr val="tx2"/>
                          </a:solidFill>
                          <a:effectLst/>
                          <a:latin typeface="+mn-lt"/>
                        </a:rPr>
                        <a:t>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Die Vegan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49180832"/>
                  </a:ext>
                </a:extLst>
              </a:tr>
              <a:tr h="72141">
                <a:tc>
                  <a:txBody>
                    <a:bodyPr/>
                    <a:lstStyle/>
                    <a:p>
                      <a:pPr algn="ctr" fontAlgn="b"/>
                      <a:r>
                        <a:rPr lang="en-CH" sz="400" b="0" i="0" u="none" strike="noStrike">
                          <a:solidFill>
                            <a:schemeClr val="tx2"/>
                          </a:solidFill>
                          <a:effectLst/>
                          <a:latin typeface="+mn-lt"/>
                        </a:rPr>
                        <a:t>2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17787889"/>
                  </a:ext>
                </a:extLst>
              </a:tr>
              <a:tr h="72141">
                <a:tc>
                  <a:txBody>
                    <a:bodyPr/>
                    <a:lstStyle/>
                    <a:p>
                      <a:pPr algn="ctr" fontAlgn="b"/>
                      <a:r>
                        <a:rPr lang="en-CH" sz="400" b="0" i="0" u="none" strike="noStrike">
                          <a:solidFill>
                            <a:schemeClr val="tx2"/>
                          </a:solidFill>
                          <a:effectLst/>
                          <a:latin typeface="+mn-lt"/>
                        </a:rPr>
                        <a:t>2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9181467"/>
                  </a:ext>
                </a:extLst>
              </a:tr>
              <a:tr h="72141">
                <a:tc>
                  <a:txBody>
                    <a:bodyPr/>
                    <a:lstStyle/>
                    <a:p>
                      <a:pPr algn="ctr" fontAlgn="b"/>
                      <a:r>
                        <a:rPr lang="en-CH" sz="400" b="0" i="0" u="none" strike="noStrike">
                          <a:solidFill>
                            <a:schemeClr val="tx2"/>
                          </a:solidFill>
                          <a:effectLst/>
                          <a:latin typeface="+mn-lt"/>
                        </a:rPr>
                        <a:t>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esident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49409313"/>
                  </a:ext>
                </a:extLst>
              </a:tr>
              <a:tr h="72141">
                <a:tc>
                  <a:txBody>
                    <a:bodyPr/>
                    <a:lstStyle/>
                    <a:p>
                      <a:pPr algn="ctr" fontAlgn="b"/>
                      <a:r>
                        <a:rPr lang="en-CH" sz="400" b="0" i="0" u="none" strike="noStrike">
                          <a:solidFill>
                            <a:schemeClr val="tx2"/>
                          </a:solidFill>
                          <a:effectLst/>
                          <a:latin typeface="+mn-lt"/>
                        </a:rPr>
                        <a:t>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ndechser Natur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0138508"/>
                  </a:ext>
                </a:extLst>
              </a:tr>
              <a:tr h="72141">
                <a:tc>
                  <a:txBody>
                    <a:bodyPr/>
                    <a:lstStyle/>
                    <a:p>
                      <a:pPr algn="ctr" fontAlgn="b"/>
                      <a:r>
                        <a:rPr lang="en-CH" sz="400" b="0" i="0" u="none" strike="noStrike">
                          <a:solidFill>
                            <a:schemeClr val="tx2"/>
                          </a:solidFill>
                          <a:effectLst/>
                          <a:latin typeface="+mn-lt"/>
                        </a:rPr>
                        <a:t>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Echt Franke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62685953"/>
                  </a:ext>
                </a:extLst>
              </a:tr>
              <a:tr h="72141">
                <a:tc>
                  <a:txBody>
                    <a:bodyPr/>
                    <a:lstStyle/>
                    <a:p>
                      <a:pPr algn="ctr" fontAlgn="b"/>
                      <a:r>
                        <a:rPr lang="en-CH" sz="400" b="0" i="0" u="none" strike="noStrike">
                          <a:solidFill>
                            <a:schemeClr val="tx2"/>
                          </a:solidFill>
                          <a:effectLst/>
                          <a:latin typeface="+mn-lt"/>
                        </a:rPr>
                        <a:t>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nb-NO" sz="400" b="0" i="0" u="none" strike="noStrike">
                          <a:solidFill>
                            <a:schemeClr val="tx2"/>
                          </a:solidFill>
                          <a:effectLst/>
                          <a:latin typeface="+mn-lt"/>
                        </a:rPr>
                        <a:t>Private Label Pilz Glas 1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84834823"/>
                  </a:ext>
                </a:extLst>
              </a:tr>
              <a:tr h="72141">
                <a:tc>
                  <a:txBody>
                    <a:bodyPr/>
                    <a:lstStyle/>
                    <a:p>
                      <a:pPr algn="ctr" fontAlgn="b"/>
                      <a:r>
                        <a:rPr lang="en-CH" sz="400" b="0" i="0" u="none" strike="noStrike">
                          <a:solidFill>
                            <a:schemeClr val="tx2"/>
                          </a:solidFill>
                          <a:effectLst/>
                          <a:latin typeface="+mn-lt"/>
                        </a:rPr>
                        <a:t>2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Kerrygold Original Kraeuter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2592600"/>
                  </a:ext>
                </a:extLst>
              </a:tr>
              <a:tr h="72141">
                <a:tc>
                  <a:txBody>
                    <a:bodyPr/>
                    <a:lstStyle/>
                    <a:p>
                      <a:pPr algn="ctr" fontAlgn="b"/>
                      <a:r>
                        <a:rPr lang="en-CH" sz="400" b="0" i="0" u="none" strike="noStrike">
                          <a:solidFill>
                            <a:schemeClr val="tx2"/>
                          </a:solidFill>
                          <a:effectLst/>
                          <a:latin typeface="+mn-lt"/>
                        </a:rPr>
                        <a:t>2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Bio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4432554"/>
                  </a:ext>
                </a:extLst>
              </a:tr>
              <a:tr h="72141">
                <a:tc>
                  <a:txBody>
                    <a:bodyPr/>
                    <a:lstStyle/>
                    <a:p>
                      <a:pPr algn="ctr" fontAlgn="b"/>
                      <a:r>
                        <a:rPr lang="en-CH" sz="400" b="0" i="0" u="none" strike="noStrike">
                          <a:solidFill>
                            <a:schemeClr val="tx2"/>
                          </a:solidFill>
                          <a:effectLst/>
                          <a:latin typeface="+mn-lt"/>
                        </a:rPr>
                        <a:t>3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Hansano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5818235"/>
                  </a:ext>
                </a:extLst>
              </a:tr>
              <a:tr h="72141">
                <a:tc>
                  <a:txBody>
                    <a:bodyPr/>
                    <a:lstStyle/>
                    <a:p>
                      <a:pPr algn="ctr" fontAlgn="b"/>
                      <a:r>
                        <a:rPr lang="en-CH" sz="400" b="0" i="0" u="none" strike="noStrike">
                          <a:solidFill>
                            <a:schemeClr val="tx2"/>
                          </a:solidFill>
                          <a:effectLst/>
                          <a:latin typeface="+mn-lt"/>
                        </a:rPr>
                        <a:t>3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Meggle Knoblauch / Zwiebel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14338691"/>
                  </a:ext>
                </a:extLst>
              </a:tr>
              <a:tr h="72141">
                <a:tc>
                  <a:txBody>
                    <a:bodyPr/>
                    <a:lstStyle/>
                    <a:p>
                      <a:pPr algn="ctr" fontAlgn="b"/>
                      <a:r>
                        <a:rPr lang="en-CH" sz="400" b="0" i="0" u="none" strike="noStrike">
                          <a:solidFill>
                            <a:schemeClr val="tx2"/>
                          </a:solidFill>
                          <a:effectLst/>
                          <a:latin typeface="+mn-lt"/>
                        </a:rPr>
                        <a:t>3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9559883"/>
                  </a:ext>
                </a:extLst>
              </a:tr>
              <a:tr h="72141">
                <a:tc>
                  <a:txBody>
                    <a:bodyPr/>
                    <a:lstStyle/>
                    <a:p>
                      <a:pPr algn="ctr" fontAlgn="b"/>
                      <a:r>
                        <a:rPr lang="en-CH" sz="400" b="0" i="0" u="none" strike="noStrike">
                          <a:solidFill>
                            <a:schemeClr val="tx2"/>
                          </a:solidFill>
                          <a:effectLst/>
                          <a:latin typeface="+mn-lt"/>
                        </a:rPr>
                        <a:t>3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6527690"/>
                  </a:ext>
                </a:extLst>
              </a:tr>
              <a:tr h="72141">
                <a:tc>
                  <a:txBody>
                    <a:bodyPr/>
                    <a:lstStyle/>
                    <a:p>
                      <a:pPr algn="ctr" fontAlgn="b"/>
                      <a:r>
                        <a:rPr lang="en-CH" sz="400" b="0" i="0" u="none" strike="noStrike">
                          <a:solidFill>
                            <a:schemeClr val="tx2"/>
                          </a:solidFill>
                          <a:effectLst/>
                          <a:latin typeface="+mn-lt"/>
                        </a:rPr>
                        <a:t>3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3181845"/>
                  </a:ext>
                </a:extLst>
              </a:tr>
              <a:tr h="72141">
                <a:tc>
                  <a:txBody>
                    <a:bodyPr/>
                    <a:lstStyle/>
                    <a:p>
                      <a:pPr algn="ctr" fontAlgn="b"/>
                      <a:r>
                        <a:rPr lang="en-CH" sz="400" b="0" i="0" u="none" strike="noStrike">
                          <a:solidFill>
                            <a:schemeClr val="tx2"/>
                          </a:solidFill>
                          <a:effectLst/>
                          <a:latin typeface="+mn-lt"/>
                        </a:rPr>
                        <a:t>3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72141">
                <a:tc>
                  <a:txBody>
                    <a:bodyPr/>
                    <a:lstStyle/>
                    <a:p>
                      <a:pPr algn="ctr" fontAlgn="b"/>
                      <a:r>
                        <a:rPr lang="en-CH" sz="400" b="0" i="0" u="none" strike="noStrike">
                          <a:solidFill>
                            <a:schemeClr val="tx2"/>
                          </a:solidFill>
                          <a:effectLst/>
                          <a:latin typeface="+mn-lt"/>
                        </a:rPr>
                        <a:t>3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ogtlandweide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72141">
                <a:tc>
                  <a:txBody>
                    <a:bodyPr/>
                    <a:lstStyle/>
                    <a:p>
                      <a:pPr algn="ctr" fontAlgn="b"/>
                      <a:r>
                        <a:rPr lang="en-CH" sz="400" b="0" i="0" u="none" strike="noStrike">
                          <a:solidFill>
                            <a:schemeClr val="tx2"/>
                          </a:solidFill>
                          <a:effectLst/>
                          <a:latin typeface="+mn-lt"/>
                        </a:rPr>
                        <a:t>3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oldsteig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72141">
                <a:tc>
                  <a:txBody>
                    <a:bodyPr/>
                    <a:lstStyle/>
                    <a:p>
                      <a:pPr algn="ctr" fontAlgn="b"/>
                      <a:r>
                        <a:rPr lang="en-CH" sz="400" b="0" i="0" u="none" strike="noStrike">
                          <a:solidFill>
                            <a:schemeClr val="tx2"/>
                          </a:solidFill>
                          <a:effectLst/>
                          <a:latin typeface="+mn-lt"/>
                        </a:rPr>
                        <a:t>3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achsen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72141">
                <a:tc>
                  <a:txBody>
                    <a:bodyPr/>
                    <a:lstStyle/>
                    <a:p>
                      <a:pPr algn="ctr" fontAlgn="b"/>
                      <a:r>
                        <a:rPr lang="en-CH" sz="400" b="0" i="0" u="none" strike="noStrike">
                          <a:solidFill>
                            <a:schemeClr val="tx2"/>
                          </a:solidFill>
                          <a:effectLst/>
                          <a:latin typeface="+mn-lt"/>
                        </a:rPr>
                        <a:t>3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72141">
                <a:tc>
                  <a:txBody>
                    <a:bodyPr/>
                    <a:lstStyle/>
                    <a:p>
                      <a:pPr algn="ctr" fontAlgn="b"/>
                      <a:r>
                        <a:rPr lang="en-CH" sz="400" b="0" i="0" u="none" strike="noStrike">
                          <a:solidFill>
                            <a:schemeClr val="tx2"/>
                          </a:solidFill>
                          <a:effectLst/>
                          <a:latin typeface="+mn-lt"/>
                        </a:rPr>
                        <a:t>4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en-US" sz="400" b="0" i="0" u="none" strike="noStrike">
                          <a:solidFill>
                            <a:schemeClr val="tx2"/>
                          </a:solidFill>
                          <a:effectLst/>
                          <a:latin typeface="+mn-lt"/>
                        </a:rPr>
                        <a:t>Kerrygold Becher 1 Ct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72141">
                <a:tc>
                  <a:txBody>
                    <a:bodyPr/>
                    <a:lstStyle/>
                    <a:p>
                      <a:pPr algn="ctr" fontAlgn="b"/>
                      <a:r>
                        <a:rPr lang="en-CH" sz="400" b="0" i="0" u="none" strike="noStrike">
                          <a:solidFill>
                            <a:schemeClr val="tx2"/>
                          </a:solidFill>
                          <a:effectLst/>
                          <a:latin typeface="+mn-lt"/>
                        </a:rPr>
                        <a:t>4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72141">
                <a:tc>
                  <a:txBody>
                    <a:bodyPr/>
                    <a:lstStyle/>
                    <a:p>
                      <a:pPr algn="ctr" fontAlgn="b"/>
                      <a:r>
                        <a:rPr lang="en-CH" sz="400" b="0" i="0" u="none" strike="noStrike">
                          <a:solidFill>
                            <a:schemeClr val="tx2"/>
                          </a:solidFill>
                          <a:effectLst/>
                          <a:latin typeface="+mn-lt"/>
                        </a:rPr>
                        <a:t>4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Uplaender Bio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72141">
                <a:tc>
                  <a:txBody>
                    <a:bodyPr/>
                    <a:lstStyle/>
                    <a:p>
                      <a:pPr algn="ctr" fontAlgn="b"/>
                      <a:r>
                        <a:rPr lang="en-CH" sz="400" b="0" i="0" u="none" strike="noStrike">
                          <a:solidFill>
                            <a:schemeClr val="tx2"/>
                          </a:solidFill>
                          <a:effectLst/>
                          <a:latin typeface="+mn-lt"/>
                        </a:rPr>
                        <a:t>4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Grill / Fleisch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72141">
                <a:tc>
                  <a:txBody>
                    <a:bodyPr/>
                    <a:lstStyle/>
                    <a:p>
                      <a:pPr algn="ctr" fontAlgn="b"/>
                      <a:r>
                        <a:rPr lang="en-CH" sz="400" b="0" i="0" u="none" strike="noStrike">
                          <a:solidFill>
                            <a:schemeClr val="tx2"/>
                          </a:solidFill>
                          <a:effectLst/>
                          <a:latin typeface="+mn-lt"/>
                        </a:rPr>
                        <a:t>4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Dairygold Original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72141">
                <a:tc>
                  <a:txBody>
                    <a:bodyPr/>
                    <a:lstStyle/>
                    <a:p>
                      <a:pPr algn="ctr" fontAlgn="b"/>
                      <a:r>
                        <a:rPr lang="en-CH" sz="400" b="0" i="0" u="none" strike="noStrike">
                          <a:solidFill>
                            <a:schemeClr val="tx2"/>
                          </a:solidFill>
                          <a:effectLst/>
                          <a:latin typeface="+mn-lt"/>
                        </a:rPr>
                        <a:t>4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72141">
                <a:tc>
                  <a:txBody>
                    <a:bodyPr/>
                    <a:lstStyle/>
                    <a:p>
                      <a:pPr algn="ctr" fontAlgn="b"/>
                      <a:r>
                        <a:rPr lang="en-CH" sz="400" b="0" i="0" u="none" strike="noStrike">
                          <a:solidFill>
                            <a:schemeClr val="tx2"/>
                          </a:solidFill>
                          <a:effectLst/>
                          <a:latin typeface="+mn-lt"/>
                        </a:rPr>
                        <a:t>4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uessrahmbut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
                <a:tc>
                  <a:txBody>
                    <a:bodyPr/>
                    <a:lstStyle/>
                    <a:p>
                      <a:pPr algn="ctr" fontAlgn="b"/>
                      <a:r>
                        <a:rPr lang="en-CH" sz="400" b="0" i="0" u="none" strike="noStrike">
                          <a:solidFill>
                            <a:schemeClr val="tx2"/>
                          </a:solidFill>
                          <a:effectLst/>
                          <a:latin typeface="+mn-lt"/>
                        </a:rPr>
                        <a:t>4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Suessrahmbutter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
                <a:tc>
                  <a:txBody>
                    <a:bodyPr/>
                    <a:lstStyle/>
                    <a:p>
                      <a:pPr algn="ctr" fontAlgn="b"/>
                      <a:r>
                        <a:rPr lang="en-CH" sz="400" b="0" i="0" u="none" strike="noStrike">
                          <a:solidFill>
                            <a:schemeClr val="tx2"/>
                          </a:solidFill>
                          <a:effectLst/>
                          <a:latin typeface="+mn-lt"/>
                        </a:rPr>
                        <a:t>4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Mediterran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
                <a:tc>
                  <a:txBody>
                    <a:bodyPr/>
                    <a:lstStyle/>
                    <a:p>
                      <a:pPr algn="ctr" fontAlgn="b"/>
                      <a:r>
                        <a:rPr lang="en-CH" sz="400" b="0" i="0" u="none" strike="noStrike">
                          <a:solidFill>
                            <a:schemeClr val="tx2"/>
                          </a:solidFill>
                          <a:effectLst/>
                          <a:latin typeface="+mn-lt"/>
                        </a:rPr>
                        <a:t>4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Frankenland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
                <a:tc>
                  <a:txBody>
                    <a:bodyPr/>
                    <a:lstStyle/>
                    <a:p>
                      <a:pPr algn="ctr" fontAlgn="b"/>
                      <a:r>
                        <a:rPr lang="en-CH" sz="400" b="0" i="0" u="none" strike="noStrike">
                          <a:solidFill>
                            <a:schemeClr val="tx2"/>
                          </a:solidFill>
                          <a:effectLst/>
                          <a:latin typeface="+mn-lt"/>
                        </a:rPr>
                        <a:t>5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dirty="0" err="1">
                          <a:solidFill>
                            <a:schemeClr val="tx2"/>
                          </a:solidFill>
                          <a:effectLst/>
                          <a:latin typeface="+mn-lt"/>
                        </a:rPr>
                        <a:t>Meggle</a:t>
                      </a:r>
                      <a:r>
                        <a:rPr lang="fr-CH" sz="400" b="0" i="0" u="none" strike="noStrike" dirty="0">
                          <a:solidFill>
                            <a:schemeClr val="tx2"/>
                          </a:solidFill>
                          <a:effectLst/>
                          <a:latin typeface="+mn-lt"/>
                        </a:rPr>
                        <a:t> </a:t>
                      </a:r>
                      <a:r>
                        <a:rPr lang="fr-CH" sz="400" b="0" i="0" u="none" strike="noStrike" dirty="0" err="1">
                          <a:solidFill>
                            <a:schemeClr val="tx2"/>
                          </a:solidFill>
                          <a:effectLst/>
                          <a:latin typeface="+mn-lt"/>
                        </a:rPr>
                        <a:t>Vegane</a:t>
                      </a:r>
                      <a:r>
                        <a:rPr lang="fr-CH" sz="400" b="0" i="0" u="none" strike="noStrike" dirty="0">
                          <a:solidFill>
                            <a:schemeClr val="tx2"/>
                          </a:solidFill>
                          <a:effectLst/>
                          <a:latin typeface="+mn-lt"/>
                        </a:rPr>
                        <a:t> Grill / </a:t>
                      </a:r>
                      <a:r>
                        <a:rPr lang="fr-CH" sz="400" b="0" i="0" u="none" strike="noStrike" dirty="0" err="1">
                          <a:solidFill>
                            <a:schemeClr val="tx2"/>
                          </a:solidFill>
                          <a:effectLst/>
                          <a:latin typeface="+mn-lt"/>
                        </a:rPr>
                        <a:t>Fleisch</a:t>
                      </a:r>
                      <a:r>
                        <a:rPr lang="fr-CH" sz="400" b="0" i="0" u="none" strike="noStrike" dirty="0">
                          <a:solidFill>
                            <a:schemeClr val="tx2"/>
                          </a:solidFill>
                          <a:effectLst/>
                          <a:latin typeface="+mn-lt"/>
                        </a:rPr>
                        <a:t> Tube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65670659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0/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dirty="0"/>
              <a:t>DATA SOURCE: Trade Panel/Retailer Data | Ending Dec 2022</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Value Uplift vs Promo Efficiency | By Product | Category/Sector | Retailer | P12M</a:t>
            </a:r>
          </a:p>
          <a:p>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
                <a:tc>
                  <a:txBody>
                    <a:bodyPr/>
                    <a:lstStyle/>
                    <a:p>
                      <a:pPr algn="ctr" fontAlgn="b"/>
                      <a:r>
                        <a:rPr lang="en-CH" sz="400" b="0" i="0" u="none" strike="noStrike">
                          <a:solidFill>
                            <a:schemeClr val="tx2"/>
                          </a:solidFill>
                          <a:effectLst/>
                          <a:latin typeface="+mn-lt"/>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68475315"/>
                  </a:ext>
                </a:extLst>
              </a:tr>
              <a:tr h="72141">
                <a:tc>
                  <a:txBody>
                    <a:bodyPr/>
                    <a:lstStyle/>
                    <a:p>
                      <a:pPr algn="ctr" fontAlgn="b"/>
                      <a:r>
                        <a:rPr lang="en-CH" sz="400" b="0" i="0" u="none" strike="noStrike">
                          <a:solidFill>
                            <a:schemeClr val="tx2"/>
                          </a:solidFill>
                          <a:effectLst/>
                          <a:latin typeface="+mn-lt"/>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74345675"/>
                  </a:ext>
                </a:extLst>
              </a:tr>
              <a:tr h="72141">
                <a:tc>
                  <a:txBody>
                    <a:bodyPr/>
                    <a:lstStyle/>
                    <a:p>
                      <a:pPr algn="ctr" fontAlgn="b"/>
                      <a:r>
                        <a:rPr lang="en-CH" sz="400" b="0" i="0" u="none" strike="noStrike">
                          <a:solidFill>
                            <a:schemeClr val="tx2"/>
                          </a:solidFill>
                          <a:effectLst/>
                          <a:latin typeface="+mn-lt"/>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1017686"/>
                  </a:ext>
                </a:extLst>
              </a:tr>
              <a:tr h="72141">
                <a:tc>
                  <a:txBody>
                    <a:bodyPr/>
                    <a:lstStyle/>
                    <a:p>
                      <a:pPr algn="ctr" fontAlgn="b"/>
                      <a:r>
                        <a:rPr lang="en-CH" sz="400" b="0" i="0" u="none" strike="noStrike">
                          <a:solidFill>
                            <a:schemeClr val="tx2"/>
                          </a:solidFill>
                          <a:effectLst/>
                          <a:latin typeface="+mn-lt"/>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Weihenstepha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53934404"/>
                  </a:ext>
                </a:extLst>
              </a:tr>
              <a:tr h="72141">
                <a:tc>
                  <a:txBody>
                    <a:bodyPr/>
                    <a:lstStyle/>
                    <a:p>
                      <a:pPr algn="ctr" fontAlgn="b"/>
                      <a:r>
                        <a:rPr lang="en-CH" sz="400" b="0" i="0" u="none" strike="noStrike">
                          <a:solidFill>
                            <a:schemeClr val="tx2"/>
                          </a:solidFill>
                          <a:effectLst/>
                          <a:latin typeface="+mn-lt"/>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83251638"/>
                  </a:ext>
                </a:extLst>
              </a:tr>
              <a:tr h="72141">
                <a:tc>
                  <a:txBody>
                    <a:bodyPr/>
                    <a:lstStyle/>
                    <a:p>
                      <a:pPr algn="ctr" fontAlgn="b"/>
                      <a:r>
                        <a:rPr lang="en-CH" sz="400" b="0" i="0" u="none" strike="noStrike">
                          <a:solidFill>
                            <a:schemeClr val="tx2"/>
                          </a:solidFill>
                          <a:effectLst/>
                          <a:latin typeface="+mn-lt"/>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Frau Antj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61931653"/>
                  </a:ext>
                </a:extLst>
              </a:tr>
              <a:tr h="72141">
                <a:tc>
                  <a:txBody>
                    <a:bodyPr/>
                    <a:lstStyle/>
                    <a:p>
                      <a:pPr algn="ctr" fontAlgn="b"/>
                      <a:r>
                        <a:rPr lang="en-CH" sz="400" b="0" i="0" u="none" strike="noStrike">
                          <a:solidFill>
                            <a:schemeClr val="tx2"/>
                          </a:solidFill>
                          <a:effectLst/>
                          <a:latin typeface="+mn-lt"/>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Becher 2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29411828"/>
                  </a:ext>
                </a:extLst>
              </a:tr>
              <a:tr h="72141">
                <a:tc>
                  <a:txBody>
                    <a:bodyPr/>
                    <a:lstStyle/>
                    <a:p>
                      <a:pPr algn="ctr" fontAlgn="b"/>
                      <a:r>
                        <a:rPr lang="en-CH" sz="400" b="0" i="0" u="none" strike="noStrike">
                          <a:solidFill>
                            <a:schemeClr val="tx2"/>
                          </a:solidFill>
                          <a:effectLst/>
                          <a:latin typeface="+mn-lt"/>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9762943"/>
                  </a:ext>
                </a:extLst>
              </a:tr>
              <a:tr h="72141">
                <a:tc>
                  <a:txBody>
                    <a:bodyPr/>
                    <a:lstStyle/>
                    <a:p>
                      <a:pPr algn="ctr" fontAlgn="b"/>
                      <a:r>
                        <a:rPr lang="en-CH" sz="400" b="0" i="0" u="none" strike="noStrike">
                          <a:solidFill>
                            <a:schemeClr val="tx2"/>
                          </a:solidFill>
                          <a:effectLst/>
                          <a:latin typeface="+mn-lt"/>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Bech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63467390"/>
                  </a:ext>
                </a:extLst>
              </a:tr>
              <a:tr h="72141">
                <a:tc>
                  <a:txBody>
                    <a:bodyPr/>
                    <a:lstStyle/>
                    <a:p>
                      <a:pPr algn="ctr" fontAlgn="b"/>
                      <a:r>
                        <a:rPr lang="en-CH" sz="400" b="0" i="0" u="none" strike="noStrike">
                          <a:solidFill>
                            <a:schemeClr val="tx2"/>
                          </a:solidFill>
                          <a:effectLst/>
                          <a:latin typeface="+mn-lt"/>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8294199"/>
                  </a:ext>
                </a:extLst>
              </a:tr>
              <a:tr h="72141">
                <a:tc>
                  <a:txBody>
                    <a:bodyPr/>
                    <a:lstStyle/>
                    <a:p>
                      <a:pPr algn="ctr" fontAlgn="b"/>
                      <a:r>
                        <a:rPr lang="en-CH" sz="400" b="0" i="0" u="none" strike="noStrike">
                          <a:solidFill>
                            <a:schemeClr val="tx2"/>
                          </a:solidFill>
                          <a:effectLst/>
                          <a:latin typeface="+mn-lt"/>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12783936"/>
                  </a:ext>
                </a:extLst>
              </a:tr>
              <a:tr h="72141">
                <a:tc>
                  <a:txBody>
                    <a:bodyPr/>
                    <a:lstStyle/>
                    <a:p>
                      <a:pPr algn="ctr" fontAlgn="b"/>
                      <a:r>
                        <a:rPr lang="en-CH" sz="400" b="0" i="0" u="none" strike="noStrike">
                          <a:solidFill>
                            <a:schemeClr val="tx2"/>
                          </a:solidFill>
                          <a:effectLst/>
                          <a:latin typeface="+mn-lt"/>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alte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7362147"/>
                  </a:ext>
                </a:extLst>
              </a:tr>
              <a:tr h="72141">
                <a:tc>
                  <a:txBody>
                    <a:bodyPr/>
                    <a:lstStyle/>
                    <a:p>
                      <a:pPr algn="ctr" fontAlgn="b"/>
                      <a:r>
                        <a:rPr lang="en-CH" sz="400" b="0" i="0" u="none" strike="noStrike">
                          <a:solidFill>
                            <a:schemeClr val="tx2"/>
                          </a:solidFill>
                          <a:effectLst/>
                          <a:latin typeface="+mn-lt"/>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91460699"/>
                  </a:ext>
                </a:extLst>
              </a:tr>
              <a:tr h="72141">
                <a:tc>
                  <a:txBody>
                    <a:bodyPr/>
                    <a:lstStyle/>
                    <a:p>
                      <a:pPr algn="ctr" fontAlgn="b"/>
                      <a:r>
                        <a:rPr lang="en-CH" sz="400" b="0" i="0" u="none" strike="noStrike">
                          <a:solidFill>
                            <a:schemeClr val="tx2"/>
                          </a:solidFill>
                          <a:effectLst/>
                          <a:latin typeface="+mn-lt"/>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iolife Vioblock Vegan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40093880"/>
                  </a:ext>
                </a:extLst>
              </a:tr>
              <a:tr h="72141">
                <a:tc>
                  <a:txBody>
                    <a:bodyPr/>
                    <a:lstStyle/>
                    <a:p>
                      <a:pPr algn="ctr" fontAlgn="b"/>
                      <a:r>
                        <a:rPr lang="en-CH" sz="400" b="0" i="0" u="none" strike="noStrike">
                          <a:solidFill>
                            <a:schemeClr val="tx2"/>
                          </a:solidFill>
                          <a:effectLst/>
                          <a:latin typeface="+mn-lt"/>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llgaeuer Hof 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50994264"/>
                  </a:ext>
                </a:extLst>
              </a:tr>
              <a:tr h="72141">
                <a:tc>
                  <a:txBody>
                    <a:bodyPr/>
                    <a:lstStyle/>
                    <a:p>
                      <a:pPr algn="ctr" fontAlgn="b"/>
                      <a:r>
                        <a:rPr lang="en-CH" sz="400" b="0" i="0" u="none" strike="noStrike">
                          <a:solidFill>
                            <a:schemeClr val="tx2"/>
                          </a:solidFill>
                          <a:effectLst/>
                          <a:latin typeface="+mn-lt"/>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Tube Vegan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75426428"/>
                  </a:ext>
                </a:extLst>
              </a:tr>
              <a:tr h="72141">
                <a:tc>
                  <a:txBody>
                    <a:bodyPr/>
                    <a:lstStyle/>
                    <a:p>
                      <a:pPr algn="ctr" fontAlgn="b"/>
                      <a:r>
                        <a:rPr lang="en-CH" sz="400" b="0" i="0" u="none" strike="noStrike">
                          <a:solidFill>
                            <a:schemeClr val="tx2"/>
                          </a:solidFill>
                          <a:effectLst/>
                          <a:latin typeface="+mn-lt"/>
                        </a:rPr>
                        <a:t>1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Allgaeuer Hof 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97241745"/>
                  </a:ext>
                </a:extLst>
              </a:tr>
              <a:tr h="72141">
                <a:tc>
                  <a:txBody>
                    <a:bodyPr/>
                    <a:lstStyle/>
                    <a:p>
                      <a:pPr algn="ctr" fontAlgn="b"/>
                      <a:r>
                        <a:rPr lang="en-CH" sz="400" b="0" i="0" u="none" strike="noStrike">
                          <a:solidFill>
                            <a:schemeClr val="tx2"/>
                          </a:solidFill>
                          <a:effectLst/>
                          <a:latin typeface="+mn-lt"/>
                        </a:rPr>
                        <a:t>1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Becher 1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13182630"/>
                  </a:ext>
                </a:extLst>
              </a:tr>
              <a:tr h="72141">
                <a:tc>
                  <a:txBody>
                    <a:bodyPr/>
                    <a:lstStyle/>
                    <a:p>
                      <a:pPr algn="ctr" fontAlgn="b"/>
                      <a:r>
                        <a:rPr lang="en-CH" sz="400" b="0" i="0" u="none" strike="noStrike">
                          <a:solidFill>
                            <a:schemeClr val="tx2"/>
                          </a:solidFill>
                          <a:effectLst/>
                          <a:latin typeface="+mn-lt"/>
                        </a:rPr>
                        <a:t>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5205234"/>
                  </a:ext>
                </a:extLst>
              </a:tr>
              <a:tr h="72141">
                <a:tc>
                  <a:txBody>
                    <a:bodyPr/>
                    <a:lstStyle/>
                    <a:p>
                      <a:pPr algn="ctr" fontAlgn="b"/>
                      <a:r>
                        <a:rPr lang="en-CH" sz="400" b="0" i="0" u="none" strike="noStrike">
                          <a:solidFill>
                            <a:schemeClr val="tx2"/>
                          </a:solidFill>
                          <a:effectLst/>
                          <a:latin typeface="+mn-lt"/>
                        </a:rPr>
                        <a:t>2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04871848"/>
                  </a:ext>
                </a:extLst>
              </a:tr>
              <a:tr h="72141">
                <a:tc>
                  <a:txBody>
                    <a:bodyPr/>
                    <a:lstStyle/>
                    <a:p>
                      <a:pPr algn="ctr" fontAlgn="b"/>
                      <a:r>
                        <a:rPr lang="en-CH" sz="400" b="0" i="0" u="none" strike="noStrike">
                          <a:solidFill>
                            <a:schemeClr val="tx2"/>
                          </a:solidFill>
                          <a:effectLst/>
                          <a:latin typeface="+mn-lt"/>
                        </a:rPr>
                        <a:t>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Die Vegan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49180832"/>
                  </a:ext>
                </a:extLst>
              </a:tr>
              <a:tr h="72141">
                <a:tc>
                  <a:txBody>
                    <a:bodyPr/>
                    <a:lstStyle/>
                    <a:p>
                      <a:pPr algn="ctr" fontAlgn="b"/>
                      <a:r>
                        <a:rPr lang="en-CH" sz="400" b="0" i="0" u="none" strike="noStrike">
                          <a:solidFill>
                            <a:schemeClr val="tx2"/>
                          </a:solidFill>
                          <a:effectLst/>
                          <a:latin typeface="+mn-lt"/>
                        </a:rPr>
                        <a:t>2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17787889"/>
                  </a:ext>
                </a:extLst>
              </a:tr>
              <a:tr h="72141">
                <a:tc>
                  <a:txBody>
                    <a:bodyPr/>
                    <a:lstStyle/>
                    <a:p>
                      <a:pPr algn="ctr" fontAlgn="b"/>
                      <a:r>
                        <a:rPr lang="en-CH" sz="400" b="0" i="0" u="none" strike="noStrike">
                          <a:solidFill>
                            <a:schemeClr val="tx2"/>
                          </a:solidFill>
                          <a:effectLst/>
                          <a:latin typeface="+mn-lt"/>
                        </a:rPr>
                        <a:t>2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9181467"/>
                  </a:ext>
                </a:extLst>
              </a:tr>
              <a:tr h="72141">
                <a:tc>
                  <a:txBody>
                    <a:bodyPr/>
                    <a:lstStyle/>
                    <a:p>
                      <a:pPr algn="ctr" fontAlgn="b"/>
                      <a:r>
                        <a:rPr lang="en-CH" sz="400" b="0" i="0" u="none" strike="noStrike">
                          <a:solidFill>
                            <a:schemeClr val="tx2"/>
                          </a:solidFill>
                          <a:effectLst/>
                          <a:latin typeface="+mn-lt"/>
                        </a:rPr>
                        <a:t>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esident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49409313"/>
                  </a:ext>
                </a:extLst>
              </a:tr>
              <a:tr h="72141">
                <a:tc>
                  <a:txBody>
                    <a:bodyPr/>
                    <a:lstStyle/>
                    <a:p>
                      <a:pPr algn="ctr" fontAlgn="b"/>
                      <a:r>
                        <a:rPr lang="en-CH" sz="400" b="0" i="0" u="none" strike="noStrike">
                          <a:solidFill>
                            <a:schemeClr val="tx2"/>
                          </a:solidFill>
                          <a:effectLst/>
                          <a:latin typeface="+mn-lt"/>
                        </a:rPr>
                        <a:t>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ndechser Natur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0138508"/>
                  </a:ext>
                </a:extLst>
              </a:tr>
              <a:tr h="72141">
                <a:tc>
                  <a:txBody>
                    <a:bodyPr/>
                    <a:lstStyle/>
                    <a:p>
                      <a:pPr algn="ctr" fontAlgn="b"/>
                      <a:r>
                        <a:rPr lang="en-CH" sz="400" b="0" i="0" u="none" strike="noStrike">
                          <a:solidFill>
                            <a:schemeClr val="tx2"/>
                          </a:solidFill>
                          <a:effectLst/>
                          <a:latin typeface="+mn-lt"/>
                        </a:rPr>
                        <a:t>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Echt Franke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62685953"/>
                  </a:ext>
                </a:extLst>
              </a:tr>
              <a:tr h="72141">
                <a:tc>
                  <a:txBody>
                    <a:bodyPr/>
                    <a:lstStyle/>
                    <a:p>
                      <a:pPr algn="ctr" fontAlgn="b"/>
                      <a:r>
                        <a:rPr lang="en-CH" sz="400" b="0" i="0" u="none" strike="noStrike">
                          <a:solidFill>
                            <a:schemeClr val="tx2"/>
                          </a:solidFill>
                          <a:effectLst/>
                          <a:latin typeface="+mn-lt"/>
                        </a:rPr>
                        <a:t>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nb-NO" sz="400" b="0" i="0" u="none" strike="noStrike">
                          <a:solidFill>
                            <a:schemeClr val="tx2"/>
                          </a:solidFill>
                          <a:effectLst/>
                          <a:latin typeface="+mn-lt"/>
                        </a:rPr>
                        <a:t>Private Label Pilz Glas 1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84834823"/>
                  </a:ext>
                </a:extLst>
              </a:tr>
              <a:tr h="72141">
                <a:tc>
                  <a:txBody>
                    <a:bodyPr/>
                    <a:lstStyle/>
                    <a:p>
                      <a:pPr algn="ctr" fontAlgn="b"/>
                      <a:r>
                        <a:rPr lang="en-CH" sz="400" b="0" i="0" u="none" strike="noStrike">
                          <a:solidFill>
                            <a:schemeClr val="tx2"/>
                          </a:solidFill>
                          <a:effectLst/>
                          <a:latin typeface="+mn-lt"/>
                        </a:rPr>
                        <a:t>2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Kerrygold Original Kraeuter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2592600"/>
                  </a:ext>
                </a:extLst>
              </a:tr>
              <a:tr h="72141">
                <a:tc>
                  <a:txBody>
                    <a:bodyPr/>
                    <a:lstStyle/>
                    <a:p>
                      <a:pPr algn="ctr" fontAlgn="b"/>
                      <a:r>
                        <a:rPr lang="en-CH" sz="400" b="0" i="0" u="none" strike="noStrike">
                          <a:solidFill>
                            <a:schemeClr val="tx2"/>
                          </a:solidFill>
                          <a:effectLst/>
                          <a:latin typeface="+mn-lt"/>
                        </a:rPr>
                        <a:t>2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Bio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4432554"/>
                  </a:ext>
                </a:extLst>
              </a:tr>
              <a:tr h="72141">
                <a:tc>
                  <a:txBody>
                    <a:bodyPr/>
                    <a:lstStyle/>
                    <a:p>
                      <a:pPr algn="ctr" fontAlgn="b"/>
                      <a:r>
                        <a:rPr lang="en-CH" sz="400" b="0" i="0" u="none" strike="noStrike">
                          <a:solidFill>
                            <a:schemeClr val="tx2"/>
                          </a:solidFill>
                          <a:effectLst/>
                          <a:latin typeface="+mn-lt"/>
                        </a:rPr>
                        <a:t>3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Hansano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5818235"/>
                  </a:ext>
                </a:extLst>
              </a:tr>
              <a:tr h="72141">
                <a:tc>
                  <a:txBody>
                    <a:bodyPr/>
                    <a:lstStyle/>
                    <a:p>
                      <a:pPr algn="ctr" fontAlgn="b"/>
                      <a:r>
                        <a:rPr lang="en-CH" sz="400" b="0" i="0" u="none" strike="noStrike">
                          <a:solidFill>
                            <a:schemeClr val="tx2"/>
                          </a:solidFill>
                          <a:effectLst/>
                          <a:latin typeface="+mn-lt"/>
                        </a:rPr>
                        <a:t>3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Meggle Knoblauch / Zwiebel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14338691"/>
                  </a:ext>
                </a:extLst>
              </a:tr>
              <a:tr h="72141">
                <a:tc>
                  <a:txBody>
                    <a:bodyPr/>
                    <a:lstStyle/>
                    <a:p>
                      <a:pPr algn="ctr" fontAlgn="b"/>
                      <a:r>
                        <a:rPr lang="en-CH" sz="400" b="0" i="0" u="none" strike="noStrike">
                          <a:solidFill>
                            <a:schemeClr val="tx2"/>
                          </a:solidFill>
                          <a:effectLst/>
                          <a:latin typeface="+mn-lt"/>
                        </a:rPr>
                        <a:t>3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9559883"/>
                  </a:ext>
                </a:extLst>
              </a:tr>
              <a:tr h="72141">
                <a:tc>
                  <a:txBody>
                    <a:bodyPr/>
                    <a:lstStyle/>
                    <a:p>
                      <a:pPr algn="ctr" fontAlgn="b"/>
                      <a:r>
                        <a:rPr lang="en-CH" sz="400" b="0" i="0" u="none" strike="noStrike">
                          <a:solidFill>
                            <a:schemeClr val="tx2"/>
                          </a:solidFill>
                          <a:effectLst/>
                          <a:latin typeface="+mn-lt"/>
                        </a:rPr>
                        <a:t>3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6527690"/>
                  </a:ext>
                </a:extLst>
              </a:tr>
              <a:tr h="72141">
                <a:tc>
                  <a:txBody>
                    <a:bodyPr/>
                    <a:lstStyle/>
                    <a:p>
                      <a:pPr algn="ctr" fontAlgn="b"/>
                      <a:r>
                        <a:rPr lang="en-CH" sz="400" b="0" i="0" u="none" strike="noStrike">
                          <a:solidFill>
                            <a:schemeClr val="tx2"/>
                          </a:solidFill>
                          <a:effectLst/>
                          <a:latin typeface="+mn-lt"/>
                        </a:rPr>
                        <a:t>3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3181845"/>
                  </a:ext>
                </a:extLst>
              </a:tr>
              <a:tr h="72141">
                <a:tc>
                  <a:txBody>
                    <a:bodyPr/>
                    <a:lstStyle/>
                    <a:p>
                      <a:pPr algn="ctr" fontAlgn="b"/>
                      <a:r>
                        <a:rPr lang="en-CH" sz="400" b="0" i="0" u="none" strike="noStrike">
                          <a:solidFill>
                            <a:schemeClr val="tx2"/>
                          </a:solidFill>
                          <a:effectLst/>
                          <a:latin typeface="+mn-lt"/>
                        </a:rPr>
                        <a:t>3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72141">
                <a:tc>
                  <a:txBody>
                    <a:bodyPr/>
                    <a:lstStyle/>
                    <a:p>
                      <a:pPr algn="ctr" fontAlgn="b"/>
                      <a:r>
                        <a:rPr lang="en-CH" sz="400" b="0" i="0" u="none" strike="noStrike">
                          <a:solidFill>
                            <a:schemeClr val="tx2"/>
                          </a:solidFill>
                          <a:effectLst/>
                          <a:latin typeface="+mn-lt"/>
                        </a:rPr>
                        <a:t>3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ogtlandweide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72141">
                <a:tc>
                  <a:txBody>
                    <a:bodyPr/>
                    <a:lstStyle/>
                    <a:p>
                      <a:pPr algn="ctr" fontAlgn="b"/>
                      <a:r>
                        <a:rPr lang="en-CH" sz="400" b="0" i="0" u="none" strike="noStrike">
                          <a:solidFill>
                            <a:schemeClr val="tx2"/>
                          </a:solidFill>
                          <a:effectLst/>
                          <a:latin typeface="+mn-lt"/>
                        </a:rPr>
                        <a:t>3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oldsteig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72141">
                <a:tc>
                  <a:txBody>
                    <a:bodyPr/>
                    <a:lstStyle/>
                    <a:p>
                      <a:pPr algn="ctr" fontAlgn="b"/>
                      <a:r>
                        <a:rPr lang="en-CH" sz="400" b="0" i="0" u="none" strike="noStrike">
                          <a:solidFill>
                            <a:schemeClr val="tx2"/>
                          </a:solidFill>
                          <a:effectLst/>
                          <a:latin typeface="+mn-lt"/>
                        </a:rPr>
                        <a:t>3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achsen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72141">
                <a:tc>
                  <a:txBody>
                    <a:bodyPr/>
                    <a:lstStyle/>
                    <a:p>
                      <a:pPr algn="ctr" fontAlgn="b"/>
                      <a:r>
                        <a:rPr lang="en-CH" sz="400" b="0" i="0" u="none" strike="noStrike">
                          <a:solidFill>
                            <a:schemeClr val="tx2"/>
                          </a:solidFill>
                          <a:effectLst/>
                          <a:latin typeface="+mn-lt"/>
                        </a:rPr>
                        <a:t>3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72141">
                <a:tc>
                  <a:txBody>
                    <a:bodyPr/>
                    <a:lstStyle/>
                    <a:p>
                      <a:pPr algn="ctr" fontAlgn="b"/>
                      <a:r>
                        <a:rPr lang="en-CH" sz="400" b="0" i="0" u="none" strike="noStrike">
                          <a:solidFill>
                            <a:schemeClr val="tx2"/>
                          </a:solidFill>
                          <a:effectLst/>
                          <a:latin typeface="+mn-lt"/>
                        </a:rPr>
                        <a:t>4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en-US" sz="400" b="0" i="0" u="none" strike="noStrike">
                          <a:solidFill>
                            <a:schemeClr val="tx2"/>
                          </a:solidFill>
                          <a:effectLst/>
                          <a:latin typeface="+mn-lt"/>
                        </a:rPr>
                        <a:t>Kerrygold Becher 1 Ct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72141">
                <a:tc>
                  <a:txBody>
                    <a:bodyPr/>
                    <a:lstStyle/>
                    <a:p>
                      <a:pPr algn="ctr" fontAlgn="b"/>
                      <a:r>
                        <a:rPr lang="en-CH" sz="400" b="0" i="0" u="none" strike="noStrike">
                          <a:solidFill>
                            <a:schemeClr val="tx2"/>
                          </a:solidFill>
                          <a:effectLst/>
                          <a:latin typeface="+mn-lt"/>
                        </a:rPr>
                        <a:t>4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72141">
                <a:tc>
                  <a:txBody>
                    <a:bodyPr/>
                    <a:lstStyle/>
                    <a:p>
                      <a:pPr algn="ctr" fontAlgn="b"/>
                      <a:r>
                        <a:rPr lang="en-CH" sz="400" b="0" i="0" u="none" strike="noStrike">
                          <a:solidFill>
                            <a:schemeClr val="tx2"/>
                          </a:solidFill>
                          <a:effectLst/>
                          <a:latin typeface="+mn-lt"/>
                        </a:rPr>
                        <a:t>4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Uplaender Bio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72141">
                <a:tc>
                  <a:txBody>
                    <a:bodyPr/>
                    <a:lstStyle/>
                    <a:p>
                      <a:pPr algn="ctr" fontAlgn="b"/>
                      <a:r>
                        <a:rPr lang="en-CH" sz="400" b="0" i="0" u="none" strike="noStrike">
                          <a:solidFill>
                            <a:schemeClr val="tx2"/>
                          </a:solidFill>
                          <a:effectLst/>
                          <a:latin typeface="+mn-lt"/>
                        </a:rPr>
                        <a:t>4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Grill / Fleisch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72141">
                <a:tc>
                  <a:txBody>
                    <a:bodyPr/>
                    <a:lstStyle/>
                    <a:p>
                      <a:pPr algn="ctr" fontAlgn="b"/>
                      <a:r>
                        <a:rPr lang="en-CH" sz="400" b="0" i="0" u="none" strike="noStrike">
                          <a:solidFill>
                            <a:schemeClr val="tx2"/>
                          </a:solidFill>
                          <a:effectLst/>
                          <a:latin typeface="+mn-lt"/>
                        </a:rPr>
                        <a:t>4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Dairygold Original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72141">
                <a:tc>
                  <a:txBody>
                    <a:bodyPr/>
                    <a:lstStyle/>
                    <a:p>
                      <a:pPr algn="ctr" fontAlgn="b"/>
                      <a:r>
                        <a:rPr lang="en-CH" sz="400" b="0" i="0" u="none" strike="noStrike">
                          <a:solidFill>
                            <a:schemeClr val="tx2"/>
                          </a:solidFill>
                          <a:effectLst/>
                          <a:latin typeface="+mn-lt"/>
                        </a:rPr>
                        <a:t>4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72141">
                <a:tc>
                  <a:txBody>
                    <a:bodyPr/>
                    <a:lstStyle/>
                    <a:p>
                      <a:pPr algn="ctr" fontAlgn="b"/>
                      <a:r>
                        <a:rPr lang="en-CH" sz="400" b="0" i="0" u="none" strike="noStrike">
                          <a:solidFill>
                            <a:schemeClr val="tx2"/>
                          </a:solidFill>
                          <a:effectLst/>
                          <a:latin typeface="+mn-lt"/>
                        </a:rPr>
                        <a:t>4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uessrahmbut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
                <a:tc>
                  <a:txBody>
                    <a:bodyPr/>
                    <a:lstStyle/>
                    <a:p>
                      <a:pPr algn="ctr" fontAlgn="b"/>
                      <a:r>
                        <a:rPr lang="en-CH" sz="400" b="0" i="0" u="none" strike="noStrike">
                          <a:solidFill>
                            <a:schemeClr val="tx2"/>
                          </a:solidFill>
                          <a:effectLst/>
                          <a:latin typeface="+mn-lt"/>
                        </a:rPr>
                        <a:t>4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Suessrahmbutter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
                <a:tc>
                  <a:txBody>
                    <a:bodyPr/>
                    <a:lstStyle/>
                    <a:p>
                      <a:pPr algn="ctr" fontAlgn="b"/>
                      <a:r>
                        <a:rPr lang="en-CH" sz="400" b="0" i="0" u="none" strike="noStrike">
                          <a:solidFill>
                            <a:schemeClr val="tx2"/>
                          </a:solidFill>
                          <a:effectLst/>
                          <a:latin typeface="+mn-lt"/>
                        </a:rPr>
                        <a:t>4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Mediterran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
                <a:tc>
                  <a:txBody>
                    <a:bodyPr/>
                    <a:lstStyle/>
                    <a:p>
                      <a:pPr algn="ctr" fontAlgn="b"/>
                      <a:r>
                        <a:rPr lang="en-CH" sz="400" b="0" i="0" u="none" strike="noStrike">
                          <a:solidFill>
                            <a:schemeClr val="tx2"/>
                          </a:solidFill>
                          <a:effectLst/>
                          <a:latin typeface="+mn-lt"/>
                        </a:rPr>
                        <a:t>4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Frankenland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
                <a:tc>
                  <a:txBody>
                    <a:bodyPr/>
                    <a:lstStyle/>
                    <a:p>
                      <a:pPr algn="ctr" fontAlgn="b"/>
                      <a:r>
                        <a:rPr lang="en-CH" sz="400" b="0" i="0" u="none" strike="noStrike">
                          <a:solidFill>
                            <a:schemeClr val="tx2"/>
                          </a:solidFill>
                          <a:effectLst/>
                          <a:latin typeface="+mn-lt"/>
                        </a:rPr>
                        <a:t>5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dirty="0" err="1">
                          <a:solidFill>
                            <a:schemeClr val="tx2"/>
                          </a:solidFill>
                          <a:effectLst/>
                          <a:latin typeface="+mn-lt"/>
                        </a:rPr>
                        <a:t>Meggle</a:t>
                      </a:r>
                      <a:r>
                        <a:rPr lang="fr-CH" sz="400" b="0" i="0" u="none" strike="noStrike" dirty="0">
                          <a:solidFill>
                            <a:schemeClr val="tx2"/>
                          </a:solidFill>
                          <a:effectLst/>
                          <a:latin typeface="+mn-lt"/>
                        </a:rPr>
                        <a:t> </a:t>
                      </a:r>
                      <a:r>
                        <a:rPr lang="fr-CH" sz="400" b="0" i="0" u="none" strike="noStrike" dirty="0" err="1">
                          <a:solidFill>
                            <a:schemeClr val="tx2"/>
                          </a:solidFill>
                          <a:effectLst/>
                          <a:latin typeface="+mn-lt"/>
                        </a:rPr>
                        <a:t>Vegane</a:t>
                      </a:r>
                      <a:r>
                        <a:rPr lang="fr-CH" sz="400" b="0" i="0" u="none" strike="noStrike" dirty="0">
                          <a:solidFill>
                            <a:schemeClr val="tx2"/>
                          </a:solidFill>
                          <a:effectLst/>
                          <a:latin typeface="+mn-lt"/>
                        </a:rPr>
                        <a:t> Grill / </a:t>
                      </a:r>
                      <a:r>
                        <a:rPr lang="fr-CH" sz="400" b="0" i="0" u="none" strike="noStrike" dirty="0" err="1">
                          <a:solidFill>
                            <a:schemeClr val="tx2"/>
                          </a:solidFill>
                          <a:effectLst/>
                          <a:latin typeface="+mn-lt"/>
                        </a:rPr>
                        <a:t>Fleisch</a:t>
                      </a:r>
                      <a:r>
                        <a:rPr lang="fr-CH" sz="400" b="0" i="0" u="none" strike="noStrike" dirty="0">
                          <a:solidFill>
                            <a:schemeClr val="tx2"/>
                          </a:solidFill>
                          <a:effectLst/>
                          <a:latin typeface="+mn-lt"/>
                        </a:rPr>
                        <a:t> Tube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3644666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0/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dirty="0"/>
              <a:t>DATA SOURCE: Trade Panel/Retailer Data | Ending Dec 2022</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Value Uplift vs Promo Efficiency | By Product | Category/Sector | Retailer | P12M</a:t>
            </a:r>
          </a:p>
          <a:p>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
                <a:tc>
                  <a:txBody>
                    <a:bodyPr/>
                    <a:lstStyle/>
                    <a:p>
                      <a:pPr algn="ctr" fontAlgn="b"/>
                      <a:r>
                        <a:rPr lang="en-CH" sz="400" b="0" i="0" u="none" strike="noStrike">
                          <a:solidFill>
                            <a:schemeClr val="tx2"/>
                          </a:solidFill>
                          <a:effectLst/>
                          <a:latin typeface="+mn-lt"/>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68475315"/>
                  </a:ext>
                </a:extLst>
              </a:tr>
              <a:tr h="72141">
                <a:tc>
                  <a:txBody>
                    <a:bodyPr/>
                    <a:lstStyle/>
                    <a:p>
                      <a:pPr algn="ctr" fontAlgn="b"/>
                      <a:r>
                        <a:rPr lang="en-CH" sz="400" b="0" i="0" u="none" strike="noStrike">
                          <a:solidFill>
                            <a:schemeClr val="tx2"/>
                          </a:solidFill>
                          <a:effectLst/>
                          <a:latin typeface="+mn-lt"/>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74345675"/>
                  </a:ext>
                </a:extLst>
              </a:tr>
              <a:tr h="72141">
                <a:tc>
                  <a:txBody>
                    <a:bodyPr/>
                    <a:lstStyle/>
                    <a:p>
                      <a:pPr algn="ctr" fontAlgn="b"/>
                      <a:r>
                        <a:rPr lang="en-CH" sz="400" b="0" i="0" u="none" strike="noStrike">
                          <a:solidFill>
                            <a:schemeClr val="tx2"/>
                          </a:solidFill>
                          <a:effectLst/>
                          <a:latin typeface="+mn-lt"/>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1017686"/>
                  </a:ext>
                </a:extLst>
              </a:tr>
              <a:tr h="72141">
                <a:tc>
                  <a:txBody>
                    <a:bodyPr/>
                    <a:lstStyle/>
                    <a:p>
                      <a:pPr algn="ctr" fontAlgn="b"/>
                      <a:r>
                        <a:rPr lang="en-CH" sz="400" b="0" i="0" u="none" strike="noStrike">
                          <a:solidFill>
                            <a:schemeClr val="tx2"/>
                          </a:solidFill>
                          <a:effectLst/>
                          <a:latin typeface="+mn-lt"/>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Weihenstepha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53934404"/>
                  </a:ext>
                </a:extLst>
              </a:tr>
              <a:tr h="72141">
                <a:tc>
                  <a:txBody>
                    <a:bodyPr/>
                    <a:lstStyle/>
                    <a:p>
                      <a:pPr algn="ctr" fontAlgn="b"/>
                      <a:r>
                        <a:rPr lang="en-CH" sz="400" b="0" i="0" u="none" strike="noStrike">
                          <a:solidFill>
                            <a:schemeClr val="tx2"/>
                          </a:solidFill>
                          <a:effectLst/>
                          <a:latin typeface="+mn-lt"/>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83251638"/>
                  </a:ext>
                </a:extLst>
              </a:tr>
              <a:tr h="72141">
                <a:tc>
                  <a:txBody>
                    <a:bodyPr/>
                    <a:lstStyle/>
                    <a:p>
                      <a:pPr algn="ctr" fontAlgn="b"/>
                      <a:r>
                        <a:rPr lang="en-CH" sz="400" b="0" i="0" u="none" strike="noStrike">
                          <a:solidFill>
                            <a:schemeClr val="tx2"/>
                          </a:solidFill>
                          <a:effectLst/>
                          <a:latin typeface="+mn-lt"/>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Frau Antj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61931653"/>
                  </a:ext>
                </a:extLst>
              </a:tr>
              <a:tr h="72141">
                <a:tc>
                  <a:txBody>
                    <a:bodyPr/>
                    <a:lstStyle/>
                    <a:p>
                      <a:pPr algn="ctr" fontAlgn="b"/>
                      <a:r>
                        <a:rPr lang="en-CH" sz="400" b="0" i="0" u="none" strike="noStrike">
                          <a:solidFill>
                            <a:schemeClr val="tx2"/>
                          </a:solidFill>
                          <a:effectLst/>
                          <a:latin typeface="+mn-lt"/>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Becher 2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29411828"/>
                  </a:ext>
                </a:extLst>
              </a:tr>
              <a:tr h="72141">
                <a:tc>
                  <a:txBody>
                    <a:bodyPr/>
                    <a:lstStyle/>
                    <a:p>
                      <a:pPr algn="ctr" fontAlgn="b"/>
                      <a:r>
                        <a:rPr lang="en-CH" sz="400" b="0" i="0" u="none" strike="noStrike">
                          <a:solidFill>
                            <a:schemeClr val="tx2"/>
                          </a:solidFill>
                          <a:effectLst/>
                          <a:latin typeface="+mn-lt"/>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9762943"/>
                  </a:ext>
                </a:extLst>
              </a:tr>
              <a:tr h="72141">
                <a:tc>
                  <a:txBody>
                    <a:bodyPr/>
                    <a:lstStyle/>
                    <a:p>
                      <a:pPr algn="ctr" fontAlgn="b"/>
                      <a:r>
                        <a:rPr lang="en-CH" sz="400" b="0" i="0" u="none" strike="noStrike">
                          <a:solidFill>
                            <a:schemeClr val="tx2"/>
                          </a:solidFill>
                          <a:effectLst/>
                          <a:latin typeface="+mn-lt"/>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Bech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63467390"/>
                  </a:ext>
                </a:extLst>
              </a:tr>
              <a:tr h="72141">
                <a:tc>
                  <a:txBody>
                    <a:bodyPr/>
                    <a:lstStyle/>
                    <a:p>
                      <a:pPr algn="ctr" fontAlgn="b"/>
                      <a:r>
                        <a:rPr lang="en-CH" sz="400" b="0" i="0" u="none" strike="noStrike">
                          <a:solidFill>
                            <a:schemeClr val="tx2"/>
                          </a:solidFill>
                          <a:effectLst/>
                          <a:latin typeface="+mn-lt"/>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8294199"/>
                  </a:ext>
                </a:extLst>
              </a:tr>
              <a:tr h="72141">
                <a:tc>
                  <a:txBody>
                    <a:bodyPr/>
                    <a:lstStyle/>
                    <a:p>
                      <a:pPr algn="ctr" fontAlgn="b"/>
                      <a:r>
                        <a:rPr lang="en-CH" sz="400" b="0" i="0" u="none" strike="noStrike">
                          <a:solidFill>
                            <a:schemeClr val="tx2"/>
                          </a:solidFill>
                          <a:effectLst/>
                          <a:latin typeface="+mn-lt"/>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12783936"/>
                  </a:ext>
                </a:extLst>
              </a:tr>
              <a:tr h="72141">
                <a:tc>
                  <a:txBody>
                    <a:bodyPr/>
                    <a:lstStyle/>
                    <a:p>
                      <a:pPr algn="ctr" fontAlgn="b"/>
                      <a:r>
                        <a:rPr lang="en-CH" sz="400" b="0" i="0" u="none" strike="noStrike">
                          <a:solidFill>
                            <a:schemeClr val="tx2"/>
                          </a:solidFill>
                          <a:effectLst/>
                          <a:latin typeface="+mn-lt"/>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alte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7362147"/>
                  </a:ext>
                </a:extLst>
              </a:tr>
              <a:tr h="72141">
                <a:tc>
                  <a:txBody>
                    <a:bodyPr/>
                    <a:lstStyle/>
                    <a:p>
                      <a:pPr algn="ctr" fontAlgn="b"/>
                      <a:r>
                        <a:rPr lang="en-CH" sz="400" b="0" i="0" u="none" strike="noStrike">
                          <a:solidFill>
                            <a:schemeClr val="tx2"/>
                          </a:solidFill>
                          <a:effectLst/>
                          <a:latin typeface="+mn-lt"/>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91460699"/>
                  </a:ext>
                </a:extLst>
              </a:tr>
              <a:tr h="72141">
                <a:tc>
                  <a:txBody>
                    <a:bodyPr/>
                    <a:lstStyle/>
                    <a:p>
                      <a:pPr algn="ctr" fontAlgn="b"/>
                      <a:r>
                        <a:rPr lang="en-CH" sz="400" b="0" i="0" u="none" strike="noStrike">
                          <a:solidFill>
                            <a:schemeClr val="tx2"/>
                          </a:solidFill>
                          <a:effectLst/>
                          <a:latin typeface="+mn-lt"/>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iolife Vioblock Vegan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40093880"/>
                  </a:ext>
                </a:extLst>
              </a:tr>
              <a:tr h="72141">
                <a:tc>
                  <a:txBody>
                    <a:bodyPr/>
                    <a:lstStyle/>
                    <a:p>
                      <a:pPr algn="ctr" fontAlgn="b"/>
                      <a:r>
                        <a:rPr lang="en-CH" sz="400" b="0" i="0" u="none" strike="noStrike">
                          <a:solidFill>
                            <a:schemeClr val="tx2"/>
                          </a:solidFill>
                          <a:effectLst/>
                          <a:latin typeface="+mn-lt"/>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llgaeuer Hof 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50994264"/>
                  </a:ext>
                </a:extLst>
              </a:tr>
              <a:tr h="72141">
                <a:tc>
                  <a:txBody>
                    <a:bodyPr/>
                    <a:lstStyle/>
                    <a:p>
                      <a:pPr algn="ctr" fontAlgn="b"/>
                      <a:r>
                        <a:rPr lang="en-CH" sz="400" b="0" i="0" u="none" strike="noStrike">
                          <a:solidFill>
                            <a:schemeClr val="tx2"/>
                          </a:solidFill>
                          <a:effectLst/>
                          <a:latin typeface="+mn-lt"/>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Tube Vegan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75426428"/>
                  </a:ext>
                </a:extLst>
              </a:tr>
              <a:tr h="72141">
                <a:tc>
                  <a:txBody>
                    <a:bodyPr/>
                    <a:lstStyle/>
                    <a:p>
                      <a:pPr algn="ctr" fontAlgn="b"/>
                      <a:r>
                        <a:rPr lang="en-CH" sz="400" b="0" i="0" u="none" strike="noStrike">
                          <a:solidFill>
                            <a:schemeClr val="tx2"/>
                          </a:solidFill>
                          <a:effectLst/>
                          <a:latin typeface="+mn-lt"/>
                        </a:rPr>
                        <a:t>1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Allgaeuer Hof 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97241745"/>
                  </a:ext>
                </a:extLst>
              </a:tr>
              <a:tr h="72141">
                <a:tc>
                  <a:txBody>
                    <a:bodyPr/>
                    <a:lstStyle/>
                    <a:p>
                      <a:pPr algn="ctr" fontAlgn="b"/>
                      <a:r>
                        <a:rPr lang="en-CH" sz="400" b="0" i="0" u="none" strike="noStrike">
                          <a:solidFill>
                            <a:schemeClr val="tx2"/>
                          </a:solidFill>
                          <a:effectLst/>
                          <a:latin typeface="+mn-lt"/>
                        </a:rPr>
                        <a:t>1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Becher 1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13182630"/>
                  </a:ext>
                </a:extLst>
              </a:tr>
              <a:tr h="72141">
                <a:tc>
                  <a:txBody>
                    <a:bodyPr/>
                    <a:lstStyle/>
                    <a:p>
                      <a:pPr algn="ctr" fontAlgn="b"/>
                      <a:r>
                        <a:rPr lang="en-CH" sz="400" b="0" i="0" u="none" strike="noStrike">
                          <a:solidFill>
                            <a:schemeClr val="tx2"/>
                          </a:solidFill>
                          <a:effectLst/>
                          <a:latin typeface="+mn-lt"/>
                        </a:rPr>
                        <a:t>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5205234"/>
                  </a:ext>
                </a:extLst>
              </a:tr>
              <a:tr h="72141">
                <a:tc>
                  <a:txBody>
                    <a:bodyPr/>
                    <a:lstStyle/>
                    <a:p>
                      <a:pPr algn="ctr" fontAlgn="b"/>
                      <a:r>
                        <a:rPr lang="en-CH" sz="400" b="0" i="0" u="none" strike="noStrike">
                          <a:solidFill>
                            <a:schemeClr val="tx2"/>
                          </a:solidFill>
                          <a:effectLst/>
                          <a:latin typeface="+mn-lt"/>
                        </a:rPr>
                        <a:t>2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04871848"/>
                  </a:ext>
                </a:extLst>
              </a:tr>
              <a:tr h="72141">
                <a:tc>
                  <a:txBody>
                    <a:bodyPr/>
                    <a:lstStyle/>
                    <a:p>
                      <a:pPr algn="ctr" fontAlgn="b"/>
                      <a:r>
                        <a:rPr lang="en-CH" sz="400" b="0" i="0" u="none" strike="noStrike">
                          <a:solidFill>
                            <a:schemeClr val="tx2"/>
                          </a:solidFill>
                          <a:effectLst/>
                          <a:latin typeface="+mn-lt"/>
                        </a:rPr>
                        <a:t>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Die Vegan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49180832"/>
                  </a:ext>
                </a:extLst>
              </a:tr>
              <a:tr h="72141">
                <a:tc>
                  <a:txBody>
                    <a:bodyPr/>
                    <a:lstStyle/>
                    <a:p>
                      <a:pPr algn="ctr" fontAlgn="b"/>
                      <a:r>
                        <a:rPr lang="en-CH" sz="400" b="0" i="0" u="none" strike="noStrike">
                          <a:solidFill>
                            <a:schemeClr val="tx2"/>
                          </a:solidFill>
                          <a:effectLst/>
                          <a:latin typeface="+mn-lt"/>
                        </a:rPr>
                        <a:t>2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17787889"/>
                  </a:ext>
                </a:extLst>
              </a:tr>
              <a:tr h="72141">
                <a:tc>
                  <a:txBody>
                    <a:bodyPr/>
                    <a:lstStyle/>
                    <a:p>
                      <a:pPr algn="ctr" fontAlgn="b"/>
                      <a:r>
                        <a:rPr lang="en-CH" sz="400" b="0" i="0" u="none" strike="noStrike">
                          <a:solidFill>
                            <a:schemeClr val="tx2"/>
                          </a:solidFill>
                          <a:effectLst/>
                          <a:latin typeface="+mn-lt"/>
                        </a:rPr>
                        <a:t>2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9181467"/>
                  </a:ext>
                </a:extLst>
              </a:tr>
              <a:tr h="72141">
                <a:tc>
                  <a:txBody>
                    <a:bodyPr/>
                    <a:lstStyle/>
                    <a:p>
                      <a:pPr algn="ctr" fontAlgn="b"/>
                      <a:r>
                        <a:rPr lang="en-CH" sz="400" b="0" i="0" u="none" strike="noStrike">
                          <a:solidFill>
                            <a:schemeClr val="tx2"/>
                          </a:solidFill>
                          <a:effectLst/>
                          <a:latin typeface="+mn-lt"/>
                        </a:rPr>
                        <a:t>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esident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49409313"/>
                  </a:ext>
                </a:extLst>
              </a:tr>
              <a:tr h="72141">
                <a:tc>
                  <a:txBody>
                    <a:bodyPr/>
                    <a:lstStyle/>
                    <a:p>
                      <a:pPr algn="ctr" fontAlgn="b"/>
                      <a:r>
                        <a:rPr lang="en-CH" sz="400" b="0" i="0" u="none" strike="noStrike">
                          <a:solidFill>
                            <a:schemeClr val="tx2"/>
                          </a:solidFill>
                          <a:effectLst/>
                          <a:latin typeface="+mn-lt"/>
                        </a:rPr>
                        <a:t>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ndechser Natur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0138508"/>
                  </a:ext>
                </a:extLst>
              </a:tr>
              <a:tr h="72141">
                <a:tc>
                  <a:txBody>
                    <a:bodyPr/>
                    <a:lstStyle/>
                    <a:p>
                      <a:pPr algn="ctr" fontAlgn="b"/>
                      <a:r>
                        <a:rPr lang="en-CH" sz="400" b="0" i="0" u="none" strike="noStrike">
                          <a:solidFill>
                            <a:schemeClr val="tx2"/>
                          </a:solidFill>
                          <a:effectLst/>
                          <a:latin typeface="+mn-lt"/>
                        </a:rPr>
                        <a:t>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Echt Franke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62685953"/>
                  </a:ext>
                </a:extLst>
              </a:tr>
              <a:tr h="72141">
                <a:tc>
                  <a:txBody>
                    <a:bodyPr/>
                    <a:lstStyle/>
                    <a:p>
                      <a:pPr algn="ctr" fontAlgn="b"/>
                      <a:r>
                        <a:rPr lang="en-CH" sz="400" b="0" i="0" u="none" strike="noStrike">
                          <a:solidFill>
                            <a:schemeClr val="tx2"/>
                          </a:solidFill>
                          <a:effectLst/>
                          <a:latin typeface="+mn-lt"/>
                        </a:rPr>
                        <a:t>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nb-NO" sz="400" b="0" i="0" u="none" strike="noStrike">
                          <a:solidFill>
                            <a:schemeClr val="tx2"/>
                          </a:solidFill>
                          <a:effectLst/>
                          <a:latin typeface="+mn-lt"/>
                        </a:rPr>
                        <a:t>Private Label Pilz Glas 1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84834823"/>
                  </a:ext>
                </a:extLst>
              </a:tr>
              <a:tr h="72141">
                <a:tc>
                  <a:txBody>
                    <a:bodyPr/>
                    <a:lstStyle/>
                    <a:p>
                      <a:pPr algn="ctr" fontAlgn="b"/>
                      <a:r>
                        <a:rPr lang="en-CH" sz="400" b="0" i="0" u="none" strike="noStrike">
                          <a:solidFill>
                            <a:schemeClr val="tx2"/>
                          </a:solidFill>
                          <a:effectLst/>
                          <a:latin typeface="+mn-lt"/>
                        </a:rPr>
                        <a:t>2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Kerrygold Original Kraeuter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2592600"/>
                  </a:ext>
                </a:extLst>
              </a:tr>
              <a:tr h="72141">
                <a:tc>
                  <a:txBody>
                    <a:bodyPr/>
                    <a:lstStyle/>
                    <a:p>
                      <a:pPr algn="ctr" fontAlgn="b"/>
                      <a:r>
                        <a:rPr lang="en-CH" sz="400" b="0" i="0" u="none" strike="noStrike">
                          <a:solidFill>
                            <a:schemeClr val="tx2"/>
                          </a:solidFill>
                          <a:effectLst/>
                          <a:latin typeface="+mn-lt"/>
                        </a:rPr>
                        <a:t>2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Bio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4432554"/>
                  </a:ext>
                </a:extLst>
              </a:tr>
              <a:tr h="72141">
                <a:tc>
                  <a:txBody>
                    <a:bodyPr/>
                    <a:lstStyle/>
                    <a:p>
                      <a:pPr algn="ctr" fontAlgn="b"/>
                      <a:r>
                        <a:rPr lang="en-CH" sz="400" b="0" i="0" u="none" strike="noStrike">
                          <a:solidFill>
                            <a:schemeClr val="tx2"/>
                          </a:solidFill>
                          <a:effectLst/>
                          <a:latin typeface="+mn-lt"/>
                        </a:rPr>
                        <a:t>3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Hansano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5818235"/>
                  </a:ext>
                </a:extLst>
              </a:tr>
              <a:tr h="72141">
                <a:tc>
                  <a:txBody>
                    <a:bodyPr/>
                    <a:lstStyle/>
                    <a:p>
                      <a:pPr algn="ctr" fontAlgn="b"/>
                      <a:r>
                        <a:rPr lang="en-CH" sz="400" b="0" i="0" u="none" strike="noStrike">
                          <a:solidFill>
                            <a:schemeClr val="tx2"/>
                          </a:solidFill>
                          <a:effectLst/>
                          <a:latin typeface="+mn-lt"/>
                        </a:rPr>
                        <a:t>3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Meggle Knoblauch / Zwiebel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14338691"/>
                  </a:ext>
                </a:extLst>
              </a:tr>
              <a:tr h="72141">
                <a:tc>
                  <a:txBody>
                    <a:bodyPr/>
                    <a:lstStyle/>
                    <a:p>
                      <a:pPr algn="ctr" fontAlgn="b"/>
                      <a:r>
                        <a:rPr lang="en-CH" sz="400" b="0" i="0" u="none" strike="noStrike">
                          <a:solidFill>
                            <a:schemeClr val="tx2"/>
                          </a:solidFill>
                          <a:effectLst/>
                          <a:latin typeface="+mn-lt"/>
                        </a:rPr>
                        <a:t>3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9559883"/>
                  </a:ext>
                </a:extLst>
              </a:tr>
              <a:tr h="72141">
                <a:tc>
                  <a:txBody>
                    <a:bodyPr/>
                    <a:lstStyle/>
                    <a:p>
                      <a:pPr algn="ctr" fontAlgn="b"/>
                      <a:r>
                        <a:rPr lang="en-CH" sz="400" b="0" i="0" u="none" strike="noStrike">
                          <a:solidFill>
                            <a:schemeClr val="tx2"/>
                          </a:solidFill>
                          <a:effectLst/>
                          <a:latin typeface="+mn-lt"/>
                        </a:rPr>
                        <a:t>3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6527690"/>
                  </a:ext>
                </a:extLst>
              </a:tr>
              <a:tr h="72141">
                <a:tc>
                  <a:txBody>
                    <a:bodyPr/>
                    <a:lstStyle/>
                    <a:p>
                      <a:pPr algn="ctr" fontAlgn="b"/>
                      <a:r>
                        <a:rPr lang="en-CH" sz="400" b="0" i="0" u="none" strike="noStrike">
                          <a:solidFill>
                            <a:schemeClr val="tx2"/>
                          </a:solidFill>
                          <a:effectLst/>
                          <a:latin typeface="+mn-lt"/>
                        </a:rPr>
                        <a:t>3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3181845"/>
                  </a:ext>
                </a:extLst>
              </a:tr>
              <a:tr h="72141">
                <a:tc>
                  <a:txBody>
                    <a:bodyPr/>
                    <a:lstStyle/>
                    <a:p>
                      <a:pPr algn="ctr" fontAlgn="b"/>
                      <a:r>
                        <a:rPr lang="en-CH" sz="400" b="0" i="0" u="none" strike="noStrike">
                          <a:solidFill>
                            <a:schemeClr val="tx2"/>
                          </a:solidFill>
                          <a:effectLst/>
                          <a:latin typeface="+mn-lt"/>
                        </a:rPr>
                        <a:t>3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72141">
                <a:tc>
                  <a:txBody>
                    <a:bodyPr/>
                    <a:lstStyle/>
                    <a:p>
                      <a:pPr algn="ctr" fontAlgn="b"/>
                      <a:r>
                        <a:rPr lang="en-CH" sz="400" b="0" i="0" u="none" strike="noStrike">
                          <a:solidFill>
                            <a:schemeClr val="tx2"/>
                          </a:solidFill>
                          <a:effectLst/>
                          <a:latin typeface="+mn-lt"/>
                        </a:rPr>
                        <a:t>3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ogtlandweide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72141">
                <a:tc>
                  <a:txBody>
                    <a:bodyPr/>
                    <a:lstStyle/>
                    <a:p>
                      <a:pPr algn="ctr" fontAlgn="b"/>
                      <a:r>
                        <a:rPr lang="en-CH" sz="400" b="0" i="0" u="none" strike="noStrike">
                          <a:solidFill>
                            <a:schemeClr val="tx2"/>
                          </a:solidFill>
                          <a:effectLst/>
                          <a:latin typeface="+mn-lt"/>
                        </a:rPr>
                        <a:t>3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oldsteig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72141">
                <a:tc>
                  <a:txBody>
                    <a:bodyPr/>
                    <a:lstStyle/>
                    <a:p>
                      <a:pPr algn="ctr" fontAlgn="b"/>
                      <a:r>
                        <a:rPr lang="en-CH" sz="400" b="0" i="0" u="none" strike="noStrike">
                          <a:solidFill>
                            <a:schemeClr val="tx2"/>
                          </a:solidFill>
                          <a:effectLst/>
                          <a:latin typeface="+mn-lt"/>
                        </a:rPr>
                        <a:t>3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achsen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72141">
                <a:tc>
                  <a:txBody>
                    <a:bodyPr/>
                    <a:lstStyle/>
                    <a:p>
                      <a:pPr algn="ctr" fontAlgn="b"/>
                      <a:r>
                        <a:rPr lang="en-CH" sz="400" b="0" i="0" u="none" strike="noStrike">
                          <a:solidFill>
                            <a:schemeClr val="tx2"/>
                          </a:solidFill>
                          <a:effectLst/>
                          <a:latin typeface="+mn-lt"/>
                        </a:rPr>
                        <a:t>3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72141">
                <a:tc>
                  <a:txBody>
                    <a:bodyPr/>
                    <a:lstStyle/>
                    <a:p>
                      <a:pPr algn="ctr" fontAlgn="b"/>
                      <a:r>
                        <a:rPr lang="en-CH" sz="400" b="0" i="0" u="none" strike="noStrike">
                          <a:solidFill>
                            <a:schemeClr val="tx2"/>
                          </a:solidFill>
                          <a:effectLst/>
                          <a:latin typeface="+mn-lt"/>
                        </a:rPr>
                        <a:t>4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en-US" sz="400" b="0" i="0" u="none" strike="noStrike">
                          <a:solidFill>
                            <a:schemeClr val="tx2"/>
                          </a:solidFill>
                          <a:effectLst/>
                          <a:latin typeface="+mn-lt"/>
                        </a:rPr>
                        <a:t>Kerrygold Becher 1 Ct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72141">
                <a:tc>
                  <a:txBody>
                    <a:bodyPr/>
                    <a:lstStyle/>
                    <a:p>
                      <a:pPr algn="ctr" fontAlgn="b"/>
                      <a:r>
                        <a:rPr lang="en-CH" sz="400" b="0" i="0" u="none" strike="noStrike">
                          <a:solidFill>
                            <a:schemeClr val="tx2"/>
                          </a:solidFill>
                          <a:effectLst/>
                          <a:latin typeface="+mn-lt"/>
                        </a:rPr>
                        <a:t>4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72141">
                <a:tc>
                  <a:txBody>
                    <a:bodyPr/>
                    <a:lstStyle/>
                    <a:p>
                      <a:pPr algn="ctr" fontAlgn="b"/>
                      <a:r>
                        <a:rPr lang="en-CH" sz="400" b="0" i="0" u="none" strike="noStrike">
                          <a:solidFill>
                            <a:schemeClr val="tx2"/>
                          </a:solidFill>
                          <a:effectLst/>
                          <a:latin typeface="+mn-lt"/>
                        </a:rPr>
                        <a:t>4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Uplaender Bio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72141">
                <a:tc>
                  <a:txBody>
                    <a:bodyPr/>
                    <a:lstStyle/>
                    <a:p>
                      <a:pPr algn="ctr" fontAlgn="b"/>
                      <a:r>
                        <a:rPr lang="en-CH" sz="400" b="0" i="0" u="none" strike="noStrike">
                          <a:solidFill>
                            <a:schemeClr val="tx2"/>
                          </a:solidFill>
                          <a:effectLst/>
                          <a:latin typeface="+mn-lt"/>
                        </a:rPr>
                        <a:t>4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Grill / Fleisch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72141">
                <a:tc>
                  <a:txBody>
                    <a:bodyPr/>
                    <a:lstStyle/>
                    <a:p>
                      <a:pPr algn="ctr" fontAlgn="b"/>
                      <a:r>
                        <a:rPr lang="en-CH" sz="400" b="0" i="0" u="none" strike="noStrike">
                          <a:solidFill>
                            <a:schemeClr val="tx2"/>
                          </a:solidFill>
                          <a:effectLst/>
                          <a:latin typeface="+mn-lt"/>
                        </a:rPr>
                        <a:t>4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Dairygold Original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72141">
                <a:tc>
                  <a:txBody>
                    <a:bodyPr/>
                    <a:lstStyle/>
                    <a:p>
                      <a:pPr algn="ctr" fontAlgn="b"/>
                      <a:r>
                        <a:rPr lang="en-CH" sz="400" b="0" i="0" u="none" strike="noStrike">
                          <a:solidFill>
                            <a:schemeClr val="tx2"/>
                          </a:solidFill>
                          <a:effectLst/>
                          <a:latin typeface="+mn-lt"/>
                        </a:rPr>
                        <a:t>4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72141">
                <a:tc>
                  <a:txBody>
                    <a:bodyPr/>
                    <a:lstStyle/>
                    <a:p>
                      <a:pPr algn="ctr" fontAlgn="b"/>
                      <a:r>
                        <a:rPr lang="en-CH" sz="400" b="0" i="0" u="none" strike="noStrike">
                          <a:solidFill>
                            <a:schemeClr val="tx2"/>
                          </a:solidFill>
                          <a:effectLst/>
                          <a:latin typeface="+mn-lt"/>
                        </a:rPr>
                        <a:t>4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uessrahmbut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
                <a:tc>
                  <a:txBody>
                    <a:bodyPr/>
                    <a:lstStyle/>
                    <a:p>
                      <a:pPr algn="ctr" fontAlgn="b"/>
                      <a:r>
                        <a:rPr lang="en-CH" sz="400" b="0" i="0" u="none" strike="noStrike">
                          <a:solidFill>
                            <a:schemeClr val="tx2"/>
                          </a:solidFill>
                          <a:effectLst/>
                          <a:latin typeface="+mn-lt"/>
                        </a:rPr>
                        <a:t>4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Suessrahmbutter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
                <a:tc>
                  <a:txBody>
                    <a:bodyPr/>
                    <a:lstStyle/>
                    <a:p>
                      <a:pPr algn="ctr" fontAlgn="b"/>
                      <a:r>
                        <a:rPr lang="en-CH" sz="400" b="0" i="0" u="none" strike="noStrike">
                          <a:solidFill>
                            <a:schemeClr val="tx2"/>
                          </a:solidFill>
                          <a:effectLst/>
                          <a:latin typeface="+mn-lt"/>
                        </a:rPr>
                        <a:t>4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Mediterran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
                <a:tc>
                  <a:txBody>
                    <a:bodyPr/>
                    <a:lstStyle/>
                    <a:p>
                      <a:pPr algn="ctr" fontAlgn="b"/>
                      <a:r>
                        <a:rPr lang="en-CH" sz="400" b="0" i="0" u="none" strike="noStrike">
                          <a:solidFill>
                            <a:schemeClr val="tx2"/>
                          </a:solidFill>
                          <a:effectLst/>
                          <a:latin typeface="+mn-lt"/>
                        </a:rPr>
                        <a:t>4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Frankenland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
                <a:tc>
                  <a:txBody>
                    <a:bodyPr/>
                    <a:lstStyle/>
                    <a:p>
                      <a:pPr algn="ctr" fontAlgn="b"/>
                      <a:r>
                        <a:rPr lang="en-CH" sz="400" b="0" i="0" u="none" strike="noStrike">
                          <a:solidFill>
                            <a:schemeClr val="tx2"/>
                          </a:solidFill>
                          <a:effectLst/>
                          <a:latin typeface="+mn-lt"/>
                        </a:rPr>
                        <a:t>5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dirty="0" err="1">
                          <a:solidFill>
                            <a:schemeClr val="tx2"/>
                          </a:solidFill>
                          <a:effectLst/>
                          <a:latin typeface="+mn-lt"/>
                        </a:rPr>
                        <a:t>Meggle</a:t>
                      </a:r>
                      <a:r>
                        <a:rPr lang="fr-CH" sz="400" b="0" i="0" u="none" strike="noStrike" dirty="0">
                          <a:solidFill>
                            <a:schemeClr val="tx2"/>
                          </a:solidFill>
                          <a:effectLst/>
                          <a:latin typeface="+mn-lt"/>
                        </a:rPr>
                        <a:t> </a:t>
                      </a:r>
                      <a:r>
                        <a:rPr lang="fr-CH" sz="400" b="0" i="0" u="none" strike="noStrike" dirty="0" err="1">
                          <a:solidFill>
                            <a:schemeClr val="tx2"/>
                          </a:solidFill>
                          <a:effectLst/>
                          <a:latin typeface="+mn-lt"/>
                        </a:rPr>
                        <a:t>Vegane</a:t>
                      </a:r>
                      <a:r>
                        <a:rPr lang="fr-CH" sz="400" b="0" i="0" u="none" strike="noStrike" dirty="0">
                          <a:solidFill>
                            <a:schemeClr val="tx2"/>
                          </a:solidFill>
                          <a:effectLst/>
                          <a:latin typeface="+mn-lt"/>
                        </a:rPr>
                        <a:t> Grill / </a:t>
                      </a:r>
                      <a:r>
                        <a:rPr lang="fr-CH" sz="400" b="0" i="0" u="none" strike="noStrike" dirty="0" err="1">
                          <a:solidFill>
                            <a:schemeClr val="tx2"/>
                          </a:solidFill>
                          <a:effectLst/>
                          <a:latin typeface="+mn-lt"/>
                        </a:rPr>
                        <a:t>Fleisch</a:t>
                      </a:r>
                      <a:r>
                        <a:rPr lang="fr-CH" sz="400" b="0" i="0" u="none" strike="noStrike" dirty="0">
                          <a:solidFill>
                            <a:schemeClr val="tx2"/>
                          </a:solidFill>
                          <a:effectLst/>
                          <a:latin typeface="+mn-lt"/>
                        </a:rPr>
                        <a:t> Tube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8048603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0/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dirty="0"/>
              <a:t>DATA SOURCE: Trade Panel/Retailer Data | Ending Dec 2022</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Value Uplift vs Promo Efficiency | By Product | Category/Sector | Retailer | P12M</a:t>
            </a:r>
          </a:p>
          <a:p>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
                <a:tc>
                  <a:txBody>
                    <a:bodyPr/>
                    <a:lstStyle/>
                    <a:p>
                      <a:pPr algn="ctr" fontAlgn="b"/>
                      <a:r>
                        <a:rPr lang="en-CH" sz="400" b="0" i="0" u="none" strike="noStrike">
                          <a:solidFill>
                            <a:schemeClr val="tx2"/>
                          </a:solidFill>
                          <a:effectLst/>
                          <a:latin typeface="+mn-lt"/>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68475315"/>
                  </a:ext>
                </a:extLst>
              </a:tr>
              <a:tr h="72141">
                <a:tc>
                  <a:txBody>
                    <a:bodyPr/>
                    <a:lstStyle/>
                    <a:p>
                      <a:pPr algn="ctr" fontAlgn="b"/>
                      <a:r>
                        <a:rPr lang="en-CH" sz="400" b="0" i="0" u="none" strike="noStrike">
                          <a:solidFill>
                            <a:schemeClr val="tx2"/>
                          </a:solidFill>
                          <a:effectLst/>
                          <a:latin typeface="+mn-lt"/>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74345675"/>
                  </a:ext>
                </a:extLst>
              </a:tr>
              <a:tr h="72141">
                <a:tc>
                  <a:txBody>
                    <a:bodyPr/>
                    <a:lstStyle/>
                    <a:p>
                      <a:pPr algn="ctr" fontAlgn="b"/>
                      <a:r>
                        <a:rPr lang="en-CH" sz="400" b="0" i="0" u="none" strike="noStrike">
                          <a:solidFill>
                            <a:schemeClr val="tx2"/>
                          </a:solidFill>
                          <a:effectLst/>
                          <a:latin typeface="+mn-lt"/>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1017686"/>
                  </a:ext>
                </a:extLst>
              </a:tr>
              <a:tr h="72141">
                <a:tc>
                  <a:txBody>
                    <a:bodyPr/>
                    <a:lstStyle/>
                    <a:p>
                      <a:pPr algn="ctr" fontAlgn="b"/>
                      <a:r>
                        <a:rPr lang="en-CH" sz="400" b="0" i="0" u="none" strike="noStrike">
                          <a:solidFill>
                            <a:schemeClr val="tx2"/>
                          </a:solidFill>
                          <a:effectLst/>
                          <a:latin typeface="+mn-lt"/>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Weihenstepha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53934404"/>
                  </a:ext>
                </a:extLst>
              </a:tr>
              <a:tr h="72141">
                <a:tc>
                  <a:txBody>
                    <a:bodyPr/>
                    <a:lstStyle/>
                    <a:p>
                      <a:pPr algn="ctr" fontAlgn="b"/>
                      <a:r>
                        <a:rPr lang="en-CH" sz="400" b="0" i="0" u="none" strike="noStrike">
                          <a:solidFill>
                            <a:schemeClr val="tx2"/>
                          </a:solidFill>
                          <a:effectLst/>
                          <a:latin typeface="+mn-lt"/>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83251638"/>
                  </a:ext>
                </a:extLst>
              </a:tr>
              <a:tr h="72141">
                <a:tc>
                  <a:txBody>
                    <a:bodyPr/>
                    <a:lstStyle/>
                    <a:p>
                      <a:pPr algn="ctr" fontAlgn="b"/>
                      <a:r>
                        <a:rPr lang="en-CH" sz="400" b="0" i="0" u="none" strike="noStrike">
                          <a:solidFill>
                            <a:schemeClr val="tx2"/>
                          </a:solidFill>
                          <a:effectLst/>
                          <a:latin typeface="+mn-lt"/>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Frau Antj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61931653"/>
                  </a:ext>
                </a:extLst>
              </a:tr>
              <a:tr h="72141">
                <a:tc>
                  <a:txBody>
                    <a:bodyPr/>
                    <a:lstStyle/>
                    <a:p>
                      <a:pPr algn="ctr" fontAlgn="b"/>
                      <a:r>
                        <a:rPr lang="en-CH" sz="400" b="0" i="0" u="none" strike="noStrike">
                          <a:solidFill>
                            <a:schemeClr val="tx2"/>
                          </a:solidFill>
                          <a:effectLst/>
                          <a:latin typeface="+mn-lt"/>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Becher 2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29411828"/>
                  </a:ext>
                </a:extLst>
              </a:tr>
              <a:tr h="72141">
                <a:tc>
                  <a:txBody>
                    <a:bodyPr/>
                    <a:lstStyle/>
                    <a:p>
                      <a:pPr algn="ctr" fontAlgn="b"/>
                      <a:r>
                        <a:rPr lang="en-CH" sz="400" b="0" i="0" u="none" strike="noStrike">
                          <a:solidFill>
                            <a:schemeClr val="tx2"/>
                          </a:solidFill>
                          <a:effectLst/>
                          <a:latin typeface="+mn-lt"/>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9762943"/>
                  </a:ext>
                </a:extLst>
              </a:tr>
              <a:tr h="72141">
                <a:tc>
                  <a:txBody>
                    <a:bodyPr/>
                    <a:lstStyle/>
                    <a:p>
                      <a:pPr algn="ctr" fontAlgn="b"/>
                      <a:r>
                        <a:rPr lang="en-CH" sz="400" b="0" i="0" u="none" strike="noStrike">
                          <a:solidFill>
                            <a:schemeClr val="tx2"/>
                          </a:solidFill>
                          <a:effectLst/>
                          <a:latin typeface="+mn-lt"/>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Bech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63467390"/>
                  </a:ext>
                </a:extLst>
              </a:tr>
              <a:tr h="72141">
                <a:tc>
                  <a:txBody>
                    <a:bodyPr/>
                    <a:lstStyle/>
                    <a:p>
                      <a:pPr algn="ctr" fontAlgn="b"/>
                      <a:r>
                        <a:rPr lang="en-CH" sz="400" b="0" i="0" u="none" strike="noStrike">
                          <a:solidFill>
                            <a:schemeClr val="tx2"/>
                          </a:solidFill>
                          <a:effectLst/>
                          <a:latin typeface="+mn-lt"/>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8294199"/>
                  </a:ext>
                </a:extLst>
              </a:tr>
              <a:tr h="72141">
                <a:tc>
                  <a:txBody>
                    <a:bodyPr/>
                    <a:lstStyle/>
                    <a:p>
                      <a:pPr algn="ctr" fontAlgn="b"/>
                      <a:r>
                        <a:rPr lang="en-CH" sz="400" b="0" i="0" u="none" strike="noStrike">
                          <a:solidFill>
                            <a:schemeClr val="tx2"/>
                          </a:solidFill>
                          <a:effectLst/>
                          <a:latin typeface="+mn-lt"/>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12783936"/>
                  </a:ext>
                </a:extLst>
              </a:tr>
              <a:tr h="72141">
                <a:tc>
                  <a:txBody>
                    <a:bodyPr/>
                    <a:lstStyle/>
                    <a:p>
                      <a:pPr algn="ctr" fontAlgn="b"/>
                      <a:r>
                        <a:rPr lang="en-CH" sz="400" b="0" i="0" u="none" strike="noStrike">
                          <a:solidFill>
                            <a:schemeClr val="tx2"/>
                          </a:solidFill>
                          <a:effectLst/>
                          <a:latin typeface="+mn-lt"/>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alte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7362147"/>
                  </a:ext>
                </a:extLst>
              </a:tr>
              <a:tr h="72141">
                <a:tc>
                  <a:txBody>
                    <a:bodyPr/>
                    <a:lstStyle/>
                    <a:p>
                      <a:pPr algn="ctr" fontAlgn="b"/>
                      <a:r>
                        <a:rPr lang="en-CH" sz="400" b="0" i="0" u="none" strike="noStrike">
                          <a:solidFill>
                            <a:schemeClr val="tx2"/>
                          </a:solidFill>
                          <a:effectLst/>
                          <a:latin typeface="+mn-lt"/>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91460699"/>
                  </a:ext>
                </a:extLst>
              </a:tr>
              <a:tr h="72141">
                <a:tc>
                  <a:txBody>
                    <a:bodyPr/>
                    <a:lstStyle/>
                    <a:p>
                      <a:pPr algn="ctr" fontAlgn="b"/>
                      <a:r>
                        <a:rPr lang="en-CH" sz="400" b="0" i="0" u="none" strike="noStrike">
                          <a:solidFill>
                            <a:schemeClr val="tx2"/>
                          </a:solidFill>
                          <a:effectLst/>
                          <a:latin typeface="+mn-lt"/>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iolife Vioblock Vegan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40093880"/>
                  </a:ext>
                </a:extLst>
              </a:tr>
              <a:tr h="72141">
                <a:tc>
                  <a:txBody>
                    <a:bodyPr/>
                    <a:lstStyle/>
                    <a:p>
                      <a:pPr algn="ctr" fontAlgn="b"/>
                      <a:r>
                        <a:rPr lang="en-CH" sz="400" b="0" i="0" u="none" strike="noStrike">
                          <a:solidFill>
                            <a:schemeClr val="tx2"/>
                          </a:solidFill>
                          <a:effectLst/>
                          <a:latin typeface="+mn-lt"/>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llgaeuer Hof 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50994264"/>
                  </a:ext>
                </a:extLst>
              </a:tr>
              <a:tr h="72141">
                <a:tc>
                  <a:txBody>
                    <a:bodyPr/>
                    <a:lstStyle/>
                    <a:p>
                      <a:pPr algn="ctr" fontAlgn="b"/>
                      <a:r>
                        <a:rPr lang="en-CH" sz="400" b="0" i="0" u="none" strike="noStrike">
                          <a:solidFill>
                            <a:schemeClr val="tx2"/>
                          </a:solidFill>
                          <a:effectLst/>
                          <a:latin typeface="+mn-lt"/>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Tube Vegan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75426428"/>
                  </a:ext>
                </a:extLst>
              </a:tr>
              <a:tr h="72141">
                <a:tc>
                  <a:txBody>
                    <a:bodyPr/>
                    <a:lstStyle/>
                    <a:p>
                      <a:pPr algn="ctr" fontAlgn="b"/>
                      <a:r>
                        <a:rPr lang="en-CH" sz="400" b="0" i="0" u="none" strike="noStrike">
                          <a:solidFill>
                            <a:schemeClr val="tx2"/>
                          </a:solidFill>
                          <a:effectLst/>
                          <a:latin typeface="+mn-lt"/>
                        </a:rPr>
                        <a:t>1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Allgaeuer Hof 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97241745"/>
                  </a:ext>
                </a:extLst>
              </a:tr>
              <a:tr h="72141">
                <a:tc>
                  <a:txBody>
                    <a:bodyPr/>
                    <a:lstStyle/>
                    <a:p>
                      <a:pPr algn="ctr" fontAlgn="b"/>
                      <a:r>
                        <a:rPr lang="en-CH" sz="400" b="0" i="0" u="none" strike="noStrike">
                          <a:solidFill>
                            <a:schemeClr val="tx2"/>
                          </a:solidFill>
                          <a:effectLst/>
                          <a:latin typeface="+mn-lt"/>
                        </a:rPr>
                        <a:t>1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Becher 1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13182630"/>
                  </a:ext>
                </a:extLst>
              </a:tr>
              <a:tr h="72141">
                <a:tc>
                  <a:txBody>
                    <a:bodyPr/>
                    <a:lstStyle/>
                    <a:p>
                      <a:pPr algn="ctr" fontAlgn="b"/>
                      <a:r>
                        <a:rPr lang="en-CH" sz="400" b="0" i="0" u="none" strike="noStrike">
                          <a:solidFill>
                            <a:schemeClr val="tx2"/>
                          </a:solidFill>
                          <a:effectLst/>
                          <a:latin typeface="+mn-lt"/>
                        </a:rPr>
                        <a:t>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5205234"/>
                  </a:ext>
                </a:extLst>
              </a:tr>
              <a:tr h="72141">
                <a:tc>
                  <a:txBody>
                    <a:bodyPr/>
                    <a:lstStyle/>
                    <a:p>
                      <a:pPr algn="ctr" fontAlgn="b"/>
                      <a:r>
                        <a:rPr lang="en-CH" sz="400" b="0" i="0" u="none" strike="noStrike">
                          <a:solidFill>
                            <a:schemeClr val="tx2"/>
                          </a:solidFill>
                          <a:effectLst/>
                          <a:latin typeface="+mn-lt"/>
                        </a:rPr>
                        <a:t>2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04871848"/>
                  </a:ext>
                </a:extLst>
              </a:tr>
              <a:tr h="72141">
                <a:tc>
                  <a:txBody>
                    <a:bodyPr/>
                    <a:lstStyle/>
                    <a:p>
                      <a:pPr algn="ctr" fontAlgn="b"/>
                      <a:r>
                        <a:rPr lang="en-CH" sz="400" b="0" i="0" u="none" strike="noStrike">
                          <a:solidFill>
                            <a:schemeClr val="tx2"/>
                          </a:solidFill>
                          <a:effectLst/>
                          <a:latin typeface="+mn-lt"/>
                        </a:rPr>
                        <a:t>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Die Vegan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49180832"/>
                  </a:ext>
                </a:extLst>
              </a:tr>
              <a:tr h="72141">
                <a:tc>
                  <a:txBody>
                    <a:bodyPr/>
                    <a:lstStyle/>
                    <a:p>
                      <a:pPr algn="ctr" fontAlgn="b"/>
                      <a:r>
                        <a:rPr lang="en-CH" sz="400" b="0" i="0" u="none" strike="noStrike">
                          <a:solidFill>
                            <a:schemeClr val="tx2"/>
                          </a:solidFill>
                          <a:effectLst/>
                          <a:latin typeface="+mn-lt"/>
                        </a:rPr>
                        <a:t>2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17787889"/>
                  </a:ext>
                </a:extLst>
              </a:tr>
              <a:tr h="72141">
                <a:tc>
                  <a:txBody>
                    <a:bodyPr/>
                    <a:lstStyle/>
                    <a:p>
                      <a:pPr algn="ctr" fontAlgn="b"/>
                      <a:r>
                        <a:rPr lang="en-CH" sz="400" b="0" i="0" u="none" strike="noStrike">
                          <a:solidFill>
                            <a:schemeClr val="tx2"/>
                          </a:solidFill>
                          <a:effectLst/>
                          <a:latin typeface="+mn-lt"/>
                        </a:rPr>
                        <a:t>2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9181467"/>
                  </a:ext>
                </a:extLst>
              </a:tr>
              <a:tr h="72141">
                <a:tc>
                  <a:txBody>
                    <a:bodyPr/>
                    <a:lstStyle/>
                    <a:p>
                      <a:pPr algn="ctr" fontAlgn="b"/>
                      <a:r>
                        <a:rPr lang="en-CH" sz="400" b="0" i="0" u="none" strike="noStrike">
                          <a:solidFill>
                            <a:schemeClr val="tx2"/>
                          </a:solidFill>
                          <a:effectLst/>
                          <a:latin typeface="+mn-lt"/>
                        </a:rPr>
                        <a:t>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esident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49409313"/>
                  </a:ext>
                </a:extLst>
              </a:tr>
              <a:tr h="72141">
                <a:tc>
                  <a:txBody>
                    <a:bodyPr/>
                    <a:lstStyle/>
                    <a:p>
                      <a:pPr algn="ctr" fontAlgn="b"/>
                      <a:r>
                        <a:rPr lang="en-CH" sz="400" b="0" i="0" u="none" strike="noStrike">
                          <a:solidFill>
                            <a:schemeClr val="tx2"/>
                          </a:solidFill>
                          <a:effectLst/>
                          <a:latin typeface="+mn-lt"/>
                        </a:rPr>
                        <a:t>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ndechser Natur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0138508"/>
                  </a:ext>
                </a:extLst>
              </a:tr>
              <a:tr h="72141">
                <a:tc>
                  <a:txBody>
                    <a:bodyPr/>
                    <a:lstStyle/>
                    <a:p>
                      <a:pPr algn="ctr" fontAlgn="b"/>
                      <a:r>
                        <a:rPr lang="en-CH" sz="400" b="0" i="0" u="none" strike="noStrike">
                          <a:solidFill>
                            <a:schemeClr val="tx2"/>
                          </a:solidFill>
                          <a:effectLst/>
                          <a:latin typeface="+mn-lt"/>
                        </a:rPr>
                        <a:t>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Echt Franke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62685953"/>
                  </a:ext>
                </a:extLst>
              </a:tr>
              <a:tr h="72141">
                <a:tc>
                  <a:txBody>
                    <a:bodyPr/>
                    <a:lstStyle/>
                    <a:p>
                      <a:pPr algn="ctr" fontAlgn="b"/>
                      <a:r>
                        <a:rPr lang="en-CH" sz="400" b="0" i="0" u="none" strike="noStrike">
                          <a:solidFill>
                            <a:schemeClr val="tx2"/>
                          </a:solidFill>
                          <a:effectLst/>
                          <a:latin typeface="+mn-lt"/>
                        </a:rPr>
                        <a:t>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nb-NO" sz="400" b="0" i="0" u="none" strike="noStrike">
                          <a:solidFill>
                            <a:schemeClr val="tx2"/>
                          </a:solidFill>
                          <a:effectLst/>
                          <a:latin typeface="+mn-lt"/>
                        </a:rPr>
                        <a:t>Private Label Pilz Glas 1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84834823"/>
                  </a:ext>
                </a:extLst>
              </a:tr>
              <a:tr h="72141">
                <a:tc>
                  <a:txBody>
                    <a:bodyPr/>
                    <a:lstStyle/>
                    <a:p>
                      <a:pPr algn="ctr" fontAlgn="b"/>
                      <a:r>
                        <a:rPr lang="en-CH" sz="400" b="0" i="0" u="none" strike="noStrike">
                          <a:solidFill>
                            <a:schemeClr val="tx2"/>
                          </a:solidFill>
                          <a:effectLst/>
                          <a:latin typeface="+mn-lt"/>
                        </a:rPr>
                        <a:t>2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Kerrygold Original Kraeuter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2592600"/>
                  </a:ext>
                </a:extLst>
              </a:tr>
              <a:tr h="72141">
                <a:tc>
                  <a:txBody>
                    <a:bodyPr/>
                    <a:lstStyle/>
                    <a:p>
                      <a:pPr algn="ctr" fontAlgn="b"/>
                      <a:r>
                        <a:rPr lang="en-CH" sz="400" b="0" i="0" u="none" strike="noStrike">
                          <a:solidFill>
                            <a:schemeClr val="tx2"/>
                          </a:solidFill>
                          <a:effectLst/>
                          <a:latin typeface="+mn-lt"/>
                        </a:rPr>
                        <a:t>2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Bio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4432554"/>
                  </a:ext>
                </a:extLst>
              </a:tr>
              <a:tr h="72141">
                <a:tc>
                  <a:txBody>
                    <a:bodyPr/>
                    <a:lstStyle/>
                    <a:p>
                      <a:pPr algn="ctr" fontAlgn="b"/>
                      <a:r>
                        <a:rPr lang="en-CH" sz="400" b="0" i="0" u="none" strike="noStrike">
                          <a:solidFill>
                            <a:schemeClr val="tx2"/>
                          </a:solidFill>
                          <a:effectLst/>
                          <a:latin typeface="+mn-lt"/>
                        </a:rPr>
                        <a:t>3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Hansano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5818235"/>
                  </a:ext>
                </a:extLst>
              </a:tr>
              <a:tr h="72141">
                <a:tc>
                  <a:txBody>
                    <a:bodyPr/>
                    <a:lstStyle/>
                    <a:p>
                      <a:pPr algn="ctr" fontAlgn="b"/>
                      <a:r>
                        <a:rPr lang="en-CH" sz="400" b="0" i="0" u="none" strike="noStrike">
                          <a:solidFill>
                            <a:schemeClr val="tx2"/>
                          </a:solidFill>
                          <a:effectLst/>
                          <a:latin typeface="+mn-lt"/>
                        </a:rPr>
                        <a:t>3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Meggle Knoblauch / Zwiebel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14338691"/>
                  </a:ext>
                </a:extLst>
              </a:tr>
              <a:tr h="72141">
                <a:tc>
                  <a:txBody>
                    <a:bodyPr/>
                    <a:lstStyle/>
                    <a:p>
                      <a:pPr algn="ctr" fontAlgn="b"/>
                      <a:r>
                        <a:rPr lang="en-CH" sz="400" b="0" i="0" u="none" strike="noStrike">
                          <a:solidFill>
                            <a:schemeClr val="tx2"/>
                          </a:solidFill>
                          <a:effectLst/>
                          <a:latin typeface="+mn-lt"/>
                        </a:rPr>
                        <a:t>3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9559883"/>
                  </a:ext>
                </a:extLst>
              </a:tr>
              <a:tr h="72141">
                <a:tc>
                  <a:txBody>
                    <a:bodyPr/>
                    <a:lstStyle/>
                    <a:p>
                      <a:pPr algn="ctr" fontAlgn="b"/>
                      <a:r>
                        <a:rPr lang="en-CH" sz="400" b="0" i="0" u="none" strike="noStrike">
                          <a:solidFill>
                            <a:schemeClr val="tx2"/>
                          </a:solidFill>
                          <a:effectLst/>
                          <a:latin typeface="+mn-lt"/>
                        </a:rPr>
                        <a:t>3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6527690"/>
                  </a:ext>
                </a:extLst>
              </a:tr>
              <a:tr h="72141">
                <a:tc>
                  <a:txBody>
                    <a:bodyPr/>
                    <a:lstStyle/>
                    <a:p>
                      <a:pPr algn="ctr" fontAlgn="b"/>
                      <a:r>
                        <a:rPr lang="en-CH" sz="400" b="0" i="0" u="none" strike="noStrike">
                          <a:solidFill>
                            <a:schemeClr val="tx2"/>
                          </a:solidFill>
                          <a:effectLst/>
                          <a:latin typeface="+mn-lt"/>
                        </a:rPr>
                        <a:t>3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3181845"/>
                  </a:ext>
                </a:extLst>
              </a:tr>
              <a:tr h="72141">
                <a:tc>
                  <a:txBody>
                    <a:bodyPr/>
                    <a:lstStyle/>
                    <a:p>
                      <a:pPr algn="ctr" fontAlgn="b"/>
                      <a:r>
                        <a:rPr lang="en-CH" sz="400" b="0" i="0" u="none" strike="noStrike">
                          <a:solidFill>
                            <a:schemeClr val="tx2"/>
                          </a:solidFill>
                          <a:effectLst/>
                          <a:latin typeface="+mn-lt"/>
                        </a:rPr>
                        <a:t>3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72141">
                <a:tc>
                  <a:txBody>
                    <a:bodyPr/>
                    <a:lstStyle/>
                    <a:p>
                      <a:pPr algn="ctr" fontAlgn="b"/>
                      <a:r>
                        <a:rPr lang="en-CH" sz="400" b="0" i="0" u="none" strike="noStrike">
                          <a:solidFill>
                            <a:schemeClr val="tx2"/>
                          </a:solidFill>
                          <a:effectLst/>
                          <a:latin typeface="+mn-lt"/>
                        </a:rPr>
                        <a:t>3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ogtlandweide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72141">
                <a:tc>
                  <a:txBody>
                    <a:bodyPr/>
                    <a:lstStyle/>
                    <a:p>
                      <a:pPr algn="ctr" fontAlgn="b"/>
                      <a:r>
                        <a:rPr lang="en-CH" sz="400" b="0" i="0" u="none" strike="noStrike">
                          <a:solidFill>
                            <a:schemeClr val="tx2"/>
                          </a:solidFill>
                          <a:effectLst/>
                          <a:latin typeface="+mn-lt"/>
                        </a:rPr>
                        <a:t>3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oldsteig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72141">
                <a:tc>
                  <a:txBody>
                    <a:bodyPr/>
                    <a:lstStyle/>
                    <a:p>
                      <a:pPr algn="ctr" fontAlgn="b"/>
                      <a:r>
                        <a:rPr lang="en-CH" sz="400" b="0" i="0" u="none" strike="noStrike">
                          <a:solidFill>
                            <a:schemeClr val="tx2"/>
                          </a:solidFill>
                          <a:effectLst/>
                          <a:latin typeface="+mn-lt"/>
                        </a:rPr>
                        <a:t>3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achsen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72141">
                <a:tc>
                  <a:txBody>
                    <a:bodyPr/>
                    <a:lstStyle/>
                    <a:p>
                      <a:pPr algn="ctr" fontAlgn="b"/>
                      <a:r>
                        <a:rPr lang="en-CH" sz="400" b="0" i="0" u="none" strike="noStrike">
                          <a:solidFill>
                            <a:schemeClr val="tx2"/>
                          </a:solidFill>
                          <a:effectLst/>
                          <a:latin typeface="+mn-lt"/>
                        </a:rPr>
                        <a:t>3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72141">
                <a:tc>
                  <a:txBody>
                    <a:bodyPr/>
                    <a:lstStyle/>
                    <a:p>
                      <a:pPr algn="ctr" fontAlgn="b"/>
                      <a:r>
                        <a:rPr lang="en-CH" sz="400" b="0" i="0" u="none" strike="noStrike">
                          <a:solidFill>
                            <a:schemeClr val="tx2"/>
                          </a:solidFill>
                          <a:effectLst/>
                          <a:latin typeface="+mn-lt"/>
                        </a:rPr>
                        <a:t>4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en-US" sz="400" b="0" i="0" u="none" strike="noStrike">
                          <a:solidFill>
                            <a:schemeClr val="tx2"/>
                          </a:solidFill>
                          <a:effectLst/>
                          <a:latin typeface="+mn-lt"/>
                        </a:rPr>
                        <a:t>Kerrygold Becher 1 Ct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72141">
                <a:tc>
                  <a:txBody>
                    <a:bodyPr/>
                    <a:lstStyle/>
                    <a:p>
                      <a:pPr algn="ctr" fontAlgn="b"/>
                      <a:r>
                        <a:rPr lang="en-CH" sz="400" b="0" i="0" u="none" strike="noStrike">
                          <a:solidFill>
                            <a:schemeClr val="tx2"/>
                          </a:solidFill>
                          <a:effectLst/>
                          <a:latin typeface="+mn-lt"/>
                        </a:rPr>
                        <a:t>4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72141">
                <a:tc>
                  <a:txBody>
                    <a:bodyPr/>
                    <a:lstStyle/>
                    <a:p>
                      <a:pPr algn="ctr" fontAlgn="b"/>
                      <a:r>
                        <a:rPr lang="en-CH" sz="400" b="0" i="0" u="none" strike="noStrike">
                          <a:solidFill>
                            <a:schemeClr val="tx2"/>
                          </a:solidFill>
                          <a:effectLst/>
                          <a:latin typeface="+mn-lt"/>
                        </a:rPr>
                        <a:t>4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Uplaender Bio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72141">
                <a:tc>
                  <a:txBody>
                    <a:bodyPr/>
                    <a:lstStyle/>
                    <a:p>
                      <a:pPr algn="ctr" fontAlgn="b"/>
                      <a:r>
                        <a:rPr lang="en-CH" sz="400" b="0" i="0" u="none" strike="noStrike">
                          <a:solidFill>
                            <a:schemeClr val="tx2"/>
                          </a:solidFill>
                          <a:effectLst/>
                          <a:latin typeface="+mn-lt"/>
                        </a:rPr>
                        <a:t>4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Grill / Fleisch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72141">
                <a:tc>
                  <a:txBody>
                    <a:bodyPr/>
                    <a:lstStyle/>
                    <a:p>
                      <a:pPr algn="ctr" fontAlgn="b"/>
                      <a:r>
                        <a:rPr lang="en-CH" sz="400" b="0" i="0" u="none" strike="noStrike">
                          <a:solidFill>
                            <a:schemeClr val="tx2"/>
                          </a:solidFill>
                          <a:effectLst/>
                          <a:latin typeface="+mn-lt"/>
                        </a:rPr>
                        <a:t>4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Dairygold Original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72141">
                <a:tc>
                  <a:txBody>
                    <a:bodyPr/>
                    <a:lstStyle/>
                    <a:p>
                      <a:pPr algn="ctr" fontAlgn="b"/>
                      <a:r>
                        <a:rPr lang="en-CH" sz="400" b="0" i="0" u="none" strike="noStrike">
                          <a:solidFill>
                            <a:schemeClr val="tx2"/>
                          </a:solidFill>
                          <a:effectLst/>
                          <a:latin typeface="+mn-lt"/>
                        </a:rPr>
                        <a:t>4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72141">
                <a:tc>
                  <a:txBody>
                    <a:bodyPr/>
                    <a:lstStyle/>
                    <a:p>
                      <a:pPr algn="ctr" fontAlgn="b"/>
                      <a:r>
                        <a:rPr lang="en-CH" sz="400" b="0" i="0" u="none" strike="noStrike">
                          <a:solidFill>
                            <a:schemeClr val="tx2"/>
                          </a:solidFill>
                          <a:effectLst/>
                          <a:latin typeface="+mn-lt"/>
                        </a:rPr>
                        <a:t>4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uessrahmbut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
                <a:tc>
                  <a:txBody>
                    <a:bodyPr/>
                    <a:lstStyle/>
                    <a:p>
                      <a:pPr algn="ctr" fontAlgn="b"/>
                      <a:r>
                        <a:rPr lang="en-CH" sz="400" b="0" i="0" u="none" strike="noStrike">
                          <a:solidFill>
                            <a:schemeClr val="tx2"/>
                          </a:solidFill>
                          <a:effectLst/>
                          <a:latin typeface="+mn-lt"/>
                        </a:rPr>
                        <a:t>4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Suessrahmbutter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
                <a:tc>
                  <a:txBody>
                    <a:bodyPr/>
                    <a:lstStyle/>
                    <a:p>
                      <a:pPr algn="ctr" fontAlgn="b"/>
                      <a:r>
                        <a:rPr lang="en-CH" sz="400" b="0" i="0" u="none" strike="noStrike">
                          <a:solidFill>
                            <a:schemeClr val="tx2"/>
                          </a:solidFill>
                          <a:effectLst/>
                          <a:latin typeface="+mn-lt"/>
                        </a:rPr>
                        <a:t>4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Mediterran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
                <a:tc>
                  <a:txBody>
                    <a:bodyPr/>
                    <a:lstStyle/>
                    <a:p>
                      <a:pPr algn="ctr" fontAlgn="b"/>
                      <a:r>
                        <a:rPr lang="en-CH" sz="400" b="0" i="0" u="none" strike="noStrike">
                          <a:solidFill>
                            <a:schemeClr val="tx2"/>
                          </a:solidFill>
                          <a:effectLst/>
                          <a:latin typeface="+mn-lt"/>
                        </a:rPr>
                        <a:t>4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Frankenland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
                <a:tc>
                  <a:txBody>
                    <a:bodyPr/>
                    <a:lstStyle/>
                    <a:p>
                      <a:pPr algn="ctr" fontAlgn="b"/>
                      <a:r>
                        <a:rPr lang="en-CH" sz="400" b="0" i="0" u="none" strike="noStrike">
                          <a:solidFill>
                            <a:schemeClr val="tx2"/>
                          </a:solidFill>
                          <a:effectLst/>
                          <a:latin typeface="+mn-lt"/>
                        </a:rPr>
                        <a:t>5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dirty="0" err="1">
                          <a:solidFill>
                            <a:schemeClr val="tx2"/>
                          </a:solidFill>
                          <a:effectLst/>
                          <a:latin typeface="+mn-lt"/>
                        </a:rPr>
                        <a:t>Meggle</a:t>
                      </a:r>
                      <a:r>
                        <a:rPr lang="fr-CH" sz="400" b="0" i="0" u="none" strike="noStrike" dirty="0">
                          <a:solidFill>
                            <a:schemeClr val="tx2"/>
                          </a:solidFill>
                          <a:effectLst/>
                          <a:latin typeface="+mn-lt"/>
                        </a:rPr>
                        <a:t> </a:t>
                      </a:r>
                      <a:r>
                        <a:rPr lang="fr-CH" sz="400" b="0" i="0" u="none" strike="noStrike" dirty="0" err="1">
                          <a:solidFill>
                            <a:schemeClr val="tx2"/>
                          </a:solidFill>
                          <a:effectLst/>
                          <a:latin typeface="+mn-lt"/>
                        </a:rPr>
                        <a:t>Vegane</a:t>
                      </a:r>
                      <a:r>
                        <a:rPr lang="fr-CH" sz="400" b="0" i="0" u="none" strike="noStrike" dirty="0">
                          <a:solidFill>
                            <a:schemeClr val="tx2"/>
                          </a:solidFill>
                          <a:effectLst/>
                          <a:latin typeface="+mn-lt"/>
                        </a:rPr>
                        <a:t> Grill / </a:t>
                      </a:r>
                      <a:r>
                        <a:rPr lang="fr-CH" sz="400" b="0" i="0" u="none" strike="noStrike" dirty="0" err="1">
                          <a:solidFill>
                            <a:schemeClr val="tx2"/>
                          </a:solidFill>
                          <a:effectLst/>
                          <a:latin typeface="+mn-lt"/>
                        </a:rPr>
                        <a:t>Fleisch</a:t>
                      </a:r>
                      <a:r>
                        <a:rPr lang="fr-CH" sz="400" b="0" i="0" u="none" strike="noStrike" dirty="0">
                          <a:solidFill>
                            <a:schemeClr val="tx2"/>
                          </a:solidFill>
                          <a:effectLst/>
                          <a:latin typeface="+mn-lt"/>
                        </a:rPr>
                        <a:t> Tube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2757279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5866833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0/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dirty="0"/>
              <a:t>DATA SOURCE: Trade Panel/Retailer Data | Ending Dec 2022</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Value Uplift vs Promo Efficiency | By Product | Category/Sector | Retailer | P12M</a:t>
            </a:r>
          </a:p>
          <a:p>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
                <a:tc>
                  <a:txBody>
                    <a:bodyPr/>
                    <a:lstStyle/>
                    <a:p>
                      <a:pPr algn="ctr" fontAlgn="b"/>
                      <a:r>
                        <a:rPr lang="en-CH" sz="400" b="0" i="0" u="none" strike="noStrike">
                          <a:solidFill>
                            <a:schemeClr val="tx2"/>
                          </a:solidFill>
                          <a:effectLst/>
                          <a:latin typeface="+mn-lt"/>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68475315"/>
                  </a:ext>
                </a:extLst>
              </a:tr>
              <a:tr h="72141">
                <a:tc>
                  <a:txBody>
                    <a:bodyPr/>
                    <a:lstStyle/>
                    <a:p>
                      <a:pPr algn="ctr" fontAlgn="b"/>
                      <a:r>
                        <a:rPr lang="en-CH" sz="400" b="0" i="0" u="none" strike="noStrike">
                          <a:solidFill>
                            <a:schemeClr val="tx2"/>
                          </a:solidFill>
                          <a:effectLst/>
                          <a:latin typeface="+mn-lt"/>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74345675"/>
                  </a:ext>
                </a:extLst>
              </a:tr>
              <a:tr h="72141">
                <a:tc>
                  <a:txBody>
                    <a:bodyPr/>
                    <a:lstStyle/>
                    <a:p>
                      <a:pPr algn="ctr" fontAlgn="b"/>
                      <a:r>
                        <a:rPr lang="en-CH" sz="400" b="0" i="0" u="none" strike="noStrike">
                          <a:solidFill>
                            <a:schemeClr val="tx2"/>
                          </a:solidFill>
                          <a:effectLst/>
                          <a:latin typeface="+mn-lt"/>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1017686"/>
                  </a:ext>
                </a:extLst>
              </a:tr>
              <a:tr h="72141">
                <a:tc>
                  <a:txBody>
                    <a:bodyPr/>
                    <a:lstStyle/>
                    <a:p>
                      <a:pPr algn="ctr" fontAlgn="b"/>
                      <a:r>
                        <a:rPr lang="en-CH" sz="400" b="0" i="0" u="none" strike="noStrike">
                          <a:solidFill>
                            <a:schemeClr val="tx2"/>
                          </a:solidFill>
                          <a:effectLst/>
                          <a:latin typeface="+mn-lt"/>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Weihenstepha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53934404"/>
                  </a:ext>
                </a:extLst>
              </a:tr>
              <a:tr h="72141">
                <a:tc>
                  <a:txBody>
                    <a:bodyPr/>
                    <a:lstStyle/>
                    <a:p>
                      <a:pPr algn="ctr" fontAlgn="b"/>
                      <a:r>
                        <a:rPr lang="en-CH" sz="400" b="0" i="0" u="none" strike="noStrike">
                          <a:solidFill>
                            <a:schemeClr val="tx2"/>
                          </a:solidFill>
                          <a:effectLst/>
                          <a:latin typeface="+mn-lt"/>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83251638"/>
                  </a:ext>
                </a:extLst>
              </a:tr>
              <a:tr h="72141">
                <a:tc>
                  <a:txBody>
                    <a:bodyPr/>
                    <a:lstStyle/>
                    <a:p>
                      <a:pPr algn="ctr" fontAlgn="b"/>
                      <a:r>
                        <a:rPr lang="en-CH" sz="400" b="0" i="0" u="none" strike="noStrike">
                          <a:solidFill>
                            <a:schemeClr val="tx2"/>
                          </a:solidFill>
                          <a:effectLst/>
                          <a:latin typeface="+mn-lt"/>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Frau Antj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61931653"/>
                  </a:ext>
                </a:extLst>
              </a:tr>
              <a:tr h="72141">
                <a:tc>
                  <a:txBody>
                    <a:bodyPr/>
                    <a:lstStyle/>
                    <a:p>
                      <a:pPr algn="ctr" fontAlgn="b"/>
                      <a:r>
                        <a:rPr lang="en-CH" sz="400" b="0" i="0" u="none" strike="noStrike">
                          <a:solidFill>
                            <a:schemeClr val="tx2"/>
                          </a:solidFill>
                          <a:effectLst/>
                          <a:latin typeface="+mn-lt"/>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Becher 2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29411828"/>
                  </a:ext>
                </a:extLst>
              </a:tr>
              <a:tr h="72141">
                <a:tc>
                  <a:txBody>
                    <a:bodyPr/>
                    <a:lstStyle/>
                    <a:p>
                      <a:pPr algn="ctr" fontAlgn="b"/>
                      <a:r>
                        <a:rPr lang="en-CH" sz="400" b="0" i="0" u="none" strike="noStrike">
                          <a:solidFill>
                            <a:schemeClr val="tx2"/>
                          </a:solidFill>
                          <a:effectLst/>
                          <a:latin typeface="+mn-lt"/>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9762943"/>
                  </a:ext>
                </a:extLst>
              </a:tr>
              <a:tr h="72141">
                <a:tc>
                  <a:txBody>
                    <a:bodyPr/>
                    <a:lstStyle/>
                    <a:p>
                      <a:pPr algn="ctr" fontAlgn="b"/>
                      <a:r>
                        <a:rPr lang="en-CH" sz="400" b="0" i="0" u="none" strike="noStrike">
                          <a:solidFill>
                            <a:schemeClr val="tx2"/>
                          </a:solidFill>
                          <a:effectLst/>
                          <a:latin typeface="+mn-lt"/>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Bech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63467390"/>
                  </a:ext>
                </a:extLst>
              </a:tr>
              <a:tr h="72141">
                <a:tc>
                  <a:txBody>
                    <a:bodyPr/>
                    <a:lstStyle/>
                    <a:p>
                      <a:pPr algn="ctr" fontAlgn="b"/>
                      <a:r>
                        <a:rPr lang="en-CH" sz="400" b="0" i="0" u="none" strike="noStrike">
                          <a:solidFill>
                            <a:schemeClr val="tx2"/>
                          </a:solidFill>
                          <a:effectLst/>
                          <a:latin typeface="+mn-lt"/>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8294199"/>
                  </a:ext>
                </a:extLst>
              </a:tr>
              <a:tr h="72141">
                <a:tc>
                  <a:txBody>
                    <a:bodyPr/>
                    <a:lstStyle/>
                    <a:p>
                      <a:pPr algn="ctr" fontAlgn="b"/>
                      <a:r>
                        <a:rPr lang="en-CH" sz="400" b="0" i="0" u="none" strike="noStrike">
                          <a:solidFill>
                            <a:schemeClr val="tx2"/>
                          </a:solidFill>
                          <a:effectLst/>
                          <a:latin typeface="+mn-lt"/>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12783936"/>
                  </a:ext>
                </a:extLst>
              </a:tr>
              <a:tr h="72141">
                <a:tc>
                  <a:txBody>
                    <a:bodyPr/>
                    <a:lstStyle/>
                    <a:p>
                      <a:pPr algn="ctr" fontAlgn="b"/>
                      <a:r>
                        <a:rPr lang="en-CH" sz="400" b="0" i="0" u="none" strike="noStrike">
                          <a:solidFill>
                            <a:schemeClr val="tx2"/>
                          </a:solidFill>
                          <a:effectLst/>
                          <a:latin typeface="+mn-lt"/>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alte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7362147"/>
                  </a:ext>
                </a:extLst>
              </a:tr>
              <a:tr h="72141">
                <a:tc>
                  <a:txBody>
                    <a:bodyPr/>
                    <a:lstStyle/>
                    <a:p>
                      <a:pPr algn="ctr" fontAlgn="b"/>
                      <a:r>
                        <a:rPr lang="en-CH" sz="400" b="0" i="0" u="none" strike="noStrike">
                          <a:solidFill>
                            <a:schemeClr val="tx2"/>
                          </a:solidFill>
                          <a:effectLst/>
                          <a:latin typeface="+mn-lt"/>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91460699"/>
                  </a:ext>
                </a:extLst>
              </a:tr>
              <a:tr h="72141">
                <a:tc>
                  <a:txBody>
                    <a:bodyPr/>
                    <a:lstStyle/>
                    <a:p>
                      <a:pPr algn="ctr" fontAlgn="b"/>
                      <a:r>
                        <a:rPr lang="en-CH" sz="400" b="0" i="0" u="none" strike="noStrike">
                          <a:solidFill>
                            <a:schemeClr val="tx2"/>
                          </a:solidFill>
                          <a:effectLst/>
                          <a:latin typeface="+mn-lt"/>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iolife Vioblock Vegan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40093880"/>
                  </a:ext>
                </a:extLst>
              </a:tr>
              <a:tr h="72141">
                <a:tc>
                  <a:txBody>
                    <a:bodyPr/>
                    <a:lstStyle/>
                    <a:p>
                      <a:pPr algn="ctr" fontAlgn="b"/>
                      <a:r>
                        <a:rPr lang="en-CH" sz="400" b="0" i="0" u="none" strike="noStrike">
                          <a:solidFill>
                            <a:schemeClr val="tx2"/>
                          </a:solidFill>
                          <a:effectLst/>
                          <a:latin typeface="+mn-lt"/>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llgaeuer Hof 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50994264"/>
                  </a:ext>
                </a:extLst>
              </a:tr>
              <a:tr h="72141">
                <a:tc>
                  <a:txBody>
                    <a:bodyPr/>
                    <a:lstStyle/>
                    <a:p>
                      <a:pPr algn="ctr" fontAlgn="b"/>
                      <a:r>
                        <a:rPr lang="en-CH" sz="400" b="0" i="0" u="none" strike="noStrike">
                          <a:solidFill>
                            <a:schemeClr val="tx2"/>
                          </a:solidFill>
                          <a:effectLst/>
                          <a:latin typeface="+mn-lt"/>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Tube Vegan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75426428"/>
                  </a:ext>
                </a:extLst>
              </a:tr>
              <a:tr h="72141">
                <a:tc>
                  <a:txBody>
                    <a:bodyPr/>
                    <a:lstStyle/>
                    <a:p>
                      <a:pPr algn="ctr" fontAlgn="b"/>
                      <a:r>
                        <a:rPr lang="en-CH" sz="400" b="0" i="0" u="none" strike="noStrike">
                          <a:solidFill>
                            <a:schemeClr val="tx2"/>
                          </a:solidFill>
                          <a:effectLst/>
                          <a:latin typeface="+mn-lt"/>
                        </a:rPr>
                        <a:t>1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Allgaeuer Hof 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97241745"/>
                  </a:ext>
                </a:extLst>
              </a:tr>
              <a:tr h="72141">
                <a:tc>
                  <a:txBody>
                    <a:bodyPr/>
                    <a:lstStyle/>
                    <a:p>
                      <a:pPr algn="ctr" fontAlgn="b"/>
                      <a:r>
                        <a:rPr lang="en-CH" sz="400" b="0" i="0" u="none" strike="noStrike">
                          <a:solidFill>
                            <a:schemeClr val="tx2"/>
                          </a:solidFill>
                          <a:effectLst/>
                          <a:latin typeface="+mn-lt"/>
                        </a:rPr>
                        <a:t>1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Becher 1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13182630"/>
                  </a:ext>
                </a:extLst>
              </a:tr>
              <a:tr h="72141">
                <a:tc>
                  <a:txBody>
                    <a:bodyPr/>
                    <a:lstStyle/>
                    <a:p>
                      <a:pPr algn="ctr" fontAlgn="b"/>
                      <a:r>
                        <a:rPr lang="en-CH" sz="400" b="0" i="0" u="none" strike="noStrike">
                          <a:solidFill>
                            <a:schemeClr val="tx2"/>
                          </a:solidFill>
                          <a:effectLst/>
                          <a:latin typeface="+mn-lt"/>
                        </a:rPr>
                        <a:t>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5205234"/>
                  </a:ext>
                </a:extLst>
              </a:tr>
              <a:tr h="72141">
                <a:tc>
                  <a:txBody>
                    <a:bodyPr/>
                    <a:lstStyle/>
                    <a:p>
                      <a:pPr algn="ctr" fontAlgn="b"/>
                      <a:r>
                        <a:rPr lang="en-CH" sz="400" b="0" i="0" u="none" strike="noStrike">
                          <a:solidFill>
                            <a:schemeClr val="tx2"/>
                          </a:solidFill>
                          <a:effectLst/>
                          <a:latin typeface="+mn-lt"/>
                        </a:rPr>
                        <a:t>2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04871848"/>
                  </a:ext>
                </a:extLst>
              </a:tr>
              <a:tr h="72141">
                <a:tc>
                  <a:txBody>
                    <a:bodyPr/>
                    <a:lstStyle/>
                    <a:p>
                      <a:pPr algn="ctr" fontAlgn="b"/>
                      <a:r>
                        <a:rPr lang="en-CH" sz="400" b="0" i="0" u="none" strike="noStrike">
                          <a:solidFill>
                            <a:schemeClr val="tx2"/>
                          </a:solidFill>
                          <a:effectLst/>
                          <a:latin typeface="+mn-lt"/>
                        </a:rPr>
                        <a:t>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Die Vegan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49180832"/>
                  </a:ext>
                </a:extLst>
              </a:tr>
              <a:tr h="72141">
                <a:tc>
                  <a:txBody>
                    <a:bodyPr/>
                    <a:lstStyle/>
                    <a:p>
                      <a:pPr algn="ctr" fontAlgn="b"/>
                      <a:r>
                        <a:rPr lang="en-CH" sz="400" b="0" i="0" u="none" strike="noStrike">
                          <a:solidFill>
                            <a:schemeClr val="tx2"/>
                          </a:solidFill>
                          <a:effectLst/>
                          <a:latin typeface="+mn-lt"/>
                        </a:rPr>
                        <a:t>2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17787889"/>
                  </a:ext>
                </a:extLst>
              </a:tr>
              <a:tr h="72141">
                <a:tc>
                  <a:txBody>
                    <a:bodyPr/>
                    <a:lstStyle/>
                    <a:p>
                      <a:pPr algn="ctr" fontAlgn="b"/>
                      <a:r>
                        <a:rPr lang="en-CH" sz="400" b="0" i="0" u="none" strike="noStrike">
                          <a:solidFill>
                            <a:schemeClr val="tx2"/>
                          </a:solidFill>
                          <a:effectLst/>
                          <a:latin typeface="+mn-lt"/>
                        </a:rPr>
                        <a:t>2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9181467"/>
                  </a:ext>
                </a:extLst>
              </a:tr>
              <a:tr h="72141">
                <a:tc>
                  <a:txBody>
                    <a:bodyPr/>
                    <a:lstStyle/>
                    <a:p>
                      <a:pPr algn="ctr" fontAlgn="b"/>
                      <a:r>
                        <a:rPr lang="en-CH" sz="400" b="0" i="0" u="none" strike="noStrike">
                          <a:solidFill>
                            <a:schemeClr val="tx2"/>
                          </a:solidFill>
                          <a:effectLst/>
                          <a:latin typeface="+mn-lt"/>
                        </a:rPr>
                        <a:t>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esident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49409313"/>
                  </a:ext>
                </a:extLst>
              </a:tr>
              <a:tr h="72141">
                <a:tc>
                  <a:txBody>
                    <a:bodyPr/>
                    <a:lstStyle/>
                    <a:p>
                      <a:pPr algn="ctr" fontAlgn="b"/>
                      <a:r>
                        <a:rPr lang="en-CH" sz="400" b="0" i="0" u="none" strike="noStrike">
                          <a:solidFill>
                            <a:schemeClr val="tx2"/>
                          </a:solidFill>
                          <a:effectLst/>
                          <a:latin typeface="+mn-lt"/>
                        </a:rPr>
                        <a:t>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ndechser Natur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0138508"/>
                  </a:ext>
                </a:extLst>
              </a:tr>
              <a:tr h="72141">
                <a:tc>
                  <a:txBody>
                    <a:bodyPr/>
                    <a:lstStyle/>
                    <a:p>
                      <a:pPr algn="ctr" fontAlgn="b"/>
                      <a:r>
                        <a:rPr lang="en-CH" sz="400" b="0" i="0" u="none" strike="noStrike">
                          <a:solidFill>
                            <a:schemeClr val="tx2"/>
                          </a:solidFill>
                          <a:effectLst/>
                          <a:latin typeface="+mn-lt"/>
                        </a:rPr>
                        <a:t>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Echt Franke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62685953"/>
                  </a:ext>
                </a:extLst>
              </a:tr>
              <a:tr h="72141">
                <a:tc>
                  <a:txBody>
                    <a:bodyPr/>
                    <a:lstStyle/>
                    <a:p>
                      <a:pPr algn="ctr" fontAlgn="b"/>
                      <a:r>
                        <a:rPr lang="en-CH" sz="400" b="0" i="0" u="none" strike="noStrike">
                          <a:solidFill>
                            <a:schemeClr val="tx2"/>
                          </a:solidFill>
                          <a:effectLst/>
                          <a:latin typeface="+mn-lt"/>
                        </a:rPr>
                        <a:t>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nb-NO" sz="400" b="0" i="0" u="none" strike="noStrike">
                          <a:solidFill>
                            <a:schemeClr val="tx2"/>
                          </a:solidFill>
                          <a:effectLst/>
                          <a:latin typeface="+mn-lt"/>
                        </a:rPr>
                        <a:t>Private Label Pilz Glas 1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84834823"/>
                  </a:ext>
                </a:extLst>
              </a:tr>
              <a:tr h="72141">
                <a:tc>
                  <a:txBody>
                    <a:bodyPr/>
                    <a:lstStyle/>
                    <a:p>
                      <a:pPr algn="ctr" fontAlgn="b"/>
                      <a:r>
                        <a:rPr lang="en-CH" sz="400" b="0" i="0" u="none" strike="noStrike">
                          <a:solidFill>
                            <a:schemeClr val="tx2"/>
                          </a:solidFill>
                          <a:effectLst/>
                          <a:latin typeface="+mn-lt"/>
                        </a:rPr>
                        <a:t>2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Kerrygold Original Kraeuter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2592600"/>
                  </a:ext>
                </a:extLst>
              </a:tr>
              <a:tr h="72141">
                <a:tc>
                  <a:txBody>
                    <a:bodyPr/>
                    <a:lstStyle/>
                    <a:p>
                      <a:pPr algn="ctr" fontAlgn="b"/>
                      <a:r>
                        <a:rPr lang="en-CH" sz="400" b="0" i="0" u="none" strike="noStrike">
                          <a:solidFill>
                            <a:schemeClr val="tx2"/>
                          </a:solidFill>
                          <a:effectLst/>
                          <a:latin typeface="+mn-lt"/>
                        </a:rPr>
                        <a:t>2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Bio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4432554"/>
                  </a:ext>
                </a:extLst>
              </a:tr>
              <a:tr h="72141">
                <a:tc>
                  <a:txBody>
                    <a:bodyPr/>
                    <a:lstStyle/>
                    <a:p>
                      <a:pPr algn="ctr" fontAlgn="b"/>
                      <a:r>
                        <a:rPr lang="en-CH" sz="400" b="0" i="0" u="none" strike="noStrike">
                          <a:solidFill>
                            <a:schemeClr val="tx2"/>
                          </a:solidFill>
                          <a:effectLst/>
                          <a:latin typeface="+mn-lt"/>
                        </a:rPr>
                        <a:t>3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Hansano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5818235"/>
                  </a:ext>
                </a:extLst>
              </a:tr>
              <a:tr h="72141">
                <a:tc>
                  <a:txBody>
                    <a:bodyPr/>
                    <a:lstStyle/>
                    <a:p>
                      <a:pPr algn="ctr" fontAlgn="b"/>
                      <a:r>
                        <a:rPr lang="en-CH" sz="400" b="0" i="0" u="none" strike="noStrike">
                          <a:solidFill>
                            <a:schemeClr val="tx2"/>
                          </a:solidFill>
                          <a:effectLst/>
                          <a:latin typeface="+mn-lt"/>
                        </a:rPr>
                        <a:t>3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Meggle Knoblauch / Zwiebel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14338691"/>
                  </a:ext>
                </a:extLst>
              </a:tr>
              <a:tr h="72141">
                <a:tc>
                  <a:txBody>
                    <a:bodyPr/>
                    <a:lstStyle/>
                    <a:p>
                      <a:pPr algn="ctr" fontAlgn="b"/>
                      <a:r>
                        <a:rPr lang="en-CH" sz="400" b="0" i="0" u="none" strike="noStrike">
                          <a:solidFill>
                            <a:schemeClr val="tx2"/>
                          </a:solidFill>
                          <a:effectLst/>
                          <a:latin typeface="+mn-lt"/>
                        </a:rPr>
                        <a:t>3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9559883"/>
                  </a:ext>
                </a:extLst>
              </a:tr>
              <a:tr h="72141">
                <a:tc>
                  <a:txBody>
                    <a:bodyPr/>
                    <a:lstStyle/>
                    <a:p>
                      <a:pPr algn="ctr" fontAlgn="b"/>
                      <a:r>
                        <a:rPr lang="en-CH" sz="400" b="0" i="0" u="none" strike="noStrike">
                          <a:solidFill>
                            <a:schemeClr val="tx2"/>
                          </a:solidFill>
                          <a:effectLst/>
                          <a:latin typeface="+mn-lt"/>
                        </a:rPr>
                        <a:t>3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6527690"/>
                  </a:ext>
                </a:extLst>
              </a:tr>
              <a:tr h="72141">
                <a:tc>
                  <a:txBody>
                    <a:bodyPr/>
                    <a:lstStyle/>
                    <a:p>
                      <a:pPr algn="ctr" fontAlgn="b"/>
                      <a:r>
                        <a:rPr lang="en-CH" sz="400" b="0" i="0" u="none" strike="noStrike">
                          <a:solidFill>
                            <a:schemeClr val="tx2"/>
                          </a:solidFill>
                          <a:effectLst/>
                          <a:latin typeface="+mn-lt"/>
                        </a:rPr>
                        <a:t>3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3181845"/>
                  </a:ext>
                </a:extLst>
              </a:tr>
              <a:tr h="72141">
                <a:tc>
                  <a:txBody>
                    <a:bodyPr/>
                    <a:lstStyle/>
                    <a:p>
                      <a:pPr algn="ctr" fontAlgn="b"/>
                      <a:r>
                        <a:rPr lang="en-CH" sz="400" b="0" i="0" u="none" strike="noStrike">
                          <a:solidFill>
                            <a:schemeClr val="tx2"/>
                          </a:solidFill>
                          <a:effectLst/>
                          <a:latin typeface="+mn-lt"/>
                        </a:rPr>
                        <a:t>3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72141">
                <a:tc>
                  <a:txBody>
                    <a:bodyPr/>
                    <a:lstStyle/>
                    <a:p>
                      <a:pPr algn="ctr" fontAlgn="b"/>
                      <a:r>
                        <a:rPr lang="en-CH" sz="400" b="0" i="0" u="none" strike="noStrike">
                          <a:solidFill>
                            <a:schemeClr val="tx2"/>
                          </a:solidFill>
                          <a:effectLst/>
                          <a:latin typeface="+mn-lt"/>
                        </a:rPr>
                        <a:t>3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ogtlandweide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72141">
                <a:tc>
                  <a:txBody>
                    <a:bodyPr/>
                    <a:lstStyle/>
                    <a:p>
                      <a:pPr algn="ctr" fontAlgn="b"/>
                      <a:r>
                        <a:rPr lang="en-CH" sz="400" b="0" i="0" u="none" strike="noStrike">
                          <a:solidFill>
                            <a:schemeClr val="tx2"/>
                          </a:solidFill>
                          <a:effectLst/>
                          <a:latin typeface="+mn-lt"/>
                        </a:rPr>
                        <a:t>3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oldsteig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72141">
                <a:tc>
                  <a:txBody>
                    <a:bodyPr/>
                    <a:lstStyle/>
                    <a:p>
                      <a:pPr algn="ctr" fontAlgn="b"/>
                      <a:r>
                        <a:rPr lang="en-CH" sz="400" b="0" i="0" u="none" strike="noStrike">
                          <a:solidFill>
                            <a:schemeClr val="tx2"/>
                          </a:solidFill>
                          <a:effectLst/>
                          <a:latin typeface="+mn-lt"/>
                        </a:rPr>
                        <a:t>3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achsen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72141">
                <a:tc>
                  <a:txBody>
                    <a:bodyPr/>
                    <a:lstStyle/>
                    <a:p>
                      <a:pPr algn="ctr" fontAlgn="b"/>
                      <a:r>
                        <a:rPr lang="en-CH" sz="400" b="0" i="0" u="none" strike="noStrike">
                          <a:solidFill>
                            <a:schemeClr val="tx2"/>
                          </a:solidFill>
                          <a:effectLst/>
                          <a:latin typeface="+mn-lt"/>
                        </a:rPr>
                        <a:t>3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72141">
                <a:tc>
                  <a:txBody>
                    <a:bodyPr/>
                    <a:lstStyle/>
                    <a:p>
                      <a:pPr algn="ctr" fontAlgn="b"/>
                      <a:r>
                        <a:rPr lang="en-CH" sz="400" b="0" i="0" u="none" strike="noStrike">
                          <a:solidFill>
                            <a:schemeClr val="tx2"/>
                          </a:solidFill>
                          <a:effectLst/>
                          <a:latin typeface="+mn-lt"/>
                        </a:rPr>
                        <a:t>4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en-US" sz="400" b="0" i="0" u="none" strike="noStrike">
                          <a:solidFill>
                            <a:schemeClr val="tx2"/>
                          </a:solidFill>
                          <a:effectLst/>
                          <a:latin typeface="+mn-lt"/>
                        </a:rPr>
                        <a:t>Kerrygold Becher 1 Ct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72141">
                <a:tc>
                  <a:txBody>
                    <a:bodyPr/>
                    <a:lstStyle/>
                    <a:p>
                      <a:pPr algn="ctr" fontAlgn="b"/>
                      <a:r>
                        <a:rPr lang="en-CH" sz="400" b="0" i="0" u="none" strike="noStrike">
                          <a:solidFill>
                            <a:schemeClr val="tx2"/>
                          </a:solidFill>
                          <a:effectLst/>
                          <a:latin typeface="+mn-lt"/>
                        </a:rPr>
                        <a:t>4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72141">
                <a:tc>
                  <a:txBody>
                    <a:bodyPr/>
                    <a:lstStyle/>
                    <a:p>
                      <a:pPr algn="ctr" fontAlgn="b"/>
                      <a:r>
                        <a:rPr lang="en-CH" sz="400" b="0" i="0" u="none" strike="noStrike">
                          <a:solidFill>
                            <a:schemeClr val="tx2"/>
                          </a:solidFill>
                          <a:effectLst/>
                          <a:latin typeface="+mn-lt"/>
                        </a:rPr>
                        <a:t>4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Uplaender Bio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72141">
                <a:tc>
                  <a:txBody>
                    <a:bodyPr/>
                    <a:lstStyle/>
                    <a:p>
                      <a:pPr algn="ctr" fontAlgn="b"/>
                      <a:r>
                        <a:rPr lang="en-CH" sz="400" b="0" i="0" u="none" strike="noStrike">
                          <a:solidFill>
                            <a:schemeClr val="tx2"/>
                          </a:solidFill>
                          <a:effectLst/>
                          <a:latin typeface="+mn-lt"/>
                        </a:rPr>
                        <a:t>4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Grill / Fleisch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72141">
                <a:tc>
                  <a:txBody>
                    <a:bodyPr/>
                    <a:lstStyle/>
                    <a:p>
                      <a:pPr algn="ctr" fontAlgn="b"/>
                      <a:r>
                        <a:rPr lang="en-CH" sz="400" b="0" i="0" u="none" strike="noStrike">
                          <a:solidFill>
                            <a:schemeClr val="tx2"/>
                          </a:solidFill>
                          <a:effectLst/>
                          <a:latin typeface="+mn-lt"/>
                        </a:rPr>
                        <a:t>4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Dairygold Original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72141">
                <a:tc>
                  <a:txBody>
                    <a:bodyPr/>
                    <a:lstStyle/>
                    <a:p>
                      <a:pPr algn="ctr" fontAlgn="b"/>
                      <a:r>
                        <a:rPr lang="en-CH" sz="400" b="0" i="0" u="none" strike="noStrike">
                          <a:solidFill>
                            <a:schemeClr val="tx2"/>
                          </a:solidFill>
                          <a:effectLst/>
                          <a:latin typeface="+mn-lt"/>
                        </a:rPr>
                        <a:t>4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72141">
                <a:tc>
                  <a:txBody>
                    <a:bodyPr/>
                    <a:lstStyle/>
                    <a:p>
                      <a:pPr algn="ctr" fontAlgn="b"/>
                      <a:r>
                        <a:rPr lang="en-CH" sz="400" b="0" i="0" u="none" strike="noStrike">
                          <a:solidFill>
                            <a:schemeClr val="tx2"/>
                          </a:solidFill>
                          <a:effectLst/>
                          <a:latin typeface="+mn-lt"/>
                        </a:rPr>
                        <a:t>4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uessrahmbut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
                <a:tc>
                  <a:txBody>
                    <a:bodyPr/>
                    <a:lstStyle/>
                    <a:p>
                      <a:pPr algn="ctr" fontAlgn="b"/>
                      <a:r>
                        <a:rPr lang="en-CH" sz="400" b="0" i="0" u="none" strike="noStrike">
                          <a:solidFill>
                            <a:schemeClr val="tx2"/>
                          </a:solidFill>
                          <a:effectLst/>
                          <a:latin typeface="+mn-lt"/>
                        </a:rPr>
                        <a:t>4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Suessrahmbutter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
                <a:tc>
                  <a:txBody>
                    <a:bodyPr/>
                    <a:lstStyle/>
                    <a:p>
                      <a:pPr algn="ctr" fontAlgn="b"/>
                      <a:r>
                        <a:rPr lang="en-CH" sz="400" b="0" i="0" u="none" strike="noStrike">
                          <a:solidFill>
                            <a:schemeClr val="tx2"/>
                          </a:solidFill>
                          <a:effectLst/>
                          <a:latin typeface="+mn-lt"/>
                        </a:rPr>
                        <a:t>4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Mediterran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
                <a:tc>
                  <a:txBody>
                    <a:bodyPr/>
                    <a:lstStyle/>
                    <a:p>
                      <a:pPr algn="ctr" fontAlgn="b"/>
                      <a:r>
                        <a:rPr lang="en-CH" sz="400" b="0" i="0" u="none" strike="noStrike">
                          <a:solidFill>
                            <a:schemeClr val="tx2"/>
                          </a:solidFill>
                          <a:effectLst/>
                          <a:latin typeface="+mn-lt"/>
                        </a:rPr>
                        <a:t>4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Frankenland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
                <a:tc>
                  <a:txBody>
                    <a:bodyPr/>
                    <a:lstStyle/>
                    <a:p>
                      <a:pPr algn="ctr" fontAlgn="b"/>
                      <a:r>
                        <a:rPr lang="en-CH" sz="400" b="0" i="0" u="none" strike="noStrike">
                          <a:solidFill>
                            <a:schemeClr val="tx2"/>
                          </a:solidFill>
                          <a:effectLst/>
                          <a:latin typeface="+mn-lt"/>
                        </a:rPr>
                        <a:t>5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dirty="0" err="1">
                          <a:solidFill>
                            <a:schemeClr val="tx2"/>
                          </a:solidFill>
                          <a:effectLst/>
                          <a:latin typeface="+mn-lt"/>
                        </a:rPr>
                        <a:t>Meggle</a:t>
                      </a:r>
                      <a:r>
                        <a:rPr lang="fr-CH" sz="400" b="0" i="0" u="none" strike="noStrike" dirty="0">
                          <a:solidFill>
                            <a:schemeClr val="tx2"/>
                          </a:solidFill>
                          <a:effectLst/>
                          <a:latin typeface="+mn-lt"/>
                        </a:rPr>
                        <a:t> </a:t>
                      </a:r>
                      <a:r>
                        <a:rPr lang="fr-CH" sz="400" b="0" i="0" u="none" strike="noStrike" dirty="0" err="1">
                          <a:solidFill>
                            <a:schemeClr val="tx2"/>
                          </a:solidFill>
                          <a:effectLst/>
                          <a:latin typeface="+mn-lt"/>
                        </a:rPr>
                        <a:t>Vegane</a:t>
                      </a:r>
                      <a:r>
                        <a:rPr lang="fr-CH" sz="400" b="0" i="0" u="none" strike="noStrike" dirty="0">
                          <a:solidFill>
                            <a:schemeClr val="tx2"/>
                          </a:solidFill>
                          <a:effectLst/>
                          <a:latin typeface="+mn-lt"/>
                        </a:rPr>
                        <a:t> Grill / </a:t>
                      </a:r>
                      <a:r>
                        <a:rPr lang="fr-CH" sz="400" b="0" i="0" u="none" strike="noStrike" dirty="0" err="1">
                          <a:solidFill>
                            <a:schemeClr val="tx2"/>
                          </a:solidFill>
                          <a:effectLst/>
                          <a:latin typeface="+mn-lt"/>
                        </a:rPr>
                        <a:t>Fleisch</a:t>
                      </a:r>
                      <a:r>
                        <a:rPr lang="fr-CH" sz="400" b="0" i="0" u="none" strike="noStrike" dirty="0">
                          <a:solidFill>
                            <a:schemeClr val="tx2"/>
                          </a:solidFill>
                          <a:effectLst/>
                          <a:latin typeface="+mn-lt"/>
                        </a:rPr>
                        <a:t> Tube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79097513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0/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dirty="0"/>
              <a:t>DATA SOURCE: Trade Panel/Retailer Data | Ending Dec 2022</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Value Uplift vs Promo Efficiency | By Product | Category/Sector | Retailer | P12M</a:t>
            </a:r>
          </a:p>
          <a:p>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
                <a:tc>
                  <a:txBody>
                    <a:bodyPr/>
                    <a:lstStyle/>
                    <a:p>
                      <a:pPr algn="ctr" fontAlgn="b"/>
                      <a:r>
                        <a:rPr lang="en-CH" sz="400" b="0" i="0" u="none" strike="noStrike">
                          <a:solidFill>
                            <a:schemeClr val="tx2"/>
                          </a:solidFill>
                          <a:effectLst/>
                          <a:latin typeface="+mn-lt"/>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68475315"/>
                  </a:ext>
                </a:extLst>
              </a:tr>
              <a:tr h="72141">
                <a:tc>
                  <a:txBody>
                    <a:bodyPr/>
                    <a:lstStyle/>
                    <a:p>
                      <a:pPr algn="ctr" fontAlgn="b"/>
                      <a:r>
                        <a:rPr lang="en-CH" sz="400" b="0" i="0" u="none" strike="noStrike">
                          <a:solidFill>
                            <a:schemeClr val="tx2"/>
                          </a:solidFill>
                          <a:effectLst/>
                          <a:latin typeface="+mn-lt"/>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74345675"/>
                  </a:ext>
                </a:extLst>
              </a:tr>
              <a:tr h="72141">
                <a:tc>
                  <a:txBody>
                    <a:bodyPr/>
                    <a:lstStyle/>
                    <a:p>
                      <a:pPr algn="ctr" fontAlgn="b"/>
                      <a:r>
                        <a:rPr lang="en-CH" sz="400" b="0" i="0" u="none" strike="noStrike">
                          <a:solidFill>
                            <a:schemeClr val="tx2"/>
                          </a:solidFill>
                          <a:effectLst/>
                          <a:latin typeface="+mn-lt"/>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1017686"/>
                  </a:ext>
                </a:extLst>
              </a:tr>
              <a:tr h="72141">
                <a:tc>
                  <a:txBody>
                    <a:bodyPr/>
                    <a:lstStyle/>
                    <a:p>
                      <a:pPr algn="ctr" fontAlgn="b"/>
                      <a:r>
                        <a:rPr lang="en-CH" sz="400" b="0" i="0" u="none" strike="noStrike">
                          <a:solidFill>
                            <a:schemeClr val="tx2"/>
                          </a:solidFill>
                          <a:effectLst/>
                          <a:latin typeface="+mn-lt"/>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Weihenstepha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53934404"/>
                  </a:ext>
                </a:extLst>
              </a:tr>
              <a:tr h="72141">
                <a:tc>
                  <a:txBody>
                    <a:bodyPr/>
                    <a:lstStyle/>
                    <a:p>
                      <a:pPr algn="ctr" fontAlgn="b"/>
                      <a:r>
                        <a:rPr lang="en-CH" sz="400" b="0" i="0" u="none" strike="noStrike">
                          <a:solidFill>
                            <a:schemeClr val="tx2"/>
                          </a:solidFill>
                          <a:effectLst/>
                          <a:latin typeface="+mn-lt"/>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83251638"/>
                  </a:ext>
                </a:extLst>
              </a:tr>
              <a:tr h="72141">
                <a:tc>
                  <a:txBody>
                    <a:bodyPr/>
                    <a:lstStyle/>
                    <a:p>
                      <a:pPr algn="ctr" fontAlgn="b"/>
                      <a:r>
                        <a:rPr lang="en-CH" sz="400" b="0" i="0" u="none" strike="noStrike">
                          <a:solidFill>
                            <a:schemeClr val="tx2"/>
                          </a:solidFill>
                          <a:effectLst/>
                          <a:latin typeface="+mn-lt"/>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Frau Antj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61931653"/>
                  </a:ext>
                </a:extLst>
              </a:tr>
              <a:tr h="72141">
                <a:tc>
                  <a:txBody>
                    <a:bodyPr/>
                    <a:lstStyle/>
                    <a:p>
                      <a:pPr algn="ctr" fontAlgn="b"/>
                      <a:r>
                        <a:rPr lang="en-CH" sz="400" b="0" i="0" u="none" strike="noStrike">
                          <a:solidFill>
                            <a:schemeClr val="tx2"/>
                          </a:solidFill>
                          <a:effectLst/>
                          <a:latin typeface="+mn-lt"/>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Becher 2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29411828"/>
                  </a:ext>
                </a:extLst>
              </a:tr>
              <a:tr h="72141">
                <a:tc>
                  <a:txBody>
                    <a:bodyPr/>
                    <a:lstStyle/>
                    <a:p>
                      <a:pPr algn="ctr" fontAlgn="b"/>
                      <a:r>
                        <a:rPr lang="en-CH" sz="400" b="0" i="0" u="none" strike="noStrike">
                          <a:solidFill>
                            <a:schemeClr val="tx2"/>
                          </a:solidFill>
                          <a:effectLst/>
                          <a:latin typeface="+mn-lt"/>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9762943"/>
                  </a:ext>
                </a:extLst>
              </a:tr>
              <a:tr h="72141">
                <a:tc>
                  <a:txBody>
                    <a:bodyPr/>
                    <a:lstStyle/>
                    <a:p>
                      <a:pPr algn="ctr" fontAlgn="b"/>
                      <a:r>
                        <a:rPr lang="en-CH" sz="400" b="0" i="0" u="none" strike="noStrike">
                          <a:solidFill>
                            <a:schemeClr val="tx2"/>
                          </a:solidFill>
                          <a:effectLst/>
                          <a:latin typeface="+mn-lt"/>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Bech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63467390"/>
                  </a:ext>
                </a:extLst>
              </a:tr>
              <a:tr h="72141">
                <a:tc>
                  <a:txBody>
                    <a:bodyPr/>
                    <a:lstStyle/>
                    <a:p>
                      <a:pPr algn="ctr" fontAlgn="b"/>
                      <a:r>
                        <a:rPr lang="en-CH" sz="400" b="0" i="0" u="none" strike="noStrike">
                          <a:solidFill>
                            <a:schemeClr val="tx2"/>
                          </a:solidFill>
                          <a:effectLst/>
                          <a:latin typeface="+mn-lt"/>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8294199"/>
                  </a:ext>
                </a:extLst>
              </a:tr>
              <a:tr h="72141">
                <a:tc>
                  <a:txBody>
                    <a:bodyPr/>
                    <a:lstStyle/>
                    <a:p>
                      <a:pPr algn="ctr" fontAlgn="b"/>
                      <a:r>
                        <a:rPr lang="en-CH" sz="400" b="0" i="0" u="none" strike="noStrike">
                          <a:solidFill>
                            <a:schemeClr val="tx2"/>
                          </a:solidFill>
                          <a:effectLst/>
                          <a:latin typeface="+mn-lt"/>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12783936"/>
                  </a:ext>
                </a:extLst>
              </a:tr>
              <a:tr h="72141">
                <a:tc>
                  <a:txBody>
                    <a:bodyPr/>
                    <a:lstStyle/>
                    <a:p>
                      <a:pPr algn="ctr" fontAlgn="b"/>
                      <a:r>
                        <a:rPr lang="en-CH" sz="400" b="0" i="0" u="none" strike="noStrike">
                          <a:solidFill>
                            <a:schemeClr val="tx2"/>
                          </a:solidFill>
                          <a:effectLst/>
                          <a:latin typeface="+mn-lt"/>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alte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7362147"/>
                  </a:ext>
                </a:extLst>
              </a:tr>
              <a:tr h="72141">
                <a:tc>
                  <a:txBody>
                    <a:bodyPr/>
                    <a:lstStyle/>
                    <a:p>
                      <a:pPr algn="ctr" fontAlgn="b"/>
                      <a:r>
                        <a:rPr lang="en-CH" sz="400" b="0" i="0" u="none" strike="noStrike">
                          <a:solidFill>
                            <a:schemeClr val="tx2"/>
                          </a:solidFill>
                          <a:effectLst/>
                          <a:latin typeface="+mn-lt"/>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91460699"/>
                  </a:ext>
                </a:extLst>
              </a:tr>
              <a:tr h="72141">
                <a:tc>
                  <a:txBody>
                    <a:bodyPr/>
                    <a:lstStyle/>
                    <a:p>
                      <a:pPr algn="ctr" fontAlgn="b"/>
                      <a:r>
                        <a:rPr lang="en-CH" sz="400" b="0" i="0" u="none" strike="noStrike">
                          <a:solidFill>
                            <a:schemeClr val="tx2"/>
                          </a:solidFill>
                          <a:effectLst/>
                          <a:latin typeface="+mn-lt"/>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iolife Vioblock Vegan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40093880"/>
                  </a:ext>
                </a:extLst>
              </a:tr>
              <a:tr h="72141">
                <a:tc>
                  <a:txBody>
                    <a:bodyPr/>
                    <a:lstStyle/>
                    <a:p>
                      <a:pPr algn="ctr" fontAlgn="b"/>
                      <a:r>
                        <a:rPr lang="en-CH" sz="400" b="0" i="0" u="none" strike="noStrike">
                          <a:solidFill>
                            <a:schemeClr val="tx2"/>
                          </a:solidFill>
                          <a:effectLst/>
                          <a:latin typeface="+mn-lt"/>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llgaeuer Hof 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50994264"/>
                  </a:ext>
                </a:extLst>
              </a:tr>
              <a:tr h="72141">
                <a:tc>
                  <a:txBody>
                    <a:bodyPr/>
                    <a:lstStyle/>
                    <a:p>
                      <a:pPr algn="ctr" fontAlgn="b"/>
                      <a:r>
                        <a:rPr lang="en-CH" sz="400" b="0" i="0" u="none" strike="noStrike">
                          <a:solidFill>
                            <a:schemeClr val="tx2"/>
                          </a:solidFill>
                          <a:effectLst/>
                          <a:latin typeface="+mn-lt"/>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Tube Vegan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75426428"/>
                  </a:ext>
                </a:extLst>
              </a:tr>
              <a:tr h="72141">
                <a:tc>
                  <a:txBody>
                    <a:bodyPr/>
                    <a:lstStyle/>
                    <a:p>
                      <a:pPr algn="ctr" fontAlgn="b"/>
                      <a:r>
                        <a:rPr lang="en-CH" sz="400" b="0" i="0" u="none" strike="noStrike">
                          <a:solidFill>
                            <a:schemeClr val="tx2"/>
                          </a:solidFill>
                          <a:effectLst/>
                          <a:latin typeface="+mn-lt"/>
                        </a:rPr>
                        <a:t>1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Allgaeuer Hof 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97241745"/>
                  </a:ext>
                </a:extLst>
              </a:tr>
              <a:tr h="72141">
                <a:tc>
                  <a:txBody>
                    <a:bodyPr/>
                    <a:lstStyle/>
                    <a:p>
                      <a:pPr algn="ctr" fontAlgn="b"/>
                      <a:r>
                        <a:rPr lang="en-CH" sz="400" b="0" i="0" u="none" strike="noStrike">
                          <a:solidFill>
                            <a:schemeClr val="tx2"/>
                          </a:solidFill>
                          <a:effectLst/>
                          <a:latin typeface="+mn-lt"/>
                        </a:rPr>
                        <a:t>1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Becher 1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13182630"/>
                  </a:ext>
                </a:extLst>
              </a:tr>
              <a:tr h="72141">
                <a:tc>
                  <a:txBody>
                    <a:bodyPr/>
                    <a:lstStyle/>
                    <a:p>
                      <a:pPr algn="ctr" fontAlgn="b"/>
                      <a:r>
                        <a:rPr lang="en-CH" sz="400" b="0" i="0" u="none" strike="noStrike">
                          <a:solidFill>
                            <a:schemeClr val="tx2"/>
                          </a:solidFill>
                          <a:effectLst/>
                          <a:latin typeface="+mn-lt"/>
                        </a:rPr>
                        <a:t>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5205234"/>
                  </a:ext>
                </a:extLst>
              </a:tr>
              <a:tr h="72141">
                <a:tc>
                  <a:txBody>
                    <a:bodyPr/>
                    <a:lstStyle/>
                    <a:p>
                      <a:pPr algn="ctr" fontAlgn="b"/>
                      <a:r>
                        <a:rPr lang="en-CH" sz="400" b="0" i="0" u="none" strike="noStrike">
                          <a:solidFill>
                            <a:schemeClr val="tx2"/>
                          </a:solidFill>
                          <a:effectLst/>
                          <a:latin typeface="+mn-lt"/>
                        </a:rPr>
                        <a:t>2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04871848"/>
                  </a:ext>
                </a:extLst>
              </a:tr>
              <a:tr h="72141">
                <a:tc>
                  <a:txBody>
                    <a:bodyPr/>
                    <a:lstStyle/>
                    <a:p>
                      <a:pPr algn="ctr" fontAlgn="b"/>
                      <a:r>
                        <a:rPr lang="en-CH" sz="400" b="0" i="0" u="none" strike="noStrike">
                          <a:solidFill>
                            <a:schemeClr val="tx2"/>
                          </a:solidFill>
                          <a:effectLst/>
                          <a:latin typeface="+mn-lt"/>
                        </a:rPr>
                        <a:t>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Die Vegan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49180832"/>
                  </a:ext>
                </a:extLst>
              </a:tr>
              <a:tr h="72141">
                <a:tc>
                  <a:txBody>
                    <a:bodyPr/>
                    <a:lstStyle/>
                    <a:p>
                      <a:pPr algn="ctr" fontAlgn="b"/>
                      <a:r>
                        <a:rPr lang="en-CH" sz="400" b="0" i="0" u="none" strike="noStrike">
                          <a:solidFill>
                            <a:schemeClr val="tx2"/>
                          </a:solidFill>
                          <a:effectLst/>
                          <a:latin typeface="+mn-lt"/>
                        </a:rPr>
                        <a:t>2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17787889"/>
                  </a:ext>
                </a:extLst>
              </a:tr>
              <a:tr h="72141">
                <a:tc>
                  <a:txBody>
                    <a:bodyPr/>
                    <a:lstStyle/>
                    <a:p>
                      <a:pPr algn="ctr" fontAlgn="b"/>
                      <a:r>
                        <a:rPr lang="en-CH" sz="400" b="0" i="0" u="none" strike="noStrike">
                          <a:solidFill>
                            <a:schemeClr val="tx2"/>
                          </a:solidFill>
                          <a:effectLst/>
                          <a:latin typeface="+mn-lt"/>
                        </a:rPr>
                        <a:t>2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9181467"/>
                  </a:ext>
                </a:extLst>
              </a:tr>
              <a:tr h="72141">
                <a:tc>
                  <a:txBody>
                    <a:bodyPr/>
                    <a:lstStyle/>
                    <a:p>
                      <a:pPr algn="ctr" fontAlgn="b"/>
                      <a:r>
                        <a:rPr lang="en-CH" sz="400" b="0" i="0" u="none" strike="noStrike">
                          <a:solidFill>
                            <a:schemeClr val="tx2"/>
                          </a:solidFill>
                          <a:effectLst/>
                          <a:latin typeface="+mn-lt"/>
                        </a:rPr>
                        <a:t>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esident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49409313"/>
                  </a:ext>
                </a:extLst>
              </a:tr>
              <a:tr h="72141">
                <a:tc>
                  <a:txBody>
                    <a:bodyPr/>
                    <a:lstStyle/>
                    <a:p>
                      <a:pPr algn="ctr" fontAlgn="b"/>
                      <a:r>
                        <a:rPr lang="en-CH" sz="400" b="0" i="0" u="none" strike="noStrike">
                          <a:solidFill>
                            <a:schemeClr val="tx2"/>
                          </a:solidFill>
                          <a:effectLst/>
                          <a:latin typeface="+mn-lt"/>
                        </a:rPr>
                        <a:t>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ndechser Natur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0138508"/>
                  </a:ext>
                </a:extLst>
              </a:tr>
              <a:tr h="72141">
                <a:tc>
                  <a:txBody>
                    <a:bodyPr/>
                    <a:lstStyle/>
                    <a:p>
                      <a:pPr algn="ctr" fontAlgn="b"/>
                      <a:r>
                        <a:rPr lang="en-CH" sz="400" b="0" i="0" u="none" strike="noStrike">
                          <a:solidFill>
                            <a:schemeClr val="tx2"/>
                          </a:solidFill>
                          <a:effectLst/>
                          <a:latin typeface="+mn-lt"/>
                        </a:rPr>
                        <a:t>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Echt Franke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62685953"/>
                  </a:ext>
                </a:extLst>
              </a:tr>
              <a:tr h="72141">
                <a:tc>
                  <a:txBody>
                    <a:bodyPr/>
                    <a:lstStyle/>
                    <a:p>
                      <a:pPr algn="ctr" fontAlgn="b"/>
                      <a:r>
                        <a:rPr lang="en-CH" sz="400" b="0" i="0" u="none" strike="noStrike">
                          <a:solidFill>
                            <a:schemeClr val="tx2"/>
                          </a:solidFill>
                          <a:effectLst/>
                          <a:latin typeface="+mn-lt"/>
                        </a:rPr>
                        <a:t>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nb-NO" sz="400" b="0" i="0" u="none" strike="noStrike">
                          <a:solidFill>
                            <a:schemeClr val="tx2"/>
                          </a:solidFill>
                          <a:effectLst/>
                          <a:latin typeface="+mn-lt"/>
                        </a:rPr>
                        <a:t>Private Label Pilz Glas 1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84834823"/>
                  </a:ext>
                </a:extLst>
              </a:tr>
              <a:tr h="72141">
                <a:tc>
                  <a:txBody>
                    <a:bodyPr/>
                    <a:lstStyle/>
                    <a:p>
                      <a:pPr algn="ctr" fontAlgn="b"/>
                      <a:r>
                        <a:rPr lang="en-CH" sz="400" b="0" i="0" u="none" strike="noStrike">
                          <a:solidFill>
                            <a:schemeClr val="tx2"/>
                          </a:solidFill>
                          <a:effectLst/>
                          <a:latin typeface="+mn-lt"/>
                        </a:rPr>
                        <a:t>2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Kerrygold Original Kraeuter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2592600"/>
                  </a:ext>
                </a:extLst>
              </a:tr>
              <a:tr h="72141">
                <a:tc>
                  <a:txBody>
                    <a:bodyPr/>
                    <a:lstStyle/>
                    <a:p>
                      <a:pPr algn="ctr" fontAlgn="b"/>
                      <a:r>
                        <a:rPr lang="en-CH" sz="400" b="0" i="0" u="none" strike="noStrike">
                          <a:solidFill>
                            <a:schemeClr val="tx2"/>
                          </a:solidFill>
                          <a:effectLst/>
                          <a:latin typeface="+mn-lt"/>
                        </a:rPr>
                        <a:t>2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Bio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4432554"/>
                  </a:ext>
                </a:extLst>
              </a:tr>
              <a:tr h="72141">
                <a:tc>
                  <a:txBody>
                    <a:bodyPr/>
                    <a:lstStyle/>
                    <a:p>
                      <a:pPr algn="ctr" fontAlgn="b"/>
                      <a:r>
                        <a:rPr lang="en-CH" sz="400" b="0" i="0" u="none" strike="noStrike">
                          <a:solidFill>
                            <a:schemeClr val="tx2"/>
                          </a:solidFill>
                          <a:effectLst/>
                          <a:latin typeface="+mn-lt"/>
                        </a:rPr>
                        <a:t>3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Hansano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5818235"/>
                  </a:ext>
                </a:extLst>
              </a:tr>
              <a:tr h="72141">
                <a:tc>
                  <a:txBody>
                    <a:bodyPr/>
                    <a:lstStyle/>
                    <a:p>
                      <a:pPr algn="ctr" fontAlgn="b"/>
                      <a:r>
                        <a:rPr lang="en-CH" sz="400" b="0" i="0" u="none" strike="noStrike">
                          <a:solidFill>
                            <a:schemeClr val="tx2"/>
                          </a:solidFill>
                          <a:effectLst/>
                          <a:latin typeface="+mn-lt"/>
                        </a:rPr>
                        <a:t>3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Meggle Knoblauch / Zwiebel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14338691"/>
                  </a:ext>
                </a:extLst>
              </a:tr>
              <a:tr h="72141">
                <a:tc>
                  <a:txBody>
                    <a:bodyPr/>
                    <a:lstStyle/>
                    <a:p>
                      <a:pPr algn="ctr" fontAlgn="b"/>
                      <a:r>
                        <a:rPr lang="en-CH" sz="400" b="0" i="0" u="none" strike="noStrike">
                          <a:solidFill>
                            <a:schemeClr val="tx2"/>
                          </a:solidFill>
                          <a:effectLst/>
                          <a:latin typeface="+mn-lt"/>
                        </a:rPr>
                        <a:t>3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9559883"/>
                  </a:ext>
                </a:extLst>
              </a:tr>
              <a:tr h="72141">
                <a:tc>
                  <a:txBody>
                    <a:bodyPr/>
                    <a:lstStyle/>
                    <a:p>
                      <a:pPr algn="ctr" fontAlgn="b"/>
                      <a:r>
                        <a:rPr lang="en-CH" sz="400" b="0" i="0" u="none" strike="noStrike">
                          <a:solidFill>
                            <a:schemeClr val="tx2"/>
                          </a:solidFill>
                          <a:effectLst/>
                          <a:latin typeface="+mn-lt"/>
                        </a:rPr>
                        <a:t>3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6527690"/>
                  </a:ext>
                </a:extLst>
              </a:tr>
              <a:tr h="72141">
                <a:tc>
                  <a:txBody>
                    <a:bodyPr/>
                    <a:lstStyle/>
                    <a:p>
                      <a:pPr algn="ctr" fontAlgn="b"/>
                      <a:r>
                        <a:rPr lang="en-CH" sz="400" b="0" i="0" u="none" strike="noStrike">
                          <a:solidFill>
                            <a:schemeClr val="tx2"/>
                          </a:solidFill>
                          <a:effectLst/>
                          <a:latin typeface="+mn-lt"/>
                        </a:rPr>
                        <a:t>3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3181845"/>
                  </a:ext>
                </a:extLst>
              </a:tr>
              <a:tr h="72141">
                <a:tc>
                  <a:txBody>
                    <a:bodyPr/>
                    <a:lstStyle/>
                    <a:p>
                      <a:pPr algn="ctr" fontAlgn="b"/>
                      <a:r>
                        <a:rPr lang="en-CH" sz="400" b="0" i="0" u="none" strike="noStrike">
                          <a:solidFill>
                            <a:schemeClr val="tx2"/>
                          </a:solidFill>
                          <a:effectLst/>
                          <a:latin typeface="+mn-lt"/>
                        </a:rPr>
                        <a:t>3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72141">
                <a:tc>
                  <a:txBody>
                    <a:bodyPr/>
                    <a:lstStyle/>
                    <a:p>
                      <a:pPr algn="ctr" fontAlgn="b"/>
                      <a:r>
                        <a:rPr lang="en-CH" sz="400" b="0" i="0" u="none" strike="noStrike">
                          <a:solidFill>
                            <a:schemeClr val="tx2"/>
                          </a:solidFill>
                          <a:effectLst/>
                          <a:latin typeface="+mn-lt"/>
                        </a:rPr>
                        <a:t>3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ogtlandweide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72141">
                <a:tc>
                  <a:txBody>
                    <a:bodyPr/>
                    <a:lstStyle/>
                    <a:p>
                      <a:pPr algn="ctr" fontAlgn="b"/>
                      <a:r>
                        <a:rPr lang="en-CH" sz="400" b="0" i="0" u="none" strike="noStrike">
                          <a:solidFill>
                            <a:schemeClr val="tx2"/>
                          </a:solidFill>
                          <a:effectLst/>
                          <a:latin typeface="+mn-lt"/>
                        </a:rPr>
                        <a:t>3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oldsteig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72141">
                <a:tc>
                  <a:txBody>
                    <a:bodyPr/>
                    <a:lstStyle/>
                    <a:p>
                      <a:pPr algn="ctr" fontAlgn="b"/>
                      <a:r>
                        <a:rPr lang="en-CH" sz="400" b="0" i="0" u="none" strike="noStrike">
                          <a:solidFill>
                            <a:schemeClr val="tx2"/>
                          </a:solidFill>
                          <a:effectLst/>
                          <a:latin typeface="+mn-lt"/>
                        </a:rPr>
                        <a:t>3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achsen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72141">
                <a:tc>
                  <a:txBody>
                    <a:bodyPr/>
                    <a:lstStyle/>
                    <a:p>
                      <a:pPr algn="ctr" fontAlgn="b"/>
                      <a:r>
                        <a:rPr lang="en-CH" sz="400" b="0" i="0" u="none" strike="noStrike">
                          <a:solidFill>
                            <a:schemeClr val="tx2"/>
                          </a:solidFill>
                          <a:effectLst/>
                          <a:latin typeface="+mn-lt"/>
                        </a:rPr>
                        <a:t>3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72141">
                <a:tc>
                  <a:txBody>
                    <a:bodyPr/>
                    <a:lstStyle/>
                    <a:p>
                      <a:pPr algn="ctr" fontAlgn="b"/>
                      <a:r>
                        <a:rPr lang="en-CH" sz="400" b="0" i="0" u="none" strike="noStrike">
                          <a:solidFill>
                            <a:schemeClr val="tx2"/>
                          </a:solidFill>
                          <a:effectLst/>
                          <a:latin typeface="+mn-lt"/>
                        </a:rPr>
                        <a:t>4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en-US" sz="400" b="0" i="0" u="none" strike="noStrike">
                          <a:solidFill>
                            <a:schemeClr val="tx2"/>
                          </a:solidFill>
                          <a:effectLst/>
                          <a:latin typeface="+mn-lt"/>
                        </a:rPr>
                        <a:t>Kerrygold Becher 1 Ct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72141">
                <a:tc>
                  <a:txBody>
                    <a:bodyPr/>
                    <a:lstStyle/>
                    <a:p>
                      <a:pPr algn="ctr" fontAlgn="b"/>
                      <a:r>
                        <a:rPr lang="en-CH" sz="400" b="0" i="0" u="none" strike="noStrike">
                          <a:solidFill>
                            <a:schemeClr val="tx2"/>
                          </a:solidFill>
                          <a:effectLst/>
                          <a:latin typeface="+mn-lt"/>
                        </a:rPr>
                        <a:t>4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72141">
                <a:tc>
                  <a:txBody>
                    <a:bodyPr/>
                    <a:lstStyle/>
                    <a:p>
                      <a:pPr algn="ctr" fontAlgn="b"/>
                      <a:r>
                        <a:rPr lang="en-CH" sz="400" b="0" i="0" u="none" strike="noStrike">
                          <a:solidFill>
                            <a:schemeClr val="tx2"/>
                          </a:solidFill>
                          <a:effectLst/>
                          <a:latin typeface="+mn-lt"/>
                        </a:rPr>
                        <a:t>4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Uplaender Bio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72141">
                <a:tc>
                  <a:txBody>
                    <a:bodyPr/>
                    <a:lstStyle/>
                    <a:p>
                      <a:pPr algn="ctr" fontAlgn="b"/>
                      <a:r>
                        <a:rPr lang="en-CH" sz="400" b="0" i="0" u="none" strike="noStrike">
                          <a:solidFill>
                            <a:schemeClr val="tx2"/>
                          </a:solidFill>
                          <a:effectLst/>
                          <a:latin typeface="+mn-lt"/>
                        </a:rPr>
                        <a:t>4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Grill / Fleisch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72141">
                <a:tc>
                  <a:txBody>
                    <a:bodyPr/>
                    <a:lstStyle/>
                    <a:p>
                      <a:pPr algn="ctr" fontAlgn="b"/>
                      <a:r>
                        <a:rPr lang="en-CH" sz="400" b="0" i="0" u="none" strike="noStrike">
                          <a:solidFill>
                            <a:schemeClr val="tx2"/>
                          </a:solidFill>
                          <a:effectLst/>
                          <a:latin typeface="+mn-lt"/>
                        </a:rPr>
                        <a:t>4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Dairygold Original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72141">
                <a:tc>
                  <a:txBody>
                    <a:bodyPr/>
                    <a:lstStyle/>
                    <a:p>
                      <a:pPr algn="ctr" fontAlgn="b"/>
                      <a:r>
                        <a:rPr lang="en-CH" sz="400" b="0" i="0" u="none" strike="noStrike">
                          <a:solidFill>
                            <a:schemeClr val="tx2"/>
                          </a:solidFill>
                          <a:effectLst/>
                          <a:latin typeface="+mn-lt"/>
                        </a:rPr>
                        <a:t>4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72141">
                <a:tc>
                  <a:txBody>
                    <a:bodyPr/>
                    <a:lstStyle/>
                    <a:p>
                      <a:pPr algn="ctr" fontAlgn="b"/>
                      <a:r>
                        <a:rPr lang="en-CH" sz="400" b="0" i="0" u="none" strike="noStrike">
                          <a:solidFill>
                            <a:schemeClr val="tx2"/>
                          </a:solidFill>
                          <a:effectLst/>
                          <a:latin typeface="+mn-lt"/>
                        </a:rPr>
                        <a:t>4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uessrahmbut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
                <a:tc>
                  <a:txBody>
                    <a:bodyPr/>
                    <a:lstStyle/>
                    <a:p>
                      <a:pPr algn="ctr" fontAlgn="b"/>
                      <a:r>
                        <a:rPr lang="en-CH" sz="400" b="0" i="0" u="none" strike="noStrike">
                          <a:solidFill>
                            <a:schemeClr val="tx2"/>
                          </a:solidFill>
                          <a:effectLst/>
                          <a:latin typeface="+mn-lt"/>
                        </a:rPr>
                        <a:t>4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Suessrahmbutter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
                <a:tc>
                  <a:txBody>
                    <a:bodyPr/>
                    <a:lstStyle/>
                    <a:p>
                      <a:pPr algn="ctr" fontAlgn="b"/>
                      <a:r>
                        <a:rPr lang="en-CH" sz="400" b="0" i="0" u="none" strike="noStrike">
                          <a:solidFill>
                            <a:schemeClr val="tx2"/>
                          </a:solidFill>
                          <a:effectLst/>
                          <a:latin typeface="+mn-lt"/>
                        </a:rPr>
                        <a:t>4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Mediterran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
                <a:tc>
                  <a:txBody>
                    <a:bodyPr/>
                    <a:lstStyle/>
                    <a:p>
                      <a:pPr algn="ctr" fontAlgn="b"/>
                      <a:r>
                        <a:rPr lang="en-CH" sz="400" b="0" i="0" u="none" strike="noStrike">
                          <a:solidFill>
                            <a:schemeClr val="tx2"/>
                          </a:solidFill>
                          <a:effectLst/>
                          <a:latin typeface="+mn-lt"/>
                        </a:rPr>
                        <a:t>4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Frankenland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
                <a:tc>
                  <a:txBody>
                    <a:bodyPr/>
                    <a:lstStyle/>
                    <a:p>
                      <a:pPr algn="ctr" fontAlgn="b"/>
                      <a:r>
                        <a:rPr lang="en-CH" sz="400" b="0" i="0" u="none" strike="noStrike">
                          <a:solidFill>
                            <a:schemeClr val="tx2"/>
                          </a:solidFill>
                          <a:effectLst/>
                          <a:latin typeface="+mn-lt"/>
                        </a:rPr>
                        <a:t>5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dirty="0" err="1">
                          <a:solidFill>
                            <a:schemeClr val="tx2"/>
                          </a:solidFill>
                          <a:effectLst/>
                          <a:latin typeface="+mn-lt"/>
                        </a:rPr>
                        <a:t>Meggle</a:t>
                      </a:r>
                      <a:r>
                        <a:rPr lang="fr-CH" sz="400" b="0" i="0" u="none" strike="noStrike" dirty="0">
                          <a:solidFill>
                            <a:schemeClr val="tx2"/>
                          </a:solidFill>
                          <a:effectLst/>
                          <a:latin typeface="+mn-lt"/>
                        </a:rPr>
                        <a:t> </a:t>
                      </a:r>
                      <a:r>
                        <a:rPr lang="fr-CH" sz="400" b="0" i="0" u="none" strike="noStrike" dirty="0" err="1">
                          <a:solidFill>
                            <a:schemeClr val="tx2"/>
                          </a:solidFill>
                          <a:effectLst/>
                          <a:latin typeface="+mn-lt"/>
                        </a:rPr>
                        <a:t>Vegane</a:t>
                      </a:r>
                      <a:r>
                        <a:rPr lang="fr-CH" sz="400" b="0" i="0" u="none" strike="noStrike" dirty="0">
                          <a:solidFill>
                            <a:schemeClr val="tx2"/>
                          </a:solidFill>
                          <a:effectLst/>
                          <a:latin typeface="+mn-lt"/>
                        </a:rPr>
                        <a:t> Grill / </a:t>
                      </a:r>
                      <a:r>
                        <a:rPr lang="fr-CH" sz="400" b="0" i="0" u="none" strike="noStrike" dirty="0" err="1">
                          <a:solidFill>
                            <a:schemeClr val="tx2"/>
                          </a:solidFill>
                          <a:effectLst/>
                          <a:latin typeface="+mn-lt"/>
                        </a:rPr>
                        <a:t>Fleisch</a:t>
                      </a:r>
                      <a:r>
                        <a:rPr lang="fr-CH" sz="400" b="0" i="0" u="none" strike="noStrike" dirty="0">
                          <a:solidFill>
                            <a:schemeClr val="tx2"/>
                          </a:solidFill>
                          <a:effectLst/>
                          <a:latin typeface="+mn-lt"/>
                        </a:rPr>
                        <a:t> Tube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62961463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0/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dirty="0"/>
              <a:t>DATA SOURCE: Trade Panel/Retailer Data | Ending Dec 2022</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Value Uplift vs Promo Efficiency | By Product | Category/Sector | Retailer | P12M</a:t>
            </a:r>
          </a:p>
          <a:p>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
                <a:tc>
                  <a:txBody>
                    <a:bodyPr/>
                    <a:lstStyle/>
                    <a:p>
                      <a:pPr algn="ctr" fontAlgn="b"/>
                      <a:r>
                        <a:rPr lang="en-CH" sz="400" b="0" i="0" u="none" strike="noStrike">
                          <a:solidFill>
                            <a:schemeClr val="tx2"/>
                          </a:solidFill>
                          <a:effectLst/>
                          <a:latin typeface="+mn-lt"/>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68475315"/>
                  </a:ext>
                </a:extLst>
              </a:tr>
              <a:tr h="72141">
                <a:tc>
                  <a:txBody>
                    <a:bodyPr/>
                    <a:lstStyle/>
                    <a:p>
                      <a:pPr algn="ctr" fontAlgn="b"/>
                      <a:r>
                        <a:rPr lang="en-CH" sz="400" b="0" i="0" u="none" strike="noStrike">
                          <a:solidFill>
                            <a:schemeClr val="tx2"/>
                          </a:solidFill>
                          <a:effectLst/>
                          <a:latin typeface="+mn-lt"/>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74345675"/>
                  </a:ext>
                </a:extLst>
              </a:tr>
              <a:tr h="72141">
                <a:tc>
                  <a:txBody>
                    <a:bodyPr/>
                    <a:lstStyle/>
                    <a:p>
                      <a:pPr algn="ctr" fontAlgn="b"/>
                      <a:r>
                        <a:rPr lang="en-CH" sz="400" b="0" i="0" u="none" strike="noStrike">
                          <a:solidFill>
                            <a:schemeClr val="tx2"/>
                          </a:solidFill>
                          <a:effectLst/>
                          <a:latin typeface="+mn-lt"/>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1017686"/>
                  </a:ext>
                </a:extLst>
              </a:tr>
              <a:tr h="72141">
                <a:tc>
                  <a:txBody>
                    <a:bodyPr/>
                    <a:lstStyle/>
                    <a:p>
                      <a:pPr algn="ctr" fontAlgn="b"/>
                      <a:r>
                        <a:rPr lang="en-CH" sz="400" b="0" i="0" u="none" strike="noStrike">
                          <a:solidFill>
                            <a:schemeClr val="tx2"/>
                          </a:solidFill>
                          <a:effectLst/>
                          <a:latin typeface="+mn-lt"/>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Weihenstepha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53934404"/>
                  </a:ext>
                </a:extLst>
              </a:tr>
              <a:tr h="72141">
                <a:tc>
                  <a:txBody>
                    <a:bodyPr/>
                    <a:lstStyle/>
                    <a:p>
                      <a:pPr algn="ctr" fontAlgn="b"/>
                      <a:r>
                        <a:rPr lang="en-CH" sz="400" b="0" i="0" u="none" strike="noStrike">
                          <a:solidFill>
                            <a:schemeClr val="tx2"/>
                          </a:solidFill>
                          <a:effectLst/>
                          <a:latin typeface="+mn-lt"/>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83251638"/>
                  </a:ext>
                </a:extLst>
              </a:tr>
              <a:tr h="72141">
                <a:tc>
                  <a:txBody>
                    <a:bodyPr/>
                    <a:lstStyle/>
                    <a:p>
                      <a:pPr algn="ctr" fontAlgn="b"/>
                      <a:r>
                        <a:rPr lang="en-CH" sz="400" b="0" i="0" u="none" strike="noStrike">
                          <a:solidFill>
                            <a:schemeClr val="tx2"/>
                          </a:solidFill>
                          <a:effectLst/>
                          <a:latin typeface="+mn-lt"/>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Frau Antj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61931653"/>
                  </a:ext>
                </a:extLst>
              </a:tr>
              <a:tr h="72141">
                <a:tc>
                  <a:txBody>
                    <a:bodyPr/>
                    <a:lstStyle/>
                    <a:p>
                      <a:pPr algn="ctr" fontAlgn="b"/>
                      <a:r>
                        <a:rPr lang="en-CH" sz="400" b="0" i="0" u="none" strike="noStrike">
                          <a:solidFill>
                            <a:schemeClr val="tx2"/>
                          </a:solidFill>
                          <a:effectLst/>
                          <a:latin typeface="+mn-lt"/>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Becher 2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29411828"/>
                  </a:ext>
                </a:extLst>
              </a:tr>
              <a:tr h="72141">
                <a:tc>
                  <a:txBody>
                    <a:bodyPr/>
                    <a:lstStyle/>
                    <a:p>
                      <a:pPr algn="ctr" fontAlgn="b"/>
                      <a:r>
                        <a:rPr lang="en-CH" sz="400" b="0" i="0" u="none" strike="noStrike">
                          <a:solidFill>
                            <a:schemeClr val="tx2"/>
                          </a:solidFill>
                          <a:effectLst/>
                          <a:latin typeface="+mn-lt"/>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9762943"/>
                  </a:ext>
                </a:extLst>
              </a:tr>
              <a:tr h="72141">
                <a:tc>
                  <a:txBody>
                    <a:bodyPr/>
                    <a:lstStyle/>
                    <a:p>
                      <a:pPr algn="ctr" fontAlgn="b"/>
                      <a:r>
                        <a:rPr lang="en-CH" sz="400" b="0" i="0" u="none" strike="noStrike">
                          <a:solidFill>
                            <a:schemeClr val="tx2"/>
                          </a:solidFill>
                          <a:effectLst/>
                          <a:latin typeface="+mn-lt"/>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Bech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63467390"/>
                  </a:ext>
                </a:extLst>
              </a:tr>
              <a:tr h="72141">
                <a:tc>
                  <a:txBody>
                    <a:bodyPr/>
                    <a:lstStyle/>
                    <a:p>
                      <a:pPr algn="ctr" fontAlgn="b"/>
                      <a:r>
                        <a:rPr lang="en-CH" sz="400" b="0" i="0" u="none" strike="noStrike">
                          <a:solidFill>
                            <a:schemeClr val="tx2"/>
                          </a:solidFill>
                          <a:effectLst/>
                          <a:latin typeface="+mn-lt"/>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8294199"/>
                  </a:ext>
                </a:extLst>
              </a:tr>
              <a:tr h="72141">
                <a:tc>
                  <a:txBody>
                    <a:bodyPr/>
                    <a:lstStyle/>
                    <a:p>
                      <a:pPr algn="ctr" fontAlgn="b"/>
                      <a:r>
                        <a:rPr lang="en-CH" sz="400" b="0" i="0" u="none" strike="noStrike">
                          <a:solidFill>
                            <a:schemeClr val="tx2"/>
                          </a:solidFill>
                          <a:effectLst/>
                          <a:latin typeface="+mn-lt"/>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12783936"/>
                  </a:ext>
                </a:extLst>
              </a:tr>
              <a:tr h="72141">
                <a:tc>
                  <a:txBody>
                    <a:bodyPr/>
                    <a:lstStyle/>
                    <a:p>
                      <a:pPr algn="ctr" fontAlgn="b"/>
                      <a:r>
                        <a:rPr lang="en-CH" sz="400" b="0" i="0" u="none" strike="noStrike">
                          <a:solidFill>
                            <a:schemeClr val="tx2"/>
                          </a:solidFill>
                          <a:effectLst/>
                          <a:latin typeface="+mn-lt"/>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alte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7362147"/>
                  </a:ext>
                </a:extLst>
              </a:tr>
              <a:tr h="72141">
                <a:tc>
                  <a:txBody>
                    <a:bodyPr/>
                    <a:lstStyle/>
                    <a:p>
                      <a:pPr algn="ctr" fontAlgn="b"/>
                      <a:r>
                        <a:rPr lang="en-CH" sz="400" b="0" i="0" u="none" strike="noStrike">
                          <a:solidFill>
                            <a:schemeClr val="tx2"/>
                          </a:solidFill>
                          <a:effectLst/>
                          <a:latin typeface="+mn-lt"/>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91460699"/>
                  </a:ext>
                </a:extLst>
              </a:tr>
              <a:tr h="72141">
                <a:tc>
                  <a:txBody>
                    <a:bodyPr/>
                    <a:lstStyle/>
                    <a:p>
                      <a:pPr algn="ctr" fontAlgn="b"/>
                      <a:r>
                        <a:rPr lang="en-CH" sz="400" b="0" i="0" u="none" strike="noStrike">
                          <a:solidFill>
                            <a:schemeClr val="tx2"/>
                          </a:solidFill>
                          <a:effectLst/>
                          <a:latin typeface="+mn-lt"/>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iolife Vioblock Vegan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40093880"/>
                  </a:ext>
                </a:extLst>
              </a:tr>
              <a:tr h="72141">
                <a:tc>
                  <a:txBody>
                    <a:bodyPr/>
                    <a:lstStyle/>
                    <a:p>
                      <a:pPr algn="ctr" fontAlgn="b"/>
                      <a:r>
                        <a:rPr lang="en-CH" sz="400" b="0" i="0" u="none" strike="noStrike">
                          <a:solidFill>
                            <a:schemeClr val="tx2"/>
                          </a:solidFill>
                          <a:effectLst/>
                          <a:latin typeface="+mn-lt"/>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llgaeuer Hof 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50994264"/>
                  </a:ext>
                </a:extLst>
              </a:tr>
              <a:tr h="72141">
                <a:tc>
                  <a:txBody>
                    <a:bodyPr/>
                    <a:lstStyle/>
                    <a:p>
                      <a:pPr algn="ctr" fontAlgn="b"/>
                      <a:r>
                        <a:rPr lang="en-CH" sz="400" b="0" i="0" u="none" strike="noStrike">
                          <a:solidFill>
                            <a:schemeClr val="tx2"/>
                          </a:solidFill>
                          <a:effectLst/>
                          <a:latin typeface="+mn-lt"/>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Tube Vegan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75426428"/>
                  </a:ext>
                </a:extLst>
              </a:tr>
              <a:tr h="72141">
                <a:tc>
                  <a:txBody>
                    <a:bodyPr/>
                    <a:lstStyle/>
                    <a:p>
                      <a:pPr algn="ctr" fontAlgn="b"/>
                      <a:r>
                        <a:rPr lang="en-CH" sz="400" b="0" i="0" u="none" strike="noStrike">
                          <a:solidFill>
                            <a:schemeClr val="tx2"/>
                          </a:solidFill>
                          <a:effectLst/>
                          <a:latin typeface="+mn-lt"/>
                        </a:rPr>
                        <a:t>1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Allgaeuer Hof 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97241745"/>
                  </a:ext>
                </a:extLst>
              </a:tr>
              <a:tr h="72141">
                <a:tc>
                  <a:txBody>
                    <a:bodyPr/>
                    <a:lstStyle/>
                    <a:p>
                      <a:pPr algn="ctr" fontAlgn="b"/>
                      <a:r>
                        <a:rPr lang="en-CH" sz="400" b="0" i="0" u="none" strike="noStrike">
                          <a:solidFill>
                            <a:schemeClr val="tx2"/>
                          </a:solidFill>
                          <a:effectLst/>
                          <a:latin typeface="+mn-lt"/>
                        </a:rPr>
                        <a:t>1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Becher 1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13182630"/>
                  </a:ext>
                </a:extLst>
              </a:tr>
              <a:tr h="72141">
                <a:tc>
                  <a:txBody>
                    <a:bodyPr/>
                    <a:lstStyle/>
                    <a:p>
                      <a:pPr algn="ctr" fontAlgn="b"/>
                      <a:r>
                        <a:rPr lang="en-CH" sz="400" b="0" i="0" u="none" strike="noStrike">
                          <a:solidFill>
                            <a:schemeClr val="tx2"/>
                          </a:solidFill>
                          <a:effectLst/>
                          <a:latin typeface="+mn-lt"/>
                        </a:rPr>
                        <a:t>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5205234"/>
                  </a:ext>
                </a:extLst>
              </a:tr>
              <a:tr h="72141">
                <a:tc>
                  <a:txBody>
                    <a:bodyPr/>
                    <a:lstStyle/>
                    <a:p>
                      <a:pPr algn="ctr" fontAlgn="b"/>
                      <a:r>
                        <a:rPr lang="en-CH" sz="400" b="0" i="0" u="none" strike="noStrike">
                          <a:solidFill>
                            <a:schemeClr val="tx2"/>
                          </a:solidFill>
                          <a:effectLst/>
                          <a:latin typeface="+mn-lt"/>
                        </a:rPr>
                        <a:t>2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04871848"/>
                  </a:ext>
                </a:extLst>
              </a:tr>
              <a:tr h="72141">
                <a:tc>
                  <a:txBody>
                    <a:bodyPr/>
                    <a:lstStyle/>
                    <a:p>
                      <a:pPr algn="ctr" fontAlgn="b"/>
                      <a:r>
                        <a:rPr lang="en-CH" sz="400" b="0" i="0" u="none" strike="noStrike">
                          <a:solidFill>
                            <a:schemeClr val="tx2"/>
                          </a:solidFill>
                          <a:effectLst/>
                          <a:latin typeface="+mn-lt"/>
                        </a:rPr>
                        <a:t>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Die Vegan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49180832"/>
                  </a:ext>
                </a:extLst>
              </a:tr>
              <a:tr h="72141">
                <a:tc>
                  <a:txBody>
                    <a:bodyPr/>
                    <a:lstStyle/>
                    <a:p>
                      <a:pPr algn="ctr" fontAlgn="b"/>
                      <a:r>
                        <a:rPr lang="en-CH" sz="400" b="0" i="0" u="none" strike="noStrike">
                          <a:solidFill>
                            <a:schemeClr val="tx2"/>
                          </a:solidFill>
                          <a:effectLst/>
                          <a:latin typeface="+mn-lt"/>
                        </a:rPr>
                        <a:t>2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17787889"/>
                  </a:ext>
                </a:extLst>
              </a:tr>
              <a:tr h="72141">
                <a:tc>
                  <a:txBody>
                    <a:bodyPr/>
                    <a:lstStyle/>
                    <a:p>
                      <a:pPr algn="ctr" fontAlgn="b"/>
                      <a:r>
                        <a:rPr lang="en-CH" sz="400" b="0" i="0" u="none" strike="noStrike">
                          <a:solidFill>
                            <a:schemeClr val="tx2"/>
                          </a:solidFill>
                          <a:effectLst/>
                          <a:latin typeface="+mn-lt"/>
                        </a:rPr>
                        <a:t>2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9181467"/>
                  </a:ext>
                </a:extLst>
              </a:tr>
              <a:tr h="72141">
                <a:tc>
                  <a:txBody>
                    <a:bodyPr/>
                    <a:lstStyle/>
                    <a:p>
                      <a:pPr algn="ctr" fontAlgn="b"/>
                      <a:r>
                        <a:rPr lang="en-CH" sz="400" b="0" i="0" u="none" strike="noStrike">
                          <a:solidFill>
                            <a:schemeClr val="tx2"/>
                          </a:solidFill>
                          <a:effectLst/>
                          <a:latin typeface="+mn-lt"/>
                        </a:rPr>
                        <a:t>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esident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49409313"/>
                  </a:ext>
                </a:extLst>
              </a:tr>
              <a:tr h="72141">
                <a:tc>
                  <a:txBody>
                    <a:bodyPr/>
                    <a:lstStyle/>
                    <a:p>
                      <a:pPr algn="ctr" fontAlgn="b"/>
                      <a:r>
                        <a:rPr lang="en-CH" sz="400" b="0" i="0" u="none" strike="noStrike">
                          <a:solidFill>
                            <a:schemeClr val="tx2"/>
                          </a:solidFill>
                          <a:effectLst/>
                          <a:latin typeface="+mn-lt"/>
                        </a:rPr>
                        <a:t>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ndechser Natur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0138508"/>
                  </a:ext>
                </a:extLst>
              </a:tr>
              <a:tr h="72141">
                <a:tc>
                  <a:txBody>
                    <a:bodyPr/>
                    <a:lstStyle/>
                    <a:p>
                      <a:pPr algn="ctr" fontAlgn="b"/>
                      <a:r>
                        <a:rPr lang="en-CH" sz="400" b="0" i="0" u="none" strike="noStrike">
                          <a:solidFill>
                            <a:schemeClr val="tx2"/>
                          </a:solidFill>
                          <a:effectLst/>
                          <a:latin typeface="+mn-lt"/>
                        </a:rPr>
                        <a:t>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Echt Franke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62685953"/>
                  </a:ext>
                </a:extLst>
              </a:tr>
              <a:tr h="72141">
                <a:tc>
                  <a:txBody>
                    <a:bodyPr/>
                    <a:lstStyle/>
                    <a:p>
                      <a:pPr algn="ctr" fontAlgn="b"/>
                      <a:r>
                        <a:rPr lang="en-CH" sz="400" b="0" i="0" u="none" strike="noStrike">
                          <a:solidFill>
                            <a:schemeClr val="tx2"/>
                          </a:solidFill>
                          <a:effectLst/>
                          <a:latin typeface="+mn-lt"/>
                        </a:rPr>
                        <a:t>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nb-NO" sz="400" b="0" i="0" u="none" strike="noStrike">
                          <a:solidFill>
                            <a:schemeClr val="tx2"/>
                          </a:solidFill>
                          <a:effectLst/>
                          <a:latin typeface="+mn-lt"/>
                        </a:rPr>
                        <a:t>Private Label Pilz Glas 1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84834823"/>
                  </a:ext>
                </a:extLst>
              </a:tr>
              <a:tr h="72141">
                <a:tc>
                  <a:txBody>
                    <a:bodyPr/>
                    <a:lstStyle/>
                    <a:p>
                      <a:pPr algn="ctr" fontAlgn="b"/>
                      <a:r>
                        <a:rPr lang="en-CH" sz="400" b="0" i="0" u="none" strike="noStrike">
                          <a:solidFill>
                            <a:schemeClr val="tx2"/>
                          </a:solidFill>
                          <a:effectLst/>
                          <a:latin typeface="+mn-lt"/>
                        </a:rPr>
                        <a:t>2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Kerrygold Original Kraeuter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2592600"/>
                  </a:ext>
                </a:extLst>
              </a:tr>
              <a:tr h="72141">
                <a:tc>
                  <a:txBody>
                    <a:bodyPr/>
                    <a:lstStyle/>
                    <a:p>
                      <a:pPr algn="ctr" fontAlgn="b"/>
                      <a:r>
                        <a:rPr lang="en-CH" sz="400" b="0" i="0" u="none" strike="noStrike">
                          <a:solidFill>
                            <a:schemeClr val="tx2"/>
                          </a:solidFill>
                          <a:effectLst/>
                          <a:latin typeface="+mn-lt"/>
                        </a:rPr>
                        <a:t>2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Bio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4432554"/>
                  </a:ext>
                </a:extLst>
              </a:tr>
              <a:tr h="72141">
                <a:tc>
                  <a:txBody>
                    <a:bodyPr/>
                    <a:lstStyle/>
                    <a:p>
                      <a:pPr algn="ctr" fontAlgn="b"/>
                      <a:r>
                        <a:rPr lang="en-CH" sz="400" b="0" i="0" u="none" strike="noStrike">
                          <a:solidFill>
                            <a:schemeClr val="tx2"/>
                          </a:solidFill>
                          <a:effectLst/>
                          <a:latin typeface="+mn-lt"/>
                        </a:rPr>
                        <a:t>3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Hansano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5818235"/>
                  </a:ext>
                </a:extLst>
              </a:tr>
              <a:tr h="72141">
                <a:tc>
                  <a:txBody>
                    <a:bodyPr/>
                    <a:lstStyle/>
                    <a:p>
                      <a:pPr algn="ctr" fontAlgn="b"/>
                      <a:r>
                        <a:rPr lang="en-CH" sz="400" b="0" i="0" u="none" strike="noStrike">
                          <a:solidFill>
                            <a:schemeClr val="tx2"/>
                          </a:solidFill>
                          <a:effectLst/>
                          <a:latin typeface="+mn-lt"/>
                        </a:rPr>
                        <a:t>3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Meggle Knoblauch / Zwiebel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14338691"/>
                  </a:ext>
                </a:extLst>
              </a:tr>
              <a:tr h="72141">
                <a:tc>
                  <a:txBody>
                    <a:bodyPr/>
                    <a:lstStyle/>
                    <a:p>
                      <a:pPr algn="ctr" fontAlgn="b"/>
                      <a:r>
                        <a:rPr lang="en-CH" sz="400" b="0" i="0" u="none" strike="noStrike">
                          <a:solidFill>
                            <a:schemeClr val="tx2"/>
                          </a:solidFill>
                          <a:effectLst/>
                          <a:latin typeface="+mn-lt"/>
                        </a:rPr>
                        <a:t>3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9559883"/>
                  </a:ext>
                </a:extLst>
              </a:tr>
              <a:tr h="72141">
                <a:tc>
                  <a:txBody>
                    <a:bodyPr/>
                    <a:lstStyle/>
                    <a:p>
                      <a:pPr algn="ctr" fontAlgn="b"/>
                      <a:r>
                        <a:rPr lang="en-CH" sz="400" b="0" i="0" u="none" strike="noStrike">
                          <a:solidFill>
                            <a:schemeClr val="tx2"/>
                          </a:solidFill>
                          <a:effectLst/>
                          <a:latin typeface="+mn-lt"/>
                        </a:rPr>
                        <a:t>3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6527690"/>
                  </a:ext>
                </a:extLst>
              </a:tr>
              <a:tr h="72141">
                <a:tc>
                  <a:txBody>
                    <a:bodyPr/>
                    <a:lstStyle/>
                    <a:p>
                      <a:pPr algn="ctr" fontAlgn="b"/>
                      <a:r>
                        <a:rPr lang="en-CH" sz="400" b="0" i="0" u="none" strike="noStrike">
                          <a:solidFill>
                            <a:schemeClr val="tx2"/>
                          </a:solidFill>
                          <a:effectLst/>
                          <a:latin typeface="+mn-lt"/>
                        </a:rPr>
                        <a:t>3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3181845"/>
                  </a:ext>
                </a:extLst>
              </a:tr>
              <a:tr h="72141">
                <a:tc>
                  <a:txBody>
                    <a:bodyPr/>
                    <a:lstStyle/>
                    <a:p>
                      <a:pPr algn="ctr" fontAlgn="b"/>
                      <a:r>
                        <a:rPr lang="en-CH" sz="400" b="0" i="0" u="none" strike="noStrike">
                          <a:solidFill>
                            <a:schemeClr val="tx2"/>
                          </a:solidFill>
                          <a:effectLst/>
                          <a:latin typeface="+mn-lt"/>
                        </a:rPr>
                        <a:t>3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72141">
                <a:tc>
                  <a:txBody>
                    <a:bodyPr/>
                    <a:lstStyle/>
                    <a:p>
                      <a:pPr algn="ctr" fontAlgn="b"/>
                      <a:r>
                        <a:rPr lang="en-CH" sz="400" b="0" i="0" u="none" strike="noStrike">
                          <a:solidFill>
                            <a:schemeClr val="tx2"/>
                          </a:solidFill>
                          <a:effectLst/>
                          <a:latin typeface="+mn-lt"/>
                        </a:rPr>
                        <a:t>3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ogtlandweide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72141">
                <a:tc>
                  <a:txBody>
                    <a:bodyPr/>
                    <a:lstStyle/>
                    <a:p>
                      <a:pPr algn="ctr" fontAlgn="b"/>
                      <a:r>
                        <a:rPr lang="en-CH" sz="400" b="0" i="0" u="none" strike="noStrike">
                          <a:solidFill>
                            <a:schemeClr val="tx2"/>
                          </a:solidFill>
                          <a:effectLst/>
                          <a:latin typeface="+mn-lt"/>
                        </a:rPr>
                        <a:t>3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oldsteig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72141">
                <a:tc>
                  <a:txBody>
                    <a:bodyPr/>
                    <a:lstStyle/>
                    <a:p>
                      <a:pPr algn="ctr" fontAlgn="b"/>
                      <a:r>
                        <a:rPr lang="en-CH" sz="400" b="0" i="0" u="none" strike="noStrike">
                          <a:solidFill>
                            <a:schemeClr val="tx2"/>
                          </a:solidFill>
                          <a:effectLst/>
                          <a:latin typeface="+mn-lt"/>
                        </a:rPr>
                        <a:t>3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achsen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72141">
                <a:tc>
                  <a:txBody>
                    <a:bodyPr/>
                    <a:lstStyle/>
                    <a:p>
                      <a:pPr algn="ctr" fontAlgn="b"/>
                      <a:r>
                        <a:rPr lang="en-CH" sz="400" b="0" i="0" u="none" strike="noStrike">
                          <a:solidFill>
                            <a:schemeClr val="tx2"/>
                          </a:solidFill>
                          <a:effectLst/>
                          <a:latin typeface="+mn-lt"/>
                        </a:rPr>
                        <a:t>3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72141">
                <a:tc>
                  <a:txBody>
                    <a:bodyPr/>
                    <a:lstStyle/>
                    <a:p>
                      <a:pPr algn="ctr" fontAlgn="b"/>
                      <a:r>
                        <a:rPr lang="en-CH" sz="400" b="0" i="0" u="none" strike="noStrike">
                          <a:solidFill>
                            <a:schemeClr val="tx2"/>
                          </a:solidFill>
                          <a:effectLst/>
                          <a:latin typeface="+mn-lt"/>
                        </a:rPr>
                        <a:t>4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en-US" sz="400" b="0" i="0" u="none" strike="noStrike">
                          <a:solidFill>
                            <a:schemeClr val="tx2"/>
                          </a:solidFill>
                          <a:effectLst/>
                          <a:latin typeface="+mn-lt"/>
                        </a:rPr>
                        <a:t>Kerrygold Becher 1 Ct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72141">
                <a:tc>
                  <a:txBody>
                    <a:bodyPr/>
                    <a:lstStyle/>
                    <a:p>
                      <a:pPr algn="ctr" fontAlgn="b"/>
                      <a:r>
                        <a:rPr lang="en-CH" sz="400" b="0" i="0" u="none" strike="noStrike">
                          <a:solidFill>
                            <a:schemeClr val="tx2"/>
                          </a:solidFill>
                          <a:effectLst/>
                          <a:latin typeface="+mn-lt"/>
                        </a:rPr>
                        <a:t>4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72141">
                <a:tc>
                  <a:txBody>
                    <a:bodyPr/>
                    <a:lstStyle/>
                    <a:p>
                      <a:pPr algn="ctr" fontAlgn="b"/>
                      <a:r>
                        <a:rPr lang="en-CH" sz="400" b="0" i="0" u="none" strike="noStrike">
                          <a:solidFill>
                            <a:schemeClr val="tx2"/>
                          </a:solidFill>
                          <a:effectLst/>
                          <a:latin typeface="+mn-lt"/>
                        </a:rPr>
                        <a:t>4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Uplaender Bio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72141">
                <a:tc>
                  <a:txBody>
                    <a:bodyPr/>
                    <a:lstStyle/>
                    <a:p>
                      <a:pPr algn="ctr" fontAlgn="b"/>
                      <a:r>
                        <a:rPr lang="en-CH" sz="400" b="0" i="0" u="none" strike="noStrike">
                          <a:solidFill>
                            <a:schemeClr val="tx2"/>
                          </a:solidFill>
                          <a:effectLst/>
                          <a:latin typeface="+mn-lt"/>
                        </a:rPr>
                        <a:t>4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Grill / Fleisch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72141">
                <a:tc>
                  <a:txBody>
                    <a:bodyPr/>
                    <a:lstStyle/>
                    <a:p>
                      <a:pPr algn="ctr" fontAlgn="b"/>
                      <a:r>
                        <a:rPr lang="en-CH" sz="400" b="0" i="0" u="none" strike="noStrike">
                          <a:solidFill>
                            <a:schemeClr val="tx2"/>
                          </a:solidFill>
                          <a:effectLst/>
                          <a:latin typeface="+mn-lt"/>
                        </a:rPr>
                        <a:t>4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Dairygold Original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72141">
                <a:tc>
                  <a:txBody>
                    <a:bodyPr/>
                    <a:lstStyle/>
                    <a:p>
                      <a:pPr algn="ctr" fontAlgn="b"/>
                      <a:r>
                        <a:rPr lang="en-CH" sz="400" b="0" i="0" u="none" strike="noStrike">
                          <a:solidFill>
                            <a:schemeClr val="tx2"/>
                          </a:solidFill>
                          <a:effectLst/>
                          <a:latin typeface="+mn-lt"/>
                        </a:rPr>
                        <a:t>4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72141">
                <a:tc>
                  <a:txBody>
                    <a:bodyPr/>
                    <a:lstStyle/>
                    <a:p>
                      <a:pPr algn="ctr" fontAlgn="b"/>
                      <a:r>
                        <a:rPr lang="en-CH" sz="400" b="0" i="0" u="none" strike="noStrike">
                          <a:solidFill>
                            <a:schemeClr val="tx2"/>
                          </a:solidFill>
                          <a:effectLst/>
                          <a:latin typeface="+mn-lt"/>
                        </a:rPr>
                        <a:t>4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uessrahmbut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
                <a:tc>
                  <a:txBody>
                    <a:bodyPr/>
                    <a:lstStyle/>
                    <a:p>
                      <a:pPr algn="ctr" fontAlgn="b"/>
                      <a:r>
                        <a:rPr lang="en-CH" sz="400" b="0" i="0" u="none" strike="noStrike">
                          <a:solidFill>
                            <a:schemeClr val="tx2"/>
                          </a:solidFill>
                          <a:effectLst/>
                          <a:latin typeface="+mn-lt"/>
                        </a:rPr>
                        <a:t>4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Suessrahmbutter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
                <a:tc>
                  <a:txBody>
                    <a:bodyPr/>
                    <a:lstStyle/>
                    <a:p>
                      <a:pPr algn="ctr" fontAlgn="b"/>
                      <a:r>
                        <a:rPr lang="en-CH" sz="400" b="0" i="0" u="none" strike="noStrike">
                          <a:solidFill>
                            <a:schemeClr val="tx2"/>
                          </a:solidFill>
                          <a:effectLst/>
                          <a:latin typeface="+mn-lt"/>
                        </a:rPr>
                        <a:t>4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Mediterran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
                <a:tc>
                  <a:txBody>
                    <a:bodyPr/>
                    <a:lstStyle/>
                    <a:p>
                      <a:pPr algn="ctr" fontAlgn="b"/>
                      <a:r>
                        <a:rPr lang="en-CH" sz="400" b="0" i="0" u="none" strike="noStrike">
                          <a:solidFill>
                            <a:schemeClr val="tx2"/>
                          </a:solidFill>
                          <a:effectLst/>
                          <a:latin typeface="+mn-lt"/>
                        </a:rPr>
                        <a:t>4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Frankenland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
                <a:tc>
                  <a:txBody>
                    <a:bodyPr/>
                    <a:lstStyle/>
                    <a:p>
                      <a:pPr algn="ctr" fontAlgn="b"/>
                      <a:r>
                        <a:rPr lang="en-CH" sz="400" b="0" i="0" u="none" strike="noStrike">
                          <a:solidFill>
                            <a:schemeClr val="tx2"/>
                          </a:solidFill>
                          <a:effectLst/>
                          <a:latin typeface="+mn-lt"/>
                        </a:rPr>
                        <a:t>5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dirty="0" err="1">
                          <a:solidFill>
                            <a:schemeClr val="tx2"/>
                          </a:solidFill>
                          <a:effectLst/>
                          <a:latin typeface="+mn-lt"/>
                        </a:rPr>
                        <a:t>Meggle</a:t>
                      </a:r>
                      <a:r>
                        <a:rPr lang="fr-CH" sz="400" b="0" i="0" u="none" strike="noStrike" dirty="0">
                          <a:solidFill>
                            <a:schemeClr val="tx2"/>
                          </a:solidFill>
                          <a:effectLst/>
                          <a:latin typeface="+mn-lt"/>
                        </a:rPr>
                        <a:t> </a:t>
                      </a:r>
                      <a:r>
                        <a:rPr lang="fr-CH" sz="400" b="0" i="0" u="none" strike="noStrike" dirty="0" err="1">
                          <a:solidFill>
                            <a:schemeClr val="tx2"/>
                          </a:solidFill>
                          <a:effectLst/>
                          <a:latin typeface="+mn-lt"/>
                        </a:rPr>
                        <a:t>Vegane</a:t>
                      </a:r>
                      <a:r>
                        <a:rPr lang="fr-CH" sz="400" b="0" i="0" u="none" strike="noStrike" dirty="0">
                          <a:solidFill>
                            <a:schemeClr val="tx2"/>
                          </a:solidFill>
                          <a:effectLst/>
                          <a:latin typeface="+mn-lt"/>
                        </a:rPr>
                        <a:t> Grill / </a:t>
                      </a:r>
                      <a:r>
                        <a:rPr lang="fr-CH" sz="400" b="0" i="0" u="none" strike="noStrike" dirty="0" err="1">
                          <a:solidFill>
                            <a:schemeClr val="tx2"/>
                          </a:solidFill>
                          <a:effectLst/>
                          <a:latin typeface="+mn-lt"/>
                        </a:rPr>
                        <a:t>Fleisch</a:t>
                      </a:r>
                      <a:r>
                        <a:rPr lang="fr-CH" sz="400" b="0" i="0" u="none" strike="noStrike" dirty="0">
                          <a:solidFill>
                            <a:schemeClr val="tx2"/>
                          </a:solidFill>
                          <a:effectLst/>
                          <a:latin typeface="+mn-lt"/>
                        </a:rPr>
                        <a:t> Tube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16330697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0/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dirty="0"/>
              <a:t>DATA SOURCE: Trade Panel/Retailer Data | Ending Dec 2022</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Value Uplift vs Promo Efficiency | By Product | Category/Sector | Retailer | P12M</a:t>
            </a:r>
          </a:p>
          <a:p>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
                <a:tc>
                  <a:txBody>
                    <a:bodyPr/>
                    <a:lstStyle/>
                    <a:p>
                      <a:pPr algn="ctr" fontAlgn="b"/>
                      <a:r>
                        <a:rPr lang="en-CH" sz="400" b="0" i="0" u="none" strike="noStrike">
                          <a:solidFill>
                            <a:schemeClr val="tx2"/>
                          </a:solidFill>
                          <a:effectLst/>
                          <a:latin typeface="+mn-lt"/>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68475315"/>
                  </a:ext>
                </a:extLst>
              </a:tr>
              <a:tr h="72141">
                <a:tc>
                  <a:txBody>
                    <a:bodyPr/>
                    <a:lstStyle/>
                    <a:p>
                      <a:pPr algn="ctr" fontAlgn="b"/>
                      <a:r>
                        <a:rPr lang="en-CH" sz="400" b="0" i="0" u="none" strike="noStrike">
                          <a:solidFill>
                            <a:schemeClr val="tx2"/>
                          </a:solidFill>
                          <a:effectLst/>
                          <a:latin typeface="+mn-lt"/>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74345675"/>
                  </a:ext>
                </a:extLst>
              </a:tr>
              <a:tr h="72141">
                <a:tc>
                  <a:txBody>
                    <a:bodyPr/>
                    <a:lstStyle/>
                    <a:p>
                      <a:pPr algn="ctr" fontAlgn="b"/>
                      <a:r>
                        <a:rPr lang="en-CH" sz="400" b="0" i="0" u="none" strike="noStrike">
                          <a:solidFill>
                            <a:schemeClr val="tx2"/>
                          </a:solidFill>
                          <a:effectLst/>
                          <a:latin typeface="+mn-lt"/>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1017686"/>
                  </a:ext>
                </a:extLst>
              </a:tr>
              <a:tr h="72141">
                <a:tc>
                  <a:txBody>
                    <a:bodyPr/>
                    <a:lstStyle/>
                    <a:p>
                      <a:pPr algn="ctr" fontAlgn="b"/>
                      <a:r>
                        <a:rPr lang="en-CH" sz="400" b="0" i="0" u="none" strike="noStrike">
                          <a:solidFill>
                            <a:schemeClr val="tx2"/>
                          </a:solidFill>
                          <a:effectLst/>
                          <a:latin typeface="+mn-lt"/>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Weihenstepha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53934404"/>
                  </a:ext>
                </a:extLst>
              </a:tr>
              <a:tr h="72141">
                <a:tc>
                  <a:txBody>
                    <a:bodyPr/>
                    <a:lstStyle/>
                    <a:p>
                      <a:pPr algn="ctr" fontAlgn="b"/>
                      <a:r>
                        <a:rPr lang="en-CH" sz="400" b="0" i="0" u="none" strike="noStrike">
                          <a:solidFill>
                            <a:schemeClr val="tx2"/>
                          </a:solidFill>
                          <a:effectLst/>
                          <a:latin typeface="+mn-lt"/>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83251638"/>
                  </a:ext>
                </a:extLst>
              </a:tr>
              <a:tr h="72141">
                <a:tc>
                  <a:txBody>
                    <a:bodyPr/>
                    <a:lstStyle/>
                    <a:p>
                      <a:pPr algn="ctr" fontAlgn="b"/>
                      <a:r>
                        <a:rPr lang="en-CH" sz="400" b="0" i="0" u="none" strike="noStrike">
                          <a:solidFill>
                            <a:schemeClr val="tx2"/>
                          </a:solidFill>
                          <a:effectLst/>
                          <a:latin typeface="+mn-lt"/>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Frau Antj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61931653"/>
                  </a:ext>
                </a:extLst>
              </a:tr>
              <a:tr h="72141">
                <a:tc>
                  <a:txBody>
                    <a:bodyPr/>
                    <a:lstStyle/>
                    <a:p>
                      <a:pPr algn="ctr" fontAlgn="b"/>
                      <a:r>
                        <a:rPr lang="en-CH" sz="400" b="0" i="0" u="none" strike="noStrike">
                          <a:solidFill>
                            <a:schemeClr val="tx2"/>
                          </a:solidFill>
                          <a:effectLst/>
                          <a:latin typeface="+mn-lt"/>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Becher 2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29411828"/>
                  </a:ext>
                </a:extLst>
              </a:tr>
              <a:tr h="72141">
                <a:tc>
                  <a:txBody>
                    <a:bodyPr/>
                    <a:lstStyle/>
                    <a:p>
                      <a:pPr algn="ctr" fontAlgn="b"/>
                      <a:r>
                        <a:rPr lang="en-CH" sz="400" b="0" i="0" u="none" strike="noStrike">
                          <a:solidFill>
                            <a:schemeClr val="tx2"/>
                          </a:solidFill>
                          <a:effectLst/>
                          <a:latin typeface="+mn-lt"/>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9762943"/>
                  </a:ext>
                </a:extLst>
              </a:tr>
              <a:tr h="72141">
                <a:tc>
                  <a:txBody>
                    <a:bodyPr/>
                    <a:lstStyle/>
                    <a:p>
                      <a:pPr algn="ctr" fontAlgn="b"/>
                      <a:r>
                        <a:rPr lang="en-CH" sz="400" b="0" i="0" u="none" strike="noStrike">
                          <a:solidFill>
                            <a:schemeClr val="tx2"/>
                          </a:solidFill>
                          <a:effectLst/>
                          <a:latin typeface="+mn-lt"/>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Bech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63467390"/>
                  </a:ext>
                </a:extLst>
              </a:tr>
              <a:tr h="72141">
                <a:tc>
                  <a:txBody>
                    <a:bodyPr/>
                    <a:lstStyle/>
                    <a:p>
                      <a:pPr algn="ctr" fontAlgn="b"/>
                      <a:r>
                        <a:rPr lang="en-CH" sz="400" b="0" i="0" u="none" strike="noStrike">
                          <a:solidFill>
                            <a:schemeClr val="tx2"/>
                          </a:solidFill>
                          <a:effectLst/>
                          <a:latin typeface="+mn-lt"/>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8294199"/>
                  </a:ext>
                </a:extLst>
              </a:tr>
              <a:tr h="72141">
                <a:tc>
                  <a:txBody>
                    <a:bodyPr/>
                    <a:lstStyle/>
                    <a:p>
                      <a:pPr algn="ctr" fontAlgn="b"/>
                      <a:r>
                        <a:rPr lang="en-CH" sz="400" b="0" i="0" u="none" strike="noStrike">
                          <a:solidFill>
                            <a:schemeClr val="tx2"/>
                          </a:solidFill>
                          <a:effectLst/>
                          <a:latin typeface="+mn-lt"/>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12783936"/>
                  </a:ext>
                </a:extLst>
              </a:tr>
              <a:tr h="72141">
                <a:tc>
                  <a:txBody>
                    <a:bodyPr/>
                    <a:lstStyle/>
                    <a:p>
                      <a:pPr algn="ctr" fontAlgn="b"/>
                      <a:r>
                        <a:rPr lang="en-CH" sz="400" b="0" i="0" u="none" strike="noStrike">
                          <a:solidFill>
                            <a:schemeClr val="tx2"/>
                          </a:solidFill>
                          <a:effectLst/>
                          <a:latin typeface="+mn-lt"/>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alte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7362147"/>
                  </a:ext>
                </a:extLst>
              </a:tr>
              <a:tr h="72141">
                <a:tc>
                  <a:txBody>
                    <a:bodyPr/>
                    <a:lstStyle/>
                    <a:p>
                      <a:pPr algn="ctr" fontAlgn="b"/>
                      <a:r>
                        <a:rPr lang="en-CH" sz="400" b="0" i="0" u="none" strike="noStrike">
                          <a:solidFill>
                            <a:schemeClr val="tx2"/>
                          </a:solidFill>
                          <a:effectLst/>
                          <a:latin typeface="+mn-lt"/>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91460699"/>
                  </a:ext>
                </a:extLst>
              </a:tr>
              <a:tr h="72141">
                <a:tc>
                  <a:txBody>
                    <a:bodyPr/>
                    <a:lstStyle/>
                    <a:p>
                      <a:pPr algn="ctr" fontAlgn="b"/>
                      <a:r>
                        <a:rPr lang="en-CH" sz="400" b="0" i="0" u="none" strike="noStrike">
                          <a:solidFill>
                            <a:schemeClr val="tx2"/>
                          </a:solidFill>
                          <a:effectLst/>
                          <a:latin typeface="+mn-lt"/>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iolife Vioblock Vegan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40093880"/>
                  </a:ext>
                </a:extLst>
              </a:tr>
              <a:tr h="72141">
                <a:tc>
                  <a:txBody>
                    <a:bodyPr/>
                    <a:lstStyle/>
                    <a:p>
                      <a:pPr algn="ctr" fontAlgn="b"/>
                      <a:r>
                        <a:rPr lang="en-CH" sz="400" b="0" i="0" u="none" strike="noStrike">
                          <a:solidFill>
                            <a:schemeClr val="tx2"/>
                          </a:solidFill>
                          <a:effectLst/>
                          <a:latin typeface="+mn-lt"/>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llgaeuer Hof 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50994264"/>
                  </a:ext>
                </a:extLst>
              </a:tr>
              <a:tr h="72141">
                <a:tc>
                  <a:txBody>
                    <a:bodyPr/>
                    <a:lstStyle/>
                    <a:p>
                      <a:pPr algn="ctr" fontAlgn="b"/>
                      <a:r>
                        <a:rPr lang="en-CH" sz="400" b="0" i="0" u="none" strike="noStrike">
                          <a:solidFill>
                            <a:schemeClr val="tx2"/>
                          </a:solidFill>
                          <a:effectLst/>
                          <a:latin typeface="+mn-lt"/>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Tube Vegan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75426428"/>
                  </a:ext>
                </a:extLst>
              </a:tr>
              <a:tr h="72141">
                <a:tc>
                  <a:txBody>
                    <a:bodyPr/>
                    <a:lstStyle/>
                    <a:p>
                      <a:pPr algn="ctr" fontAlgn="b"/>
                      <a:r>
                        <a:rPr lang="en-CH" sz="400" b="0" i="0" u="none" strike="noStrike">
                          <a:solidFill>
                            <a:schemeClr val="tx2"/>
                          </a:solidFill>
                          <a:effectLst/>
                          <a:latin typeface="+mn-lt"/>
                        </a:rPr>
                        <a:t>1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Allgaeuer Hof 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97241745"/>
                  </a:ext>
                </a:extLst>
              </a:tr>
              <a:tr h="72141">
                <a:tc>
                  <a:txBody>
                    <a:bodyPr/>
                    <a:lstStyle/>
                    <a:p>
                      <a:pPr algn="ctr" fontAlgn="b"/>
                      <a:r>
                        <a:rPr lang="en-CH" sz="400" b="0" i="0" u="none" strike="noStrike">
                          <a:solidFill>
                            <a:schemeClr val="tx2"/>
                          </a:solidFill>
                          <a:effectLst/>
                          <a:latin typeface="+mn-lt"/>
                        </a:rPr>
                        <a:t>1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Becher 1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13182630"/>
                  </a:ext>
                </a:extLst>
              </a:tr>
              <a:tr h="72141">
                <a:tc>
                  <a:txBody>
                    <a:bodyPr/>
                    <a:lstStyle/>
                    <a:p>
                      <a:pPr algn="ctr" fontAlgn="b"/>
                      <a:r>
                        <a:rPr lang="en-CH" sz="400" b="0" i="0" u="none" strike="noStrike">
                          <a:solidFill>
                            <a:schemeClr val="tx2"/>
                          </a:solidFill>
                          <a:effectLst/>
                          <a:latin typeface="+mn-lt"/>
                        </a:rPr>
                        <a:t>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5205234"/>
                  </a:ext>
                </a:extLst>
              </a:tr>
              <a:tr h="72141">
                <a:tc>
                  <a:txBody>
                    <a:bodyPr/>
                    <a:lstStyle/>
                    <a:p>
                      <a:pPr algn="ctr" fontAlgn="b"/>
                      <a:r>
                        <a:rPr lang="en-CH" sz="400" b="0" i="0" u="none" strike="noStrike">
                          <a:solidFill>
                            <a:schemeClr val="tx2"/>
                          </a:solidFill>
                          <a:effectLst/>
                          <a:latin typeface="+mn-lt"/>
                        </a:rPr>
                        <a:t>2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04871848"/>
                  </a:ext>
                </a:extLst>
              </a:tr>
              <a:tr h="72141">
                <a:tc>
                  <a:txBody>
                    <a:bodyPr/>
                    <a:lstStyle/>
                    <a:p>
                      <a:pPr algn="ctr" fontAlgn="b"/>
                      <a:r>
                        <a:rPr lang="en-CH" sz="400" b="0" i="0" u="none" strike="noStrike">
                          <a:solidFill>
                            <a:schemeClr val="tx2"/>
                          </a:solidFill>
                          <a:effectLst/>
                          <a:latin typeface="+mn-lt"/>
                        </a:rPr>
                        <a:t>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Die Vegan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49180832"/>
                  </a:ext>
                </a:extLst>
              </a:tr>
              <a:tr h="72141">
                <a:tc>
                  <a:txBody>
                    <a:bodyPr/>
                    <a:lstStyle/>
                    <a:p>
                      <a:pPr algn="ctr" fontAlgn="b"/>
                      <a:r>
                        <a:rPr lang="en-CH" sz="400" b="0" i="0" u="none" strike="noStrike">
                          <a:solidFill>
                            <a:schemeClr val="tx2"/>
                          </a:solidFill>
                          <a:effectLst/>
                          <a:latin typeface="+mn-lt"/>
                        </a:rPr>
                        <a:t>2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17787889"/>
                  </a:ext>
                </a:extLst>
              </a:tr>
              <a:tr h="72141">
                <a:tc>
                  <a:txBody>
                    <a:bodyPr/>
                    <a:lstStyle/>
                    <a:p>
                      <a:pPr algn="ctr" fontAlgn="b"/>
                      <a:r>
                        <a:rPr lang="en-CH" sz="400" b="0" i="0" u="none" strike="noStrike">
                          <a:solidFill>
                            <a:schemeClr val="tx2"/>
                          </a:solidFill>
                          <a:effectLst/>
                          <a:latin typeface="+mn-lt"/>
                        </a:rPr>
                        <a:t>2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9181467"/>
                  </a:ext>
                </a:extLst>
              </a:tr>
              <a:tr h="72141">
                <a:tc>
                  <a:txBody>
                    <a:bodyPr/>
                    <a:lstStyle/>
                    <a:p>
                      <a:pPr algn="ctr" fontAlgn="b"/>
                      <a:r>
                        <a:rPr lang="en-CH" sz="400" b="0" i="0" u="none" strike="noStrike">
                          <a:solidFill>
                            <a:schemeClr val="tx2"/>
                          </a:solidFill>
                          <a:effectLst/>
                          <a:latin typeface="+mn-lt"/>
                        </a:rPr>
                        <a:t>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esident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49409313"/>
                  </a:ext>
                </a:extLst>
              </a:tr>
              <a:tr h="72141">
                <a:tc>
                  <a:txBody>
                    <a:bodyPr/>
                    <a:lstStyle/>
                    <a:p>
                      <a:pPr algn="ctr" fontAlgn="b"/>
                      <a:r>
                        <a:rPr lang="en-CH" sz="400" b="0" i="0" u="none" strike="noStrike">
                          <a:solidFill>
                            <a:schemeClr val="tx2"/>
                          </a:solidFill>
                          <a:effectLst/>
                          <a:latin typeface="+mn-lt"/>
                        </a:rPr>
                        <a:t>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ndechser Natur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0138508"/>
                  </a:ext>
                </a:extLst>
              </a:tr>
              <a:tr h="72141">
                <a:tc>
                  <a:txBody>
                    <a:bodyPr/>
                    <a:lstStyle/>
                    <a:p>
                      <a:pPr algn="ctr" fontAlgn="b"/>
                      <a:r>
                        <a:rPr lang="en-CH" sz="400" b="0" i="0" u="none" strike="noStrike">
                          <a:solidFill>
                            <a:schemeClr val="tx2"/>
                          </a:solidFill>
                          <a:effectLst/>
                          <a:latin typeface="+mn-lt"/>
                        </a:rPr>
                        <a:t>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Echt Franke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62685953"/>
                  </a:ext>
                </a:extLst>
              </a:tr>
              <a:tr h="72141">
                <a:tc>
                  <a:txBody>
                    <a:bodyPr/>
                    <a:lstStyle/>
                    <a:p>
                      <a:pPr algn="ctr" fontAlgn="b"/>
                      <a:r>
                        <a:rPr lang="en-CH" sz="400" b="0" i="0" u="none" strike="noStrike">
                          <a:solidFill>
                            <a:schemeClr val="tx2"/>
                          </a:solidFill>
                          <a:effectLst/>
                          <a:latin typeface="+mn-lt"/>
                        </a:rPr>
                        <a:t>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nb-NO" sz="400" b="0" i="0" u="none" strike="noStrike">
                          <a:solidFill>
                            <a:schemeClr val="tx2"/>
                          </a:solidFill>
                          <a:effectLst/>
                          <a:latin typeface="+mn-lt"/>
                        </a:rPr>
                        <a:t>Private Label Pilz Glas 1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84834823"/>
                  </a:ext>
                </a:extLst>
              </a:tr>
              <a:tr h="72141">
                <a:tc>
                  <a:txBody>
                    <a:bodyPr/>
                    <a:lstStyle/>
                    <a:p>
                      <a:pPr algn="ctr" fontAlgn="b"/>
                      <a:r>
                        <a:rPr lang="en-CH" sz="400" b="0" i="0" u="none" strike="noStrike">
                          <a:solidFill>
                            <a:schemeClr val="tx2"/>
                          </a:solidFill>
                          <a:effectLst/>
                          <a:latin typeface="+mn-lt"/>
                        </a:rPr>
                        <a:t>2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Kerrygold Original Kraeuter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2592600"/>
                  </a:ext>
                </a:extLst>
              </a:tr>
              <a:tr h="72141">
                <a:tc>
                  <a:txBody>
                    <a:bodyPr/>
                    <a:lstStyle/>
                    <a:p>
                      <a:pPr algn="ctr" fontAlgn="b"/>
                      <a:r>
                        <a:rPr lang="en-CH" sz="400" b="0" i="0" u="none" strike="noStrike">
                          <a:solidFill>
                            <a:schemeClr val="tx2"/>
                          </a:solidFill>
                          <a:effectLst/>
                          <a:latin typeface="+mn-lt"/>
                        </a:rPr>
                        <a:t>2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Bio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4432554"/>
                  </a:ext>
                </a:extLst>
              </a:tr>
              <a:tr h="72141">
                <a:tc>
                  <a:txBody>
                    <a:bodyPr/>
                    <a:lstStyle/>
                    <a:p>
                      <a:pPr algn="ctr" fontAlgn="b"/>
                      <a:r>
                        <a:rPr lang="en-CH" sz="400" b="0" i="0" u="none" strike="noStrike">
                          <a:solidFill>
                            <a:schemeClr val="tx2"/>
                          </a:solidFill>
                          <a:effectLst/>
                          <a:latin typeface="+mn-lt"/>
                        </a:rPr>
                        <a:t>3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Hansano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5818235"/>
                  </a:ext>
                </a:extLst>
              </a:tr>
              <a:tr h="72141">
                <a:tc>
                  <a:txBody>
                    <a:bodyPr/>
                    <a:lstStyle/>
                    <a:p>
                      <a:pPr algn="ctr" fontAlgn="b"/>
                      <a:r>
                        <a:rPr lang="en-CH" sz="400" b="0" i="0" u="none" strike="noStrike">
                          <a:solidFill>
                            <a:schemeClr val="tx2"/>
                          </a:solidFill>
                          <a:effectLst/>
                          <a:latin typeface="+mn-lt"/>
                        </a:rPr>
                        <a:t>3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Meggle Knoblauch / Zwiebel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14338691"/>
                  </a:ext>
                </a:extLst>
              </a:tr>
              <a:tr h="72141">
                <a:tc>
                  <a:txBody>
                    <a:bodyPr/>
                    <a:lstStyle/>
                    <a:p>
                      <a:pPr algn="ctr" fontAlgn="b"/>
                      <a:r>
                        <a:rPr lang="en-CH" sz="400" b="0" i="0" u="none" strike="noStrike">
                          <a:solidFill>
                            <a:schemeClr val="tx2"/>
                          </a:solidFill>
                          <a:effectLst/>
                          <a:latin typeface="+mn-lt"/>
                        </a:rPr>
                        <a:t>3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9559883"/>
                  </a:ext>
                </a:extLst>
              </a:tr>
              <a:tr h="72141">
                <a:tc>
                  <a:txBody>
                    <a:bodyPr/>
                    <a:lstStyle/>
                    <a:p>
                      <a:pPr algn="ctr" fontAlgn="b"/>
                      <a:r>
                        <a:rPr lang="en-CH" sz="400" b="0" i="0" u="none" strike="noStrike">
                          <a:solidFill>
                            <a:schemeClr val="tx2"/>
                          </a:solidFill>
                          <a:effectLst/>
                          <a:latin typeface="+mn-lt"/>
                        </a:rPr>
                        <a:t>3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6527690"/>
                  </a:ext>
                </a:extLst>
              </a:tr>
              <a:tr h="72141">
                <a:tc>
                  <a:txBody>
                    <a:bodyPr/>
                    <a:lstStyle/>
                    <a:p>
                      <a:pPr algn="ctr" fontAlgn="b"/>
                      <a:r>
                        <a:rPr lang="en-CH" sz="400" b="0" i="0" u="none" strike="noStrike">
                          <a:solidFill>
                            <a:schemeClr val="tx2"/>
                          </a:solidFill>
                          <a:effectLst/>
                          <a:latin typeface="+mn-lt"/>
                        </a:rPr>
                        <a:t>3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3181845"/>
                  </a:ext>
                </a:extLst>
              </a:tr>
              <a:tr h="72141">
                <a:tc>
                  <a:txBody>
                    <a:bodyPr/>
                    <a:lstStyle/>
                    <a:p>
                      <a:pPr algn="ctr" fontAlgn="b"/>
                      <a:r>
                        <a:rPr lang="en-CH" sz="400" b="0" i="0" u="none" strike="noStrike">
                          <a:solidFill>
                            <a:schemeClr val="tx2"/>
                          </a:solidFill>
                          <a:effectLst/>
                          <a:latin typeface="+mn-lt"/>
                        </a:rPr>
                        <a:t>3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72141">
                <a:tc>
                  <a:txBody>
                    <a:bodyPr/>
                    <a:lstStyle/>
                    <a:p>
                      <a:pPr algn="ctr" fontAlgn="b"/>
                      <a:r>
                        <a:rPr lang="en-CH" sz="400" b="0" i="0" u="none" strike="noStrike">
                          <a:solidFill>
                            <a:schemeClr val="tx2"/>
                          </a:solidFill>
                          <a:effectLst/>
                          <a:latin typeface="+mn-lt"/>
                        </a:rPr>
                        <a:t>3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ogtlandweide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72141">
                <a:tc>
                  <a:txBody>
                    <a:bodyPr/>
                    <a:lstStyle/>
                    <a:p>
                      <a:pPr algn="ctr" fontAlgn="b"/>
                      <a:r>
                        <a:rPr lang="en-CH" sz="400" b="0" i="0" u="none" strike="noStrike">
                          <a:solidFill>
                            <a:schemeClr val="tx2"/>
                          </a:solidFill>
                          <a:effectLst/>
                          <a:latin typeface="+mn-lt"/>
                        </a:rPr>
                        <a:t>3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oldsteig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72141">
                <a:tc>
                  <a:txBody>
                    <a:bodyPr/>
                    <a:lstStyle/>
                    <a:p>
                      <a:pPr algn="ctr" fontAlgn="b"/>
                      <a:r>
                        <a:rPr lang="en-CH" sz="400" b="0" i="0" u="none" strike="noStrike">
                          <a:solidFill>
                            <a:schemeClr val="tx2"/>
                          </a:solidFill>
                          <a:effectLst/>
                          <a:latin typeface="+mn-lt"/>
                        </a:rPr>
                        <a:t>3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achsen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72141">
                <a:tc>
                  <a:txBody>
                    <a:bodyPr/>
                    <a:lstStyle/>
                    <a:p>
                      <a:pPr algn="ctr" fontAlgn="b"/>
                      <a:r>
                        <a:rPr lang="en-CH" sz="400" b="0" i="0" u="none" strike="noStrike">
                          <a:solidFill>
                            <a:schemeClr val="tx2"/>
                          </a:solidFill>
                          <a:effectLst/>
                          <a:latin typeface="+mn-lt"/>
                        </a:rPr>
                        <a:t>3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72141">
                <a:tc>
                  <a:txBody>
                    <a:bodyPr/>
                    <a:lstStyle/>
                    <a:p>
                      <a:pPr algn="ctr" fontAlgn="b"/>
                      <a:r>
                        <a:rPr lang="en-CH" sz="400" b="0" i="0" u="none" strike="noStrike">
                          <a:solidFill>
                            <a:schemeClr val="tx2"/>
                          </a:solidFill>
                          <a:effectLst/>
                          <a:latin typeface="+mn-lt"/>
                        </a:rPr>
                        <a:t>4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en-US" sz="400" b="0" i="0" u="none" strike="noStrike">
                          <a:solidFill>
                            <a:schemeClr val="tx2"/>
                          </a:solidFill>
                          <a:effectLst/>
                          <a:latin typeface="+mn-lt"/>
                        </a:rPr>
                        <a:t>Kerrygold Becher 1 Ct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72141">
                <a:tc>
                  <a:txBody>
                    <a:bodyPr/>
                    <a:lstStyle/>
                    <a:p>
                      <a:pPr algn="ctr" fontAlgn="b"/>
                      <a:r>
                        <a:rPr lang="en-CH" sz="400" b="0" i="0" u="none" strike="noStrike">
                          <a:solidFill>
                            <a:schemeClr val="tx2"/>
                          </a:solidFill>
                          <a:effectLst/>
                          <a:latin typeface="+mn-lt"/>
                        </a:rPr>
                        <a:t>4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72141">
                <a:tc>
                  <a:txBody>
                    <a:bodyPr/>
                    <a:lstStyle/>
                    <a:p>
                      <a:pPr algn="ctr" fontAlgn="b"/>
                      <a:r>
                        <a:rPr lang="en-CH" sz="400" b="0" i="0" u="none" strike="noStrike">
                          <a:solidFill>
                            <a:schemeClr val="tx2"/>
                          </a:solidFill>
                          <a:effectLst/>
                          <a:latin typeface="+mn-lt"/>
                        </a:rPr>
                        <a:t>4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Uplaender Bio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72141">
                <a:tc>
                  <a:txBody>
                    <a:bodyPr/>
                    <a:lstStyle/>
                    <a:p>
                      <a:pPr algn="ctr" fontAlgn="b"/>
                      <a:r>
                        <a:rPr lang="en-CH" sz="400" b="0" i="0" u="none" strike="noStrike">
                          <a:solidFill>
                            <a:schemeClr val="tx2"/>
                          </a:solidFill>
                          <a:effectLst/>
                          <a:latin typeface="+mn-lt"/>
                        </a:rPr>
                        <a:t>4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Grill / Fleisch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72141">
                <a:tc>
                  <a:txBody>
                    <a:bodyPr/>
                    <a:lstStyle/>
                    <a:p>
                      <a:pPr algn="ctr" fontAlgn="b"/>
                      <a:r>
                        <a:rPr lang="en-CH" sz="400" b="0" i="0" u="none" strike="noStrike">
                          <a:solidFill>
                            <a:schemeClr val="tx2"/>
                          </a:solidFill>
                          <a:effectLst/>
                          <a:latin typeface="+mn-lt"/>
                        </a:rPr>
                        <a:t>4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Dairygold Original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72141">
                <a:tc>
                  <a:txBody>
                    <a:bodyPr/>
                    <a:lstStyle/>
                    <a:p>
                      <a:pPr algn="ctr" fontAlgn="b"/>
                      <a:r>
                        <a:rPr lang="en-CH" sz="400" b="0" i="0" u="none" strike="noStrike">
                          <a:solidFill>
                            <a:schemeClr val="tx2"/>
                          </a:solidFill>
                          <a:effectLst/>
                          <a:latin typeface="+mn-lt"/>
                        </a:rPr>
                        <a:t>4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72141">
                <a:tc>
                  <a:txBody>
                    <a:bodyPr/>
                    <a:lstStyle/>
                    <a:p>
                      <a:pPr algn="ctr" fontAlgn="b"/>
                      <a:r>
                        <a:rPr lang="en-CH" sz="400" b="0" i="0" u="none" strike="noStrike">
                          <a:solidFill>
                            <a:schemeClr val="tx2"/>
                          </a:solidFill>
                          <a:effectLst/>
                          <a:latin typeface="+mn-lt"/>
                        </a:rPr>
                        <a:t>4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uessrahmbut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
                <a:tc>
                  <a:txBody>
                    <a:bodyPr/>
                    <a:lstStyle/>
                    <a:p>
                      <a:pPr algn="ctr" fontAlgn="b"/>
                      <a:r>
                        <a:rPr lang="en-CH" sz="400" b="0" i="0" u="none" strike="noStrike">
                          <a:solidFill>
                            <a:schemeClr val="tx2"/>
                          </a:solidFill>
                          <a:effectLst/>
                          <a:latin typeface="+mn-lt"/>
                        </a:rPr>
                        <a:t>4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Suessrahmbutter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
                <a:tc>
                  <a:txBody>
                    <a:bodyPr/>
                    <a:lstStyle/>
                    <a:p>
                      <a:pPr algn="ctr" fontAlgn="b"/>
                      <a:r>
                        <a:rPr lang="en-CH" sz="400" b="0" i="0" u="none" strike="noStrike">
                          <a:solidFill>
                            <a:schemeClr val="tx2"/>
                          </a:solidFill>
                          <a:effectLst/>
                          <a:latin typeface="+mn-lt"/>
                        </a:rPr>
                        <a:t>4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Mediterran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
                <a:tc>
                  <a:txBody>
                    <a:bodyPr/>
                    <a:lstStyle/>
                    <a:p>
                      <a:pPr algn="ctr" fontAlgn="b"/>
                      <a:r>
                        <a:rPr lang="en-CH" sz="400" b="0" i="0" u="none" strike="noStrike">
                          <a:solidFill>
                            <a:schemeClr val="tx2"/>
                          </a:solidFill>
                          <a:effectLst/>
                          <a:latin typeface="+mn-lt"/>
                        </a:rPr>
                        <a:t>4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Frankenland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
                <a:tc>
                  <a:txBody>
                    <a:bodyPr/>
                    <a:lstStyle/>
                    <a:p>
                      <a:pPr algn="ctr" fontAlgn="b"/>
                      <a:r>
                        <a:rPr lang="en-CH" sz="400" b="0" i="0" u="none" strike="noStrike">
                          <a:solidFill>
                            <a:schemeClr val="tx2"/>
                          </a:solidFill>
                          <a:effectLst/>
                          <a:latin typeface="+mn-lt"/>
                        </a:rPr>
                        <a:t>5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dirty="0" err="1">
                          <a:solidFill>
                            <a:schemeClr val="tx2"/>
                          </a:solidFill>
                          <a:effectLst/>
                          <a:latin typeface="+mn-lt"/>
                        </a:rPr>
                        <a:t>Meggle</a:t>
                      </a:r>
                      <a:r>
                        <a:rPr lang="fr-CH" sz="400" b="0" i="0" u="none" strike="noStrike" dirty="0">
                          <a:solidFill>
                            <a:schemeClr val="tx2"/>
                          </a:solidFill>
                          <a:effectLst/>
                          <a:latin typeface="+mn-lt"/>
                        </a:rPr>
                        <a:t> </a:t>
                      </a:r>
                      <a:r>
                        <a:rPr lang="fr-CH" sz="400" b="0" i="0" u="none" strike="noStrike" dirty="0" err="1">
                          <a:solidFill>
                            <a:schemeClr val="tx2"/>
                          </a:solidFill>
                          <a:effectLst/>
                          <a:latin typeface="+mn-lt"/>
                        </a:rPr>
                        <a:t>Vegane</a:t>
                      </a:r>
                      <a:r>
                        <a:rPr lang="fr-CH" sz="400" b="0" i="0" u="none" strike="noStrike" dirty="0">
                          <a:solidFill>
                            <a:schemeClr val="tx2"/>
                          </a:solidFill>
                          <a:effectLst/>
                          <a:latin typeface="+mn-lt"/>
                        </a:rPr>
                        <a:t> Grill / </a:t>
                      </a:r>
                      <a:r>
                        <a:rPr lang="fr-CH" sz="400" b="0" i="0" u="none" strike="noStrike" dirty="0" err="1">
                          <a:solidFill>
                            <a:schemeClr val="tx2"/>
                          </a:solidFill>
                          <a:effectLst/>
                          <a:latin typeface="+mn-lt"/>
                        </a:rPr>
                        <a:t>Fleisch</a:t>
                      </a:r>
                      <a:r>
                        <a:rPr lang="fr-CH" sz="400" b="0" i="0" u="none" strike="noStrike" dirty="0">
                          <a:solidFill>
                            <a:schemeClr val="tx2"/>
                          </a:solidFill>
                          <a:effectLst/>
                          <a:latin typeface="+mn-lt"/>
                        </a:rPr>
                        <a:t> Tube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79166526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0/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dirty="0"/>
              <a:t>DATA SOURCE: Trade Panel/Retailer Data | Ending Dec 2022</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Value Uplift vs Promo Efficiency | By Product | Category/Sector | Retailer | P12M</a:t>
            </a:r>
          </a:p>
          <a:p>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
                <a:tc>
                  <a:txBody>
                    <a:bodyPr/>
                    <a:lstStyle/>
                    <a:p>
                      <a:pPr algn="ctr" fontAlgn="b"/>
                      <a:r>
                        <a:rPr lang="en-CH" sz="400" b="0" i="0" u="none" strike="noStrike">
                          <a:solidFill>
                            <a:schemeClr val="tx2"/>
                          </a:solidFill>
                          <a:effectLst/>
                          <a:latin typeface="+mn-lt"/>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68475315"/>
                  </a:ext>
                </a:extLst>
              </a:tr>
              <a:tr h="72141">
                <a:tc>
                  <a:txBody>
                    <a:bodyPr/>
                    <a:lstStyle/>
                    <a:p>
                      <a:pPr algn="ctr" fontAlgn="b"/>
                      <a:r>
                        <a:rPr lang="en-CH" sz="400" b="0" i="0" u="none" strike="noStrike">
                          <a:solidFill>
                            <a:schemeClr val="tx2"/>
                          </a:solidFill>
                          <a:effectLst/>
                          <a:latin typeface="+mn-lt"/>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74345675"/>
                  </a:ext>
                </a:extLst>
              </a:tr>
              <a:tr h="72141">
                <a:tc>
                  <a:txBody>
                    <a:bodyPr/>
                    <a:lstStyle/>
                    <a:p>
                      <a:pPr algn="ctr" fontAlgn="b"/>
                      <a:r>
                        <a:rPr lang="en-CH" sz="400" b="0" i="0" u="none" strike="noStrike">
                          <a:solidFill>
                            <a:schemeClr val="tx2"/>
                          </a:solidFill>
                          <a:effectLst/>
                          <a:latin typeface="+mn-lt"/>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1017686"/>
                  </a:ext>
                </a:extLst>
              </a:tr>
              <a:tr h="72141">
                <a:tc>
                  <a:txBody>
                    <a:bodyPr/>
                    <a:lstStyle/>
                    <a:p>
                      <a:pPr algn="ctr" fontAlgn="b"/>
                      <a:r>
                        <a:rPr lang="en-CH" sz="400" b="0" i="0" u="none" strike="noStrike">
                          <a:solidFill>
                            <a:schemeClr val="tx2"/>
                          </a:solidFill>
                          <a:effectLst/>
                          <a:latin typeface="+mn-lt"/>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Weihenstepha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53934404"/>
                  </a:ext>
                </a:extLst>
              </a:tr>
              <a:tr h="72141">
                <a:tc>
                  <a:txBody>
                    <a:bodyPr/>
                    <a:lstStyle/>
                    <a:p>
                      <a:pPr algn="ctr" fontAlgn="b"/>
                      <a:r>
                        <a:rPr lang="en-CH" sz="400" b="0" i="0" u="none" strike="noStrike">
                          <a:solidFill>
                            <a:schemeClr val="tx2"/>
                          </a:solidFill>
                          <a:effectLst/>
                          <a:latin typeface="+mn-lt"/>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83251638"/>
                  </a:ext>
                </a:extLst>
              </a:tr>
              <a:tr h="72141">
                <a:tc>
                  <a:txBody>
                    <a:bodyPr/>
                    <a:lstStyle/>
                    <a:p>
                      <a:pPr algn="ctr" fontAlgn="b"/>
                      <a:r>
                        <a:rPr lang="en-CH" sz="400" b="0" i="0" u="none" strike="noStrike">
                          <a:solidFill>
                            <a:schemeClr val="tx2"/>
                          </a:solidFill>
                          <a:effectLst/>
                          <a:latin typeface="+mn-lt"/>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Frau Antj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61931653"/>
                  </a:ext>
                </a:extLst>
              </a:tr>
              <a:tr h="72141">
                <a:tc>
                  <a:txBody>
                    <a:bodyPr/>
                    <a:lstStyle/>
                    <a:p>
                      <a:pPr algn="ctr" fontAlgn="b"/>
                      <a:r>
                        <a:rPr lang="en-CH" sz="400" b="0" i="0" u="none" strike="noStrike">
                          <a:solidFill>
                            <a:schemeClr val="tx2"/>
                          </a:solidFill>
                          <a:effectLst/>
                          <a:latin typeface="+mn-lt"/>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Becher 2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29411828"/>
                  </a:ext>
                </a:extLst>
              </a:tr>
              <a:tr h="72141">
                <a:tc>
                  <a:txBody>
                    <a:bodyPr/>
                    <a:lstStyle/>
                    <a:p>
                      <a:pPr algn="ctr" fontAlgn="b"/>
                      <a:r>
                        <a:rPr lang="en-CH" sz="400" b="0" i="0" u="none" strike="noStrike">
                          <a:solidFill>
                            <a:schemeClr val="tx2"/>
                          </a:solidFill>
                          <a:effectLst/>
                          <a:latin typeface="+mn-lt"/>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9762943"/>
                  </a:ext>
                </a:extLst>
              </a:tr>
              <a:tr h="72141">
                <a:tc>
                  <a:txBody>
                    <a:bodyPr/>
                    <a:lstStyle/>
                    <a:p>
                      <a:pPr algn="ctr" fontAlgn="b"/>
                      <a:r>
                        <a:rPr lang="en-CH" sz="400" b="0" i="0" u="none" strike="noStrike">
                          <a:solidFill>
                            <a:schemeClr val="tx2"/>
                          </a:solidFill>
                          <a:effectLst/>
                          <a:latin typeface="+mn-lt"/>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Bech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63467390"/>
                  </a:ext>
                </a:extLst>
              </a:tr>
              <a:tr h="72141">
                <a:tc>
                  <a:txBody>
                    <a:bodyPr/>
                    <a:lstStyle/>
                    <a:p>
                      <a:pPr algn="ctr" fontAlgn="b"/>
                      <a:r>
                        <a:rPr lang="en-CH" sz="400" b="0" i="0" u="none" strike="noStrike">
                          <a:solidFill>
                            <a:schemeClr val="tx2"/>
                          </a:solidFill>
                          <a:effectLst/>
                          <a:latin typeface="+mn-lt"/>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8294199"/>
                  </a:ext>
                </a:extLst>
              </a:tr>
              <a:tr h="72141">
                <a:tc>
                  <a:txBody>
                    <a:bodyPr/>
                    <a:lstStyle/>
                    <a:p>
                      <a:pPr algn="ctr" fontAlgn="b"/>
                      <a:r>
                        <a:rPr lang="en-CH" sz="400" b="0" i="0" u="none" strike="noStrike">
                          <a:solidFill>
                            <a:schemeClr val="tx2"/>
                          </a:solidFill>
                          <a:effectLst/>
                          <a:latin typeface="+mn-lt"/>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12783936"/>
                  </a:ext>
                </a:extLst>
              </a:tr>
              <a:tr h="72141">
                <a:tc>
                  <a:txBody>
                    <a:bodyPr/>
                    <a:lstStyle/>
                    <a:p>
                      <a:pPr algn="ctr" fontAlgn="b"/>
                      <a:r>
                        <a:rPr lang="en-CH" sz="400" b="0" i="0" u="none" strike="noStrike">
                          <a:solidFill>
                            <a:schemeClr val="tx2"/>
                          </a:solidFill>
                          <a:effectLst/>
                          <a:latin typeface="+mn-lt"/>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alte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7362147"/>
                  </a:ext>
                </a:extLst>
              </a:tr>
              <a:tr h="72141">
                <a:tc>
                  <a:txBody>
                    <a:bodyPr/>
                    <a:lstStyle/>
                    <a:p>
                      <a:pPr algn="ctr" fontAlgn="b"/>
                      <a:r>
                        <a:rPr lang="en-CH" sz="400" b="0" i="0" u="none" strike="noStrike">
                          <a:solidFill>
                            <a:schemeClr val="tx2"/>
                          </a:solidFill>
                          <a:effectLst/>
                          <a:latin typeface="+mn-lt"/>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91460699"/>
                  </a:ext>
                </a:extLst>
              </a:tr>
              <a:tr h="72141">
                <a:tc>
                  <a:txBody>
                    <a:bodyPr/>
                    <a:lstStyle/>
                    <a:p>
                      <a:pPr algn="ctr" fontAlgn="b"/>
                      <a:r>
                        <a:rPr lang="en-CH" sz="400" b="0" i="0" u="none" strike="noStrike">
                          <a:solidFill>
                            <a:schemeClr val="tx2"/>
                          </a:solidFill>
                          <a:effectLst/>
                          <a:latin typeface="+mn-lt"/>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iolife Vioblock Vegan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40093880"/>
                  </a:ext>
                </a:extLst>
              </a:tr>
              <a:tr h="72141">
                <a:tc>
                  <a:txBody>
                    <a:bodyPr/>
                    <a:lstStyle/>
                    <a:p>
                      <a:pPr algn="ctr" fontAlgn="b"/>
                      <a:r>
                        <a:rPr lang="en-CH" sz="400" b="0" i="0" u="none" strike="noStrike">
                          <a:solidFill>
                            <a:schemeClr val="tx2"/>
                          </a:solidFill>
                          <a:effectLst/>
                          <a:latin typeface="+mn-lt"/>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llgaeuer Hof 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50994264"/>
                  </a:ext>
                </a:extLst>
              </a:tr>
              <a:tr h="72141">
                <a:tc>
                  <a:txBody>
                    <a:bodyPr/>
                    <a:lstStyle/>
                    <a:p>
                      <a:pPr algn="ctr" fontAlgn="b"/>
                      <a:r>
                        <a:rPr lang="en-CH" sz="400" b="0" i="0" u="none" strike="noStrike">
                          <a:solidFill>
                            <a:schemeClr val="tx2"/>
                          </a:solidFill>
                          <a:effectLst/>
                          <a:latin typeface="+mn-lt"/>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Tube Vegan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75426428"/>
                  </a:ext>
                </a:extLst>
              </a:tr>
              <a:tr h="72141">
                <a:tc>
                  <a:txBody>
                    <a:bodyPr/>
                    <a:lstStyle/>
                    <a:p>
                      <a:pPr algn="ctr" fontAlgn="b"/>
                      <a:r>
                        <a:rPr lang="en-CH" sz="400" b="0" i="0" u="none" strike="noStrike">
                          <a:solidFill>
                            <a:schemeClr val="tx2"/>
                          </a:solidFill>
                          <a:effectLst/>
                          <a:latin typeface="+mn-lt"/>
                        </a:rPr>
                        <a:t>1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Allgaeuer Hof 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97241745"/>
                  </a:ext>
                </a:extLst>
              </a:tr>
              <a:tr h="72141">
                <a:tc>
                  <a:txBody>
                    <a:bodyPr/>
                    <a:lstStyle/>
                    <a:p>
                      <a:pPr algn="ctr" fontAlgn="b"/>
                      <a:r>
                        <a:rPr lang="en-CH" sz="400" b="0" i="0" u="none" strike="noStrike">
                          <a:solidFill>
                            <a:schemeClr val="tx2"/>
                          </a:solidFill>
                          <a:effectLst/>
                          <a:latin typeface="+mn-lt"/>
                        </a:rPr>
                        <a:t>1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Becher 1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13182630"/>
                  </a:ext>
                </a:extLst>
              </a:tr>
              <a:tr h="72141">
                <a:tc>
                  <a:txBody>
                    <a:bodyPr/>
                    <a:lstStyle/>
                    <a:p>
                      <a:pPr algn="ctr" fontAlgn="b"/>
                      <a:r>
                        <a:rPr lang="en-CH" sz="400" b="0" i="0" u="none" strike="noStrike">
                          <a:solidFill>
                            <a:schemeClr val="tx2"/>
                          </a:solidFill>
                          <a:effectLst/>
                          <a:latin typeface="+mn-lt"/>
                        </a:rPr>
                        <a:t>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5205234"/>
                  </a:ext>
                </a:extLst>
              </a:tr>
              <a:tr h="72141">
                <a:tc>
                  <a:txBody>
                    <a:bodyPr/>
                    <a:lstStyle/>
                    <a:p>
                      <a:pPr algn="ctr" fontAlgn="b"/>
                      <a:r>
                        <a:rPr lang="en-CH" sz="400" b="0" i="0" u="none" strike="noStrike">
                          <a:solidFill>
                            <a:schemeClr val="tx2"/>
                          </a:solidFill>
                          <a:effectLst/>
                          <a:latin typeface="+mn-lt"/>
                        </a:rPr>
                        <a:t>2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04871848"/>
                  </a:ext>
                </a:extLst>
              </a:tr>
              <a:tr h="72141">
                <a:tc>
                  <a:txBody>
                    <a:bodyPr/>
                    <a:lstStyle/>
                    <a:p>
                      <a:pPr algn="ctr" fontAlgn="b"/>
                      <a:r>
                        <a:rPr lang="en-CH" sz="400" b="0" i="0" u="none" strike="noStrike">
                          <a:solidFill>
                            <a:schemeClr val="tx2"/>
                          </a:solidFill>
                          <a:effectLst/>
                          <a:latin typeface="+mn-lt"/>
                        </a:rPr>
                        <a:t>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Die Vegan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49180832"/>
                  </a:ext>
                </a:extLst>
              </a:tr>
              <a:tr h="72141">
                <a:tc>
                  <a:txBody>
                    <a:bodyPr/>
                    <a:lstStyle/>
                    <a:p>
                      <a:pPr algn="ctr" fontAlgn="b"/>
                      <a:r>
                        <a:rPr lang="en-CH" sz="400" b="0" i="0" u="none" strike="noStrike">
                          <a:solidFill>
                            <a:schemeClr val="tx2"/>
                          </a:solidFill>
                          <a:effectLst/>
                          <a:latin typeface="+mn-lt"/>
                        </a:rPr>
                        <a:t>2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17787889"/>
                  </a:ext>
                </a:extLst>
              </a:tr>
              <a:tr h="72141">
                <a:tc>
                  <a:txBody>
                    <a:bodyPr/>
                    <a:lstStyle/>
                    <a:p>
                      <a:pPr algn="ctr" fontAlgn="b"/>
                      <a:r>
                        <a:rPr lang="en-CH" sz="400" b="0" i="0" u="none" strike="noStrike">
                          <a:solidFill>
                            <a:schemeClr val="tx2"/>
                          </a:solidFill>
                          <a:effectLst/>
                          <a:latin typeface="+mn-lt"/>
                        </a:rPr>
                        <a:t>2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9181467"/>
                  </a:ext>
                </a:extLst>
              </a:tr>
              <a:tr h="72141">
                <a:tc>
                  <a:txBody>
                    <a:bodyPr/>
                    <a:lstStyle/>
                    <a:p>
                      <a:pPr algn="ctr" fontAlgn="b"/>
                      <a:r>
                        <a:rPr lang="en-CH" sz="400" b="0" i="0" u="none" strike="noStrike">
                          <a:solidFill>
                            <a:schemeClr val="tx2"/>
                          </a:solidFill>
                          <a:effectLst/>
                          <a:latin typeface="+mn-lt"/>
                        </a:rPr>
                        <a:t>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esident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49409313"/>
                  </a:ext>
                </a:extLst>
              </a:tr>
              <a:tr h="72141">
                <a:tc>
                  <a:txBody>
                    <a:bodyPr/>
                    <a:lstStyle/>
                    <a:p>
                      <a:pPr algn="ctr" fontAlgn="b"/>
                      <a:r>
                        <a:rPr lang="en-CH" sz="400" b="0" i="0" u="none" strike="noStrike">
                          <a:solidFill>
                            <a:schemeClr val="tx2"/>
                          </a:solidFill>
                          <a:effectLst/>
                          <a:latin typeface="+mn-lt"/>
                        </a:rPr>
                        <a:t>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ndechser Natur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0138508"/>
                  </a:ext>
                </a:extLst>
              </a:tr>
              <a:tr h="72141">
                <a:tc>
                  <a:txBody>
                    <a:bodyPr/>
                    <a:lstStyle/>
                    <a:p>
                      <a:pPr algn="ctr" fontAlgn="b"/>
                      <a:r>
                        <a:rPr lang="en-CH" sz="400" b="0" i="0" u="none" strike="noStrike">
                          <a:solidFill>
                            <a:schemeClr val="tx2"/>
                          </a:solidFill>
                          <a:effectLst/>
                          <a:latin typeface="+mn-lt"/>
                        </a:rPr>
                        <a:t>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Echt Franke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62685953"/>
                  </a:ext>
                </a:extLst>
              </a:tr>
              <a:tr h="72141">
                <a:tc>
                  <a:txBody>
                    <a:bodyPr/>
                    <a:lstStyle/>
                    <a:p>
                      <a:pPr algn="ctr" fontAlgn="b"/>
                      <a:r>
                        <a:rPr lang="en-CH" sz="400" b="0" i="0" u="none" strike="noStrike">
                          <a:solidFill>
                            <a:schemeClr val="tx2"/>
                          </a:solidFill>
                          <a:effectLst/>
                          <a:latin typeface="+mn-lt"/>
                        </a:rPr>
                        <a:t>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nb-NO" sz="400" b="0" i="0" u="none" strike="noStrike">
                          <a:solidFill>
                            <a:schemeClr val="tx2"/>
                          </a:solidFill>
                          <a:effectLst/>
                          <a:latin typeface="+mn-lt"/>
                        </a:rPr>
                        <a:t>Private Label Pilz Glas 1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84834823"/>
                  </a:ext>
                </a:extLst>
              </a:tr>
              <a:tr h="72141">
                <a:tc>
                  <a:txBody>
                    <a:bodyPr/>
                    <a:lstStyle/>
                    <a:p>
                      <a:pPr algn="ctr" fontAlgn="b"/>
                      <a:r>
                        <a:rPr lang="en-CH" sz="400" b="0" i="0" u="none" strike="noStrike">
                          <a:solidFill>
                            <a:schemeClr val="tx2"/>
                          </a:solidFill>
                          <a:effectLst/>
                          <a:latin typeface="+mn-lt"/>
                        </a:rPr>
                        <a:t>2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Kerrygold Original Kraeuter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2592600"/>
                  </a:ext>
                </a:extLst>
              </a:tr>
              <a:tr h="72141">
                <a:tc>
                  <a:txBody>
                    <a:bodyPr/>
                    <a:lstStyle/>
                    <a:p>
                      <a:pPr algn="ctr" fontAlgn="b"/>
                      <a:r>
                        <a:rPr lang="en-CH" sz="400" b="0" i="0" u="none" strike="noStrike">
                          <a:solidFill>
                            <a:schemeClr val="tx2"/>
                          </a:solidFill>
                          <a:effectLst/>
                          <a:latin typeface="+mn-lt"/>
                        </a:rPr>
                        <a:t>2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Bio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4432554"/>
                  </a:ext>
                </a:extLst>
              </a:tr>
              <a:tr h="72141">
                <a:tc>
                  <a:txBody>
                    <a:bodyPr/>
                    <a:lstStyle/>
                    <a:p>
                      <a:pPr algn="ctr" fontAlgn="b"/>
                      <a:r>
                        <a:rPr lang="en-CH" sz="400" b="0" i="0" u="none" strike="noStrike">
                          <a:solidFill>
                            <a:schemeClr val="tx2"/>
                          </a:solidFill>
                          <a:effectLst/>
                          <a:latin typeface="+mn-lt"/>
                        </a:rPr>
                        <a:t>3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Hansano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5818235"/>
                  </a:ext>
                </a:extLst>
              </a:tr>
              <a:tr h="72141">
                <a:tc>
                  <a:txBody>
                    <a:bodyPr/>
                    <a:lstStyle/>
                    <a:p>
                      <a:pPr algn="ctr" fontAlgn="b"/>
                      <a:r>
                        <a:rPr lang="en-CH" sz="400" b="0" i="0" u="none" strike="noStrike">
                          <a:solidFill>
                            <a:schemeClr val="tx2"/>
                          </a:solidFill>
                          <a:effectLst/>
                          <a:latin typeface="+mn-lt"/>
                        </a:rPr>
                        <a:t>3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Meggle Knoblauch / Zwiebel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14338691"/>
                  </a:ext>
                </a:extLst>
              </a:tr>
              <a:tr h="72141">
                <a:tc>
                  <a:txBody>
                    <a:bodyPr/>
                    <a:lstStyle/>
                    <a:p>
                      <a:pPr algn="ctr" fontAlgn="b"/>
                      <a:r>
                        <a:rPr lang="en-CH" sz="400" b="0" i="0" u="none" strike="noStrike">
                          <a:solidFill>
                            <a:schemeClr val="tx2"/>
                          </a:solidFill>
                          <a:effectLst/>
                          <a:latin typeface="+mn-lt"/>
                        </a:rPr>
                        <a:t>3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9559883"/>
                  </a:ext>
                </a:extLst>
              </a:tr>
              <a:tr h="72141">
                <a:tc>
                  <a:txBody>
                    <a:bodyPr/>
                    <a:lstStyle/>
                    <a:p>
                      <a:pPr algn="ctr" fontAlgn="b"/>
                      <a:r>
                        <a:rPr lang="en-CH" sz="400" b="0" i="0" u="none" strike="noStrike">
                          <a:solidFill>
                            <a:schemeClr val="tx2"/>
                          </a:solidFill>
                          <a:effectLst/>
                          <a:latin typeface="+mn-lt"/>
                        </a:rPr>
                        <a:t>3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6527690"/>
                  </a:ext>
                </a:extLst>
              </a:tr>
              <a:tr h="72141">
                <a:tc>
                  <a:txBody>
                    <a:bodyPr/>
                    <a:lstStyle/>
                    <a:p>
                      <a:pPr algn="ctr" fontAlgn="b"/>
                      <a:r>
                        <a:rPr lang="en-CH" sz="400" b="0" i="0" u="none" strike="noStrike">
                          <a:solidFill>
                            <a:schemeClr val="tx2"/>
                          </a:solidFill>
                          <a:effectLst/>
                          <a:latin typeface="+mn-lt"/>
                        </a:rPr>
                        <a:t>3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3181845"/>
                  </a:ext>
                </a:extLst>
              </a:tr>
              <a:tr h="72141">
                <a:tc>
                  <a:txBody>
                    <a:bodyPr/>
                    <a:lstStyle/>
                    <a:p>
                      <a:pPr algn="ctr" fontAlgn="b"/>
                      <a:r>
                        <a:rPr lang="en-CH" sz="400" b="0" i="0" u="none" strike="noStrike">
                          <a:solidFill>
                            <a:schemeClr val="tx2"/>
                          </a:solidFill>
                          <a:effectLst/>
                          <a:latin typeface="+mn-lt"/>
                        </a:rPr>
                        <a:t>3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72141">
                <a:tc>
                  <a:txBody>
                    <a:bodyPr/>
                    <a:lstStyle/>
                    <a:p>
                      <a:pPr algn="ctr" fontAlgn="b"/>
                      <a:r>
                        <a:rPr lang="en-CH" sz="400" b="0" i="0" u="none" strike="noStrike">
                          <a:solidFill>
                            <a:schemeClr val="tx2"/>
                          </a:solidFill>
                          <a:effectLst/>
                          <a:latin typeface="+mn-lt"/>
                        </a:rPr>
                        <a:t>3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ogtlandweide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72141">
                <a:tc>
                  <a:txBody>
                    <a:bodyPr/>
                    <a:lstStyle/>
                    <a:p>
                      <a:pPr algn="ctr" fontAlgn="b"/>
                      <a:r>
                        <a:rPr lang="en-CH" sz="400" b="0" i="0" u="none" strike="noStrike">
                          <a:solidFill>
                            <a:schemeClr val="tx2"/>
                          </a:solidFill>
                          <a:effectLst/>
                          <a:latin typeface="+mn-lt"/>
                        </a:rPr>
                        <a:t>3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oldsteig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72141">
                <a:tc>
                  <a:txBody>
                    <a:bodyPr/>
                    <a:lstStyle/>
                    <a:p>
                      <a:pPr algn="ctr" fontAlgn="b"/>
                      <a:r>
                        <a:rPr lang="en-CH" sz="400" b="0" i="0" u="none" strike="noStrike">
                          <a:solidFill>
                            <a:schemeClr val="tx2"/>
                          </a:solidFill>
                          <a:effectLst/>
                          <a:latin typeface="+mn-lt"/>
                        </a:rPr>
                        <a:t>3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achsen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72141">
                <a:tc>
                  <a:txBody>
                    <a:bodyPr/>
                    <a:lstStyle/>
                    <a:p>
                      <a:pPr algn="ctr" fontAlgn="b"/>
                      <a:r>
                        <a:rPr lang="en-CH" sz="400" b="0" i="0" u="none" strike="noStrike">
                          <a:solidFill>
                            <a:schemeClr val="tx2"/>
                          </a:solidFill>
                          <a:effectLst/>
                          <a:latin typeface="+mn-lt"/>
                        </a:rPr>
                        <a:t>3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72141">
                <a:tc>
                  <a:txBody>
                    <a:bodyPr/>
                    <a:lstStyle/>
                    <a:p>
                      <a:pPr algn="ctr" fontAlgn="b"/>
                      <a:r>
                        <a:rPr lang="en-CH" sz="400" b="0" i="0" u="none" strike="noStrike">
                          <a:solidFill>
                            <a:schemeClr val="tx2"/>
                          </a:solidFill>
                          <a:effectLst/>
                          <a:latin typeface="+mn-lt"/>
                        </a:rPr>
                        <a:t>4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en-US" sz="400" b="0" i="0" u="none" strike="noStrike">
                          <a:solidFill>
                            <a:schemeClr val="tx2"/>
                          </a:solidFill>
                          <a:effectLst/>
                          <a:latin typeface="+mn-lt"/>
                        </a:rPr>
                        <a:t>Kerrygold Becher 1 Ct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72141">
                <a:tc>
                  <a:txBody>
                    <a:bodyPr/>
                    <a:lstStyle/>
                    <a:p>
                      <a:pPr algn="ctr" fontAlgn="b"/>
                      <a:r>
                        <a:rPr lang="en-CH" sz="400" b="0" i="0" u="none" strike="noStrike">
                          <a:solidFill>
                            <a:schemeClr val="tx2"/>
                          </a:solidFill>
                          <a:effectLst/>
                          <a:latin typeface="+mn-lt"/>
                        </a:rPr>
                        <a:t>4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72141">
                <a:tc>
                  <a:txBody>
                    <a:bodyPr/>
                    <a:lstStyle/>
                    <a:p>
                      <a:pPr algn="ctr" fontAlgn="b"/>
                      <a:r>
                        <a:rPr lang="en-CH" sz="400" b="0" i="0" u="none" strike="noStrike">
                          <a:solidFill>
                            <a:schemeClr val="tx2"/>
                          </a:solidFill>
                          <a:effectLst/>
                          <a:latin typeface="+mn-lt"/>
                        </a:rPr>
                        <a:t>4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Uplaender Bio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72141">
                <a:tc>
                  <a:txBody>
                    <a:bodyPr/>
                    <a:lstStyle/>
                    <a:p>
                      <a:pPr algn="ctr" fontAlgn="b"/>
                      <a:r>
                        <a:rPr lang="en-CH" sz="400" b="0" i="0" u="none" strike="noStrike">
                          <a:solidFill>
                            <a:schemeClr val="tx2"/>
                          </a:solidFill>
                          <a:effectLst/>
                          <a:latin typeface="+mn-lt"/>
                        </a:rPr>
                        <a:t>4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Grill / Fleisch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72141">
                <a:tc>
                  <a:txBody>
                    <a:bodyPr/>
                    <a:lstStyle/>
                    <a:p>
                      <a:pPr algn="ctr" fontAlgn="b"/>
                      <a:r>
                        <a:rPr lang="en-CH" sz="400" b="0" i="0" u="none" strike="noStrike">
                          <a:solidFill>
                            <a:schemeClr val="tx2"/>
                          </a:solidFill>
                          <a:effectLst/>
                          <a:latin typeface="+mn-lt"/>
                        </a:rPr>
                        <a:t>4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Dairygold Original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72141">
                <a:tc>
                  <a:txBody>
                    <a:bodyPr/>
                    <a:lstStyle/>
                    <a:p>
                      <a:pPr algn="ctr" fontAlgn="b"/>
                      <a:r>
                        <a:rPr lang="en-CH" sz="400" b="0" i="0" u="none" strike="noStrike">
                          <a:solidFill>
                            <a:schemeClr val="tx2"/>
                          </a:solidFill>
                          <a:effectLst/>
                          <a:latin typeface="+mn-lt"/>
                        </a:rPr>
                        <a:t>4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72141">
                <a:tc>
                  <a:txBody>
                    <a:bodyPr/>
                    <a:lstStyle/>
                    <a:p>
                      <a:pPr algn="ctr" fontAlgn="b"/>
                      <a:r>
                        <a:rPr lang="en-CH" sz="400" b="0" i="0" u="none" strike="noStrike">
                          <a:solidFill>
                            <a:schemeClr val="tx2"/>
                          </a:solidFill>
                          <a:effectLst/>
                          <a:latin typeface="+mn-lt"/>
                        </a:rPr>
                        <a:t>4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uessrahmbut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
                <a:tc>
                  <a:txBody>
                    <a:bodyPr/>
                    <a:lstStyle/>
                    <a:p>
                      <a:pPr algn="ctr" fontAlgn="b"/>
                      <a:r>
                        <a:rPr lang="en-CH" sz="400" b="0" i="0" u="none" strike="noStrike">
                          <a:solidFill>
                            <a:schemeClr val="tx2"/>
                          </a:solidFill>
                          <a:effectLst/>
                          <a:latin typeface="+mn-lt"/>
                        </a:rPr>
                        <a:t>4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Suessrahmbutter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
                <a:tc>
                  <a:txBody>
                    <a:bodyPr/>
                    <a:lstStyle/>
                    <a:p>
                      <a:pPr algn="ctr" fontAlgn="b"/>
                      <a:r>
                        <a:rPr lang="en-CH" sz="400" b="0" i="0" u="none" strike="noStrike">
                          <a:solidFill>
                            <a:schemeClr val="tx2"/>
                          </a:solidFill>
                          <a:effectLst/>
                          <a:latin typeface="+mn-lt"/>
                        </a:rPr>
                        <a:t>4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Mediterran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
                <a:tc>
                  <a:txBody>
                    <a:bodyPr/>
                    <a:lstStyle/>
                    <a:p>
                      <a:pPr algn="ctr" fontAlgn="b"/>
                      <a:r>
                        <a:rPr lang="en-CH" sz="400" b="0" i="0" u="none" strike="noStrike">
                          <a:solidFill>
                            <a:schemeClr val="tx2"/>
                          </a:solidFill>
                          <a:effectLst/>
                          <a:latin typeface="+mn-lt"/>
                        </a:rPr>
                        <a:t>4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Frankenland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
                <a:tc>
                  <a:txBody>
                    <a:bodyPr/>
                    <a:lstStyle/>
                    <a:p>
                      <a:pPr algn="ctr" fontAlgn="b"/>
                      <a:r>
                        <a:rPr lang="en-CH" sz="400" b="0" i="0" u="none" strike="noStrike">
                          <a:solidFill>
                            <a:schemeClr val="tx2"/>
                          </a:solidFill>
                          <a:effectLst/>
                          <a:latin typeface="+mn-lt"/>
                        </a:rPr>
                        <a:t>5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dirty="0" err="1">
                          <a:solidFill>
                            <a:schemeClr val="tx2"/>
                          </a:solidFill>
                          <a:effectLst/>
                          <a:latin typeface="+mn-lt"/>
                        </a:rPr>
                        <a:t>Meggle</a:t>
                      </a:r>
                      <a:r>
                        <a:rPr lang="fr-CH" sz="400" b="0" i="0" u="none" strike="noStrike" dirty="0">
                          <a:solidFill>
                            <a:schemeClr val="tx2"/>
                          </a:solidFill>
                          <a:effectLst/>
                          <a:latin typeface="+mn-lt"/>
                        </a:rPr>
                        <a:t> </a:t>
                      </a:r>
                      <a:r>
                        <a:rPr lang="fr-CH" sz="400" b="0" i="0" u="none" strike="noStrike" dirty="0" err="1">
                          <a:solidFill>
                            <a:schemeClr val="tx2"/>
                          </a:solidFill>
                          <a:effectLst/>
                          <a:latin typeface="+mn-lt"/>
                        </a:rPr>
                        <a:t>Vegane</a:t>
                      </a:r>
                      <a:r>
                        <a:rPr lang="fr-CH" sz="400" b="0" i="0" u="none" strike="noStrike" dirty="0">
                          <a:solidFill>
                            <a:schemeClr val="tx2"/>
                          </a:solidFill>
                          <a:effectLst/>
                          <a:latin typeface="+mn-lt"/>
                        </a:rPr>
                        <a:t> Grill / </a:t>
                      </a:r>
                      <a:r>
                        <a:rPr lang="fr-CH" sz="400" b="0" i="0" u="none" strike="noStrike" dirty="0" err="1">
                          <a:solidFill>
                            <a:schemeClr val="tx2"/>
                          </a:solidFill>
                          <a:effectLst/>
                          <a:latin typeface="+mn-lt"/>
                        </a:rPr>
                        <a:t>Fleisch</a:t>
                      </a:r>
                      <a:r>
                        <a:rPr lang="fr-CH" sz="400" b="0" i="0" u="none" strike="noStrike" dirty="0">
                          <a:solidFill>
                            <a:schemeClr val="tx2"/>
                          </a:solidFill>
                          <a:effectLst/>
                          <a:latin typeface="+mn-lt"/>
                        </a:rPr>
                        <a:t> Tube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23914438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0/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dirty="0"/>
              <a:t>DATA SOURCE: Trade Panel/Retailer Data | Ending Dec 2022</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Value Uplift vs Promo Efficiency | By Product | Category/Sector | Retailer | P12M</a:t>
            </a:r>
          </a:p>
          <a:p>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
                <a:tc>
                  <a:txBody>
                    <a:bodyPr/>
                    <a:lstStyle/>
                    <a:p>
                      <a:pPr algn="ctr" fontAlgn="b"/>
                      <a:r>
                        <a:rPr lang="en-CH" sz="400" b="0" i="0" u="none" strike="noStrike">
                          <a:solidFill>
                            <a:schemeClr val="tx2"/>
                          </a:solidFill>
                          <a:effectLst/>
                          <a:latin typeface="+mn-lt"/>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68475315"/>
                  </a:ext>
                </a:extLst>
              </a:tr>
              <a:tr h="72141">
                <a:tc>
                  <a:txBody>
                    <a:bodyPr/>
                    <a:lstStyle/>
                    <a:p>
                      <a:pPr algn="ctr" fontAlgn="b"/>
                      <a:r>
                        <a:rPr lang="en-CH" sz="400" b="0" i="0" u="none" strike="noStrike">
                          <a:solidFill>
                            <a:schemeClr val="tx2"/>
                          </a:solidFill>
                          <a:effectLst/>
                          <a:latin typeface="+mn-lt"/>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74345675"/>
                  </a:ext>
                </a:extLst>
              </a:tr>
              <a:tr h="72141">
                <a:tc>
                  <a:txBody>
                    <a:bodyPr/>
                    <a:lstStyle/>
                    <a:p>
                      <a:pPr algn="ctr" fontAlgn="b"/>
                      <a:r>
                        <a:rPr lang="en-CH" sz="400" b="0" i="0" u="none" strike="noStrike">
                          <a:solidFill>
                            <a:schemeClr val="tx2"/>
                          </a:solidFill>
                          <a:effectLst/>
                          <a:latin typeface="+mn-lt"/>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1017686"/>
                  </a:ext>
                </a:extLst>
              </a:tr>
              <a:tr h="72141">
                <a:tc>
                  <a:txBody>
                    <a:bodyPr/>
                    <a:lstStyle/>
                    <a:p>
                      <a:pPr algn="ctr" fontAlgn="b"/>
                      <a:r>
                        <a:rPr lang="en-CH" sz="400" b="0" i="0" u="none" strike="noStrike">
                          <a:solidFill>
                            <a:schemeClr val="tx2"/>
                          </a:solidFill>
                          <a:effectLst/>
                          <a:latin typeface="+mn-lt"/>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Weihenstepha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53934404"/>
                  </a:ext>
                </a:extLst>
              </a:tr>
              <a:tr h="72141">
                <a:tc>
                  <a:txBody>
                    <a:bodyPr/>
                    <a:lstStyle/>
                    <a:p>
                      <a:pPr algn="ctr" fontAlgn="b"/>
                      <a:r>
                        <a:rPr lang="en-CH" sz="400" b="0" i="0" u="none" strike="noStrike">
                          <a:solidFill>
                            <a:schemeClr val="tx2"/>
                          </a:solidFill>
                          <a:effectLst/>
                          <a:latin typeface="+mn-lt"/>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83251638"/>
                  </a:ext>
                </a:extLst>
              </a:tr>
              <a:tr h="72141">
                <a:tc>
                  <a:txBody>
                    <a:bodyPr/>
                    <a:lstStyle/>
                    <a:p>
                      <a:pPr algn="ctr" fontAlgn="b"/>
                      <a:r>
                        <a:rPr lang="en-CH" sz="400" b="0" i="0" u="none" strike="noStrike">
                          <a:solidFill>
                            <a:schemeClr val="tx2"/>
                          </a:solidFill>
                          <a:effectLst/>
                          <a:latin typeface="+mn-lt"/>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Frau Antj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61931653"/>
                  </a:ext>
                </a:extLst>
              </a:tr>
              <a:tr h="72141">
                <a:tc>
                  <a:txBody>
                    <a:bodyPr/>
                    <a:lstStyle/>
                    <a:p>
                      <a:pPr algn="ctr" fontAlgn="b"/>
                      <a:r>
                        <a:rPr lang="en-CH" sz="400" b="0" i="0" u="none" strike="noStrike">
                          <a:solidFill>
                            <a:schemeClr val="tx2"/>
                          </a:solidFill>
                          <a:effectLst/>
                          <a:latin typeface="+mn-lt"/>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Becher 2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29411828"/>
                  </a:ext>
                </a:extLst>
              </a:tr>
              <a:tr h="72141">
                <a:tc>
                  <a:txBody>
                    <a:bodyPr/>
                    <a:lstStyle/>
                    <a:p>
                      <a:pPr algn="ctr" fontAlgn="b"/>
                      <a:r>
                        <a:rPr lang="en-CH" sz="400" b="0" i="0" u="none" strike="noStrike">
                          <a:solidFill>
                            <a:schemeClr val="tx2"/>
                          </a:solidFill>
                          <a:effectLst/>
                          <a:latin typeface="+mn-lt"/>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9762943"/>
                  </a:ext>
                </a:extLst>
              </a:tr>
              <a:tr h="72141">
                <a:tc>
                  <a:txBody>
                    <a:bodyPr/>
                    <a:lstStyle/>
                    <a:p>
                      <a:pPr algn="ctr" fontAlgn="b"/>
                      <a:r>
                        <a:rPr lang="en-CH" sz="400" b="0" i="0" u="none" strike="noStrike">
                          <a:solidFill>
                            <a:schemeClr val="tx2"/>
                          </a:solidFill>
                          <a:effectLst/>
                          <a:latin typeface="+mn-lt"/>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Bech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63467390"/>
                  </a:ext>
                </a:extLst>
              </a:tr>
              <a:tr h="72141">
                <a:tc>
                  <a:txBody>
                    <a:bodyPr/>
                    <a:lstStyle/>
                    <a:p>
                      <a:pPr algn="ctr" fontAlgn="b"/>
                      <a:r>
                        <a:rPr lang="en-CH" sz="400" b="0" i="0" u="none" strike="noStrike">
                          <a:solidFill>
                            <a:schemeClr val="tx2"/>
                          </a:solidFill>
                          <a:effectLst/>
                          <a:latin typeface="+mn-lt"/>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8294199"/>
                  </a:ext>
                </a:extLst>
              </a:tr>
              <a:tr h="72141">
                <a:tc>
                  <a:txBody>
                    <a:bodyPr/>
                    <a:lstStyle/>
                    <a:p>
                      <a:pPr algn="ctr" fontAlgn="b"/>
                      <a:r>
                        <a:rPr lang="en-CH" sz="400" b="0" i="0" u="none" strike="noStrike">
                          <a:solidFill>
                            <a:schemeClr val="tx2"/>
                          </a:solidFill>
                          <a:effectLst/>
                          <a:latin typeface="+mn-lt"/>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12783936"/>
                  </a:ext>
                </a:extLst>
              </a:tr>
              <a:tr h="72141">
                <a:tc>
                  <a:txBody>
                    <a:bodyPr/>
                    <a:lstStyle/>
                    <a:p>
                      <a:pPr algn="ctr" fontAlgn="b"/>
                      <a:r>
                        <a:rPr lang="en-CH" sz="400" b="0" i="0" u="none" strike="noStrike">
                          <a:solidFill>
                            <a:schemeClr val="tx2"/>
                          </a:solidFill>
                          <a:effectLst/>
                          <a:latin typeface="+mn-lt"/>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alte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7362147"/>
                  </a:ext>
                </a:extLst>
              </a:tr>
              <a:tr h="72141">
                <a:tc>
                  <a:txBody>
                    <a:bodyPr/>
                    <a:lstStyle/>
                    <a:p>
                      <a:pPr algn="ctr" fontAlgn="b"/>
                      <a:r>
                        <a:rPr lang="en-CH" sz="400" b="0" i="0" u="none" strike="noStrike">
                          <a:solidFill>
                            <a:schemeClr val="tx2"/>
                          </a:solidFill>
                          <a:effectLst/>
                          <a:latin typeface="+mn-lt"/>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91460699"/>
                  </a:ext>
                </a:extLst>
              </a:tr>
              <a:tr h="72141">
                <a:tc>
                  <a:txBody>
                    <a:bodyPr/>
                    <a:lstStyle/>
                    <a:p>
                      <a:pPr algn="ctr" fontAlgn="b"/>
                      <a:r>
                        <a:rPr lang="en-CH" sz="400" b="0" i="0" u="none" strike="noStrike">
                          <a:solidFill>
                            <a:schemeClr val="tx2"/>
                          </a:solidFill>
                          <a:effectLst/>
                          <a:latin typeface="+mn-lt"/>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iolife Vioblock Vegan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40093880"/>
                  </a:ext>
                </a:extLst>
              </a:tr>
              <a:tr h="72141">
                <a:tc>
                  <a:txBody>
                    <a:bodyPr/>
                    <a:lstStyle/>
                    <a:p>
                      <a:pPr algn="ctr" fontAlgn="b"/>
                      <a:r>
                        <a:rPr lang="en-CH" sz="400" b="0" i="0" u="none" strike="noStrike">
                          <a:solidFill>
                            <a:schemeClr val="tx2"/>
                          </a:solidFill>
                          <a:effectLst/>
                          <a:latin typeface="+mn-lt"/>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llgaeuer Hof 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50994264"/>
                  </a:ext>
                </a:extLst>
              </a:tr>
              <a:tr h="72141">
                <a:tc>
                  <a:txBody>
                    <a:bodyPr/>
                    <a:lstStyle/>
                    <a:p>
                      <a:pPr algn="ctr" fontAlgn="b"/>
                      <a:r>
                        <a:rPr lang="en-CH" sz="400" b="0" i="0" u="none" strike="noStrike">
                          <a:solidFill>
                            <a:schemeClr val="tx2"/>
                          </a:solidFill>
                          <a:effectLst/>
                          <a:latin typeface="+mn-lt"/>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Tube Vegan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75426428"/>
                  </a:ext>
                </a:extLst>
              </a:tr>
              <a:tr h="72141">
                <a:tc>
                  <a:txBody>
                    <a:bodyPr/>
                    <a:lstStyle/>
                    <a:p>
                      <a:pPr algn="ctr" fontAlgn="b"/>
                      <a:r>
                        <a:rPr lang="en-CH" sz="400" b="0" i="0" u="none" strike="noStrike">
                          <a:solidFill>
                            <a:schemeClr val="tx2"/>
                          </a:solidFill>
                          <a:effectLst/>
                          <a:latin typeface="+mn-lt"/>
                        </a:rPr>
                        <a:t>1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Allgaeuer Hof 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97241745"/>
                  </a:ext>
                </a:extLst>
              </a:tr>
              <a:tr h="72141">
                <a:tc>
                  <a:txBody>
                    <a:bodyPr/>
                    <a:lstStyle/>
                    <a:p>
                      <a:pPr algn="ctr" fontAlgn="b"/>
                      <a:r>
                        <a:rPr lang="en-CH" sz="400" b="0" i="0" u="none" strike="noStrike">
                          <a:solidFill>
                            <a:schemeClr val="tx2"/>
                          </a:solidFill>
                          <a:effectLst/>
                          <a:latin typeface="+mn-lt"/>
                        </a:rPr>
                        <a:t>1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Becher 1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13182630"/>
                  </a:ext>
                </a:extLst>
              </a:tr>
              <a:tr h="72141">
                <a:tc>
                  <a:txBody>
                    <a:bodyPr/>
                    <a:lstStyle/>
                    <a:p>
                      <a:pPr algn="ctr" fontAlgn="b"/>
                      <a:r>
                        <a:rPr lang="en-CH" sz="400" b="0" i="0" u="none" strike="noStrike">
                          <a:solidFill>
                            <a:schemeClr val="tx2"/>
                          </a:solidFill>
                          <a:effectLst/>
                          <a:latin typeface="+mn-lt"/>
                        </a:rPr>
                        <a:t>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5205234"/>
                  </a:ext>
                </a:extLst>
              </a:tr>
              <a:tr h="72141">
                <a:tc>
                  <a:txBody>
                    <a:bodyPr/>
                    <a:lstStyle/>
                    <a:p>
                      <a:pPr algn="ctr" fontAlgn="b"/>
                      <a:r>
                        <a:rPr lang="en-CH" sz="400" b="0" i="0" u="none" strike="noStrike">
                          <a:solidFill>
                            <a:schemeClr val="tx2"/>
                          </a:solidFill>
                          <a:effectLst/>
                          <a:latin typeface="+mn-lt"/>
                        </a:rPr>
                        <a:t>2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04871848"/>
                  </a:ext>
                </a:extLst>
              </a:tr>
              <a:tr h="72141">
                <a:tc>
                  <a:txBody>
                    <a:bodyPr/>
                    <a:lstStyle/>
                    <a:p>
                      <a:pPr algn="ctr" fontAlgn="b"/>
                      <a:r>
                        <a:rPr lang="en-CH" sz="400" b="0" i="0" u="none" strike="noStrike">
                          <a:solidFill>
                            <a:schemeClr val="tx2"/>
                          </a:solidFill>
                          <a:effectLst/>
                          <a:latin typeface="+mn-lt"/>
                        </a:rPr>
                        <a:t>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Die Vegan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49180832"/>
                  </a:ext>
                </a:extLst>
              </a:tr>
              <a:tr h="72141">
                <a:tc>
                  <a:txBody>
                    <a:bodyPr/>
                    <a:lstStyle/>
                    <a:p>
                      <a:pPr algn="ctr" fontAlgn="b"/>
                      <a:r>
                        <a:rPr lang="en-CH" sz="400" b="0" i="0" u="none" strike="noStrike">
                          <a:solidFill>
                            <a:schemeClr val="tx2"/>
                          </a:solidFill>
                          <a:effectLst/>
                          <a:latin typeface="+mn-lt"/>
                        </a:rPr>
                        <a:t>2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17787889"/>
                  </a:ext>
                </a:extLst>
              </a:tr>
              <a:tr h="72141">
                <a:tc>
                  <a:txBody>
                    <a:bodyPr/>
                    <a:lstStyle/>
                    <a:p>
                      <a:pPr algn="ctr" fontAlgn="b"/>
                      <a:r>
                        <a:rPr lang="en-CH" sz="400" b="0" i="0" u="none" strike="noStrike">
                          <a:solidFill>
                            <a:schemeClr val="tx2"/>
                          </a:solidFill>
                          <a:effectLst/>
                          <a:latin typeface="+mn-lt"/>
                        </a:rPr>
                        <a:t>2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9181467"/>
                  </a:ext>
                </a:extLst>
              </a:tr>
              <a:tr h="72141">
                <a:tc>
                  <a:txBody>
                    <a:bodyPr/>
                    <a:lstStyle/>
                    <a:p>
                      <a:pPr algn="ctr" fontAlgn="b"/>
                      <a:r>
                        <a:rPr lang="en-CH" sz="400" b="0" i="0" u="none" strike="noStrike">
                          <a:solidFill>
                            <a:schemeClr val="tx2"/>
                          </a:solidFill>
                          <a:effectLst/>
                          <a:latin typeface="+mn-lt"/>
                        </a:rPr>
                        <a:t>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esident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49409313"/>
                  </a:ext>
                </a:extLst>
              </a:tr>
              <a:tr h="72141">
                <a:tc>
                  <a:txBody>
                    <a:bodyPr/>
                    <a:lstStyle/>
                    <a:p>
                      <a:pPr algn="ctr" fontAlgn="b"/>
                      <a:r>
                        <a:rPr lang="en-CH" sz="400" b="0" i="0" u="none" strike="noStrike">
                          <a:solidFill>
                            <a:schemeClr val="tx2"/>
                          </a:solidFill>
                          <a:effectLst/>
                          <a:latin typeface="+mn-lt"/>
                        </a:rPr>
                        <a:t>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ndechser Natur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0138508"/>
                  </a:ext>
                </a:extLst>
              </a:tr>
              <a:tr h="72141">
                <a:tc>
                  <a:txBody>
                    <a:bodyPr/>
                    <a:lstStyle/>
                    <a:p>
                      <a:pPr algn="ctr" fontAlgn="b"/>
                      <a:r>
                        <a:rPr lang="en-CH" sz="400" b="0" i="0" u="none" strike="noStrike">
                          <a:solidFill>
                            <a:schemeClr val="tx2"/>
                          </a:solidFill>
                          <a:effectLst/>
                          <a:latin typeface="+mn-lt"/>
                        </a:rPr>
                        <a:t>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Echt Franke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62685953"/>
                  </a:ext>
                </a:extLst>
              </a:tr>
              <a:tr h="72141">
                <a:tc>
                  <a:txBody>
                    <a:bodyPr/>
                    <a:lstStyle/>
                    <a:p>
                      <a:pPr algn="ctr" fontAlgn="b"/>
                      <a:r>
                        <a:rPr lang="en-CH" sz="400" b="0" i="0" u="none" strike="noStrike">
                          <a:solidFill>
                            <a:schemeClr val="tx2"/>
                          </a:solidFill>
                          <a:effectLst/>
                          <a:latin typeface="+mn-lt"/>
                        </a:rPr>
                        <a:t>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nb-NO" sz="400" b="0" i="0" u="none" strike="noStrike">
                          <a:solidFill>
                            <a:schemeClr val="tx2"/>
                          </a:solidFill>
                          <a:effectLst/>
                          <a:latin typeface="+mn-lt"/>
                        </a:rPr>
                        <a:t>Private Label Pilz Glas 1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84834823"/>
                  </a:ext>
                </a:extLst>
              </a:tr>
              <a:tr h="72141">
                <a:tc>
                  <a:txBody>
                    <a:bodyPr/>
                    <a:lstStyle/>
                    <a:p>
                      <a:pPr algn="ctr" fontAlgn="b"/>
                      <a:r>
                        <a:rPr lang="en-CH" sz="400" b="0" i="0" u="none" strike="noStrike">
                          <a:solidFill>
                            <a:schemeClr val="tx2"/>
                          </a:solidFill>
                          <a:effectLst/>
                          <a:latin typeface="+mn-lt"/>
                        </a:rPr>
                        <a:t>2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Kerrygold Original Kraeuter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2592600"/>
                  </a:ext>
                </a:extLst>
              </a:tr>
              <a:tr h="72141">
                <a:tc>
                  <a:txBody>
                    <a:bodyPr/>
                    <a:lstStyle/>
                    <a:p>
                      <a:pPr algn="ctr" fontAlgn="b"/>
                      <a:r>
                        <a:rPr lang="en-CH" sz="400" b="0" i="0" u="none" strike="noStrike">
                          <a:solidFill>
                            <a:schemeClr val="tx2"/>
                          </a:solidFill>
                          <a:effectLst/>
                          <a:latin typeface="+mn-lt"/>
                        </a:rPr>
                        <a:t>2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Bio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4432554"/>
                  </a:ext>
                </a:extLst>
              </a:tr>
              <a:tr h="72141">
                <a:tc>
                  <a:txBody>
                    <a:bodyPr/>
                    <a:lstStyle/>
                    <a:p>
                      <a:pPr algn="ctr" fontAlgn="b"/>
                      <a:r>
                        <a:rPr lang="en-CH" sz="400" b="0" i="0" u="none" strike="noStrike">
                          <a:solidFill>
                            <a:schemeClr val="tx2"/>
                          </a:solidFill>
                          <a:effectLst/>
                          <a:latin typeface="+mn-lt"/>
                        </a:rPr>
                        <a:t>3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Hansano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5818235"/>
                  </a:ext>
                </a:extLst>
              </a:tr>
              <a:tr h="72141">
                <a:tc>
                  <a:txBody>
                    <a:bodyPr/>
                    <a:lstStyle/>
                    <a:p>
                      <a:pPr algn="ctr" fontAlgn="b"/>
                      <a:r>
                        <a:rPr lang="en-CH" sz="400" b="0" i="0" u="none" strike="noStrike">
                          <a:solidFill>
                            <a:schemeClr val="tx2"/>
                          </a:solidFill>
                          <a:effectLst/>
                          <a:latin typeface="+mn-lt"/>
                        </a:rPr>
                        <a:t>3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Meggle Knoblauch / Zwiebel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14338691"/>
                  </a:ext>
                </a:extLst>
              </a:tr>
              <a:tr h="72141">
                <a:tc>
                  <a:txBody>
                    <a:bodyPr/>
                    <a:lstStyle/>
                    <a:p>
                      <a:pPr algn="ctr" fontAlgn="b"/>
                      <a:r>
                        <a:rPr lang="en-CH" sz="400" b="0" i="0" u="none" strike="noStrike">
                          <a:solidFill>
                            <a:schemeClr val="tx2"/>
                          </a:solidFill>
                          <a:effectLst/>
                          <a:latin typeface="+mn-lt"/>
                        </a:rPr>
                        <a:t>3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9559883"/>
                  </a:ext>
                </a:extLst>
              </a:tr>
              <a:tr h="72141">
                <a:tc>
                  <a:txBody>
                    <a:bodyPr/>
                    <a:lstStyle/>
                    <a:p>
                      <a:pPr algn="ctr" fontAlgn="b"/>
                      <a:r>
                        <a:rPr lang="en-CH" sz="400" b="0" i="0" u="none" strike="noStrike">
                          <a:solidFill>
                            <a:schemeClr val="tx2"/>
                          </a:solidFill>
                          <a:effectLst/>
                          <a:latin typeface="+mn-lt"/>
                        </a:rPr>
                        <a:t>3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6527690"/>
                  </a:ext>
                </a:extLst>
              </a:tr>
              <a:tr h="72141">
                <a:tc>
                  <a:txBody>
                    <a:bodyPr/>
                    <a:lstStyle/>
                    <a:p>
                      <a:pPr algn="ctr" fontAlgn="b"/>
                      <a:r>
                        <a:rPr lang="en-CH" sz="400" b="0" i="0" u="none" strike="noStrike">
                          <a:solidFill>
                            <a:schemeClr val="tx2"/>
                          </a:solidFill>
                          <a:effectLst/>
                          <a:latin typeface="+mn-lt"/>
                        </a:rPr>
                        <a:t>3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3181845"/>
                  </a:ext>
                </a:extLst>
              </a:tr>
              <a:tr h="72141">
                <a:tc>
                  <a:txBody>
                    <a:bodyPr/>
                    <a:lstStyle/>
                    <a:p>
                      <a:pPr algn="ctr" fontAlgn="b"/>
                      <a:r>
                        <a:rPr lang="en-CH" sz="400" b="0" i="0" u="none" strike="noStrike">
                          <a:solidFill>
                            <a:schemeClr val="tx2"/>
                          </a:solidFill>
                          <a:effectLst/>
                          <a:latin typeface="+mn-lt"/>
                        </a:rPr>
                        <a:t>3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72141">
                <a:tc>
                  <a:txBody>
                    <a:bodyPr/>
                    <a:lstStyle/>
                    <a:p>
                      <a:pPr algn="ctr" fontAlgn="b"/>
                      <a:r>
                        <a:rPr lang="en-CH" sz="400" b="0" i="0" u="none" strike="noStrike">
                          <a:solidFill>
                            <a:schemeClr val="tx2"/>
                          </a:solidFill>
                          <a:effectLst/>
                          <a:latin typeface="+mn-lt"/>
                        </a:rPr>
                        <a:t>3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ogtlandweide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72141">
                <a:tc>
                  <a:txBody>
                    <a:bodyPr/>
                    <a:lstStyle/>
                    <a:p>
                      <a:pPr algn="ctr" fontAlgn="b"/>
                      <a:r>
                        <a:rPr lang="en-CH" sz="400" b="0" i="0" u="none" strike="noStrike">
                          <a:solidFill>
                            <a:schemeClr val="tx2"/>
                          </a:solidFill>
                          <a:effectLst/>
                          <a:latin typeface="+mn-lt"/>
                        </a:rPr>
                        <a:t>3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oldsteig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72141">
                <a:tc>
                  <a:txBody>
                    <a:bodyPr/>
                    <a:lstStyle/>
                    <a:p>
                      <a:pPr algn="ctr" fontAlgn="b"/>
                      <a:r>
                        <a:rPr lang="en-CH" sz="400" b="0" i="0" u="none" strike="noStrike">
                          <a:solidFill>
                            <a:schemeClr val="tx2"/>
                          </a:solidFill>
                          <a:effectLst/>
                          <a:latin typeface="+mn-lt"/>
                        </a:rPr>
                        <a:t>3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achsen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72141">
                <a:tc>
                  <a:txBody>
                    <a:bodyPr/>
                    <a:lstStyle/>
                    <a:p>
                      <a:pPr algn="ctr" fontAlgn="b"/>
                      <a:r>
                        <a:rPr lang="en-CH" sz="400" b="0" i="0" u="none" strike="noStrike">
                          <a:solidFill>
                            <a:schemeClr val="tx2"/>
                          </a:solidFill>
                          <a:effectLst/>
                          <a:latin typeface="+mn-lt"/>
                        </a:rPr>
                        <a:t>3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72141">
                <a:tc>
                  <a:txBody>
                    <a:bodyPr/>
                    <a:lstStyle/>
                    <a:p>
                      <a:pPr algn="ctr" fontAlgn="b"/>
                      <a:r>
                        <a:rPr lang="en-CH" sz="400" b="0" i="0" u="none" strike="noStrike">
                          <a:solidFill>
                            <a:schemeClr val="tx2"/>
                          </a:solidFill>
                          <a:effectLst/>
                          <a:latin typeface="+mn-lt"/>
                        </a:rPr>
                        <a:t>4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en-US" sz="400" b="0" i="0" u="none" strike="noStrike">
                          <a:solidFill>
                            <a:schemeClr val="tx2"/>
                          </a:solidFill>
                          <a:effectLst/>
                          <a:latin typeface="+mn-lt"/>
                        </a:rPr>
                        <a:t>Kerrygold Becher 1 Ct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72141">
                <a:tc>
                  <a:txBody>
                    <a:bodyPr/>
                    <a:lstStyle/>
                    <a:p>
                      <a:pPr algn="ctr" fontAlgn="b"/>
                      <a:r>
                        <a:rPr lang="en-CH" sz="400" b="0" i="0" u="none" strike="noStrike">
                          <a:solidFill>
                            <a:schemeClr val="tx2"/>
                          </a:solidFill>
                          <a:effectLst/>
                          <a:latin typeface="+mn-lt"/>
                        </a:rPr>
                        <a:t>4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72141">
                <a:tc>
                  <a:txBody>
                    <a:bodyPr/>
                    <a:lstStyle/>
                    <a:p>
                      <a:pPr algn="ctr" fontAlgn="b"/>
                      <a:r>
                        <a:rPr lang="en-CH" sz="400" b="0" i="0" u="none" strike="noStrike">
                          <a:solidFill>
                            <a:schemeClr val="tx2"/>
                          </a:solidFill>
                          <a:effectLst/>
                          <a:latin typeface="+mn-lt"/>
                        </a:rPr>
                        <a:t>4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Uplaender Bio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72141">
                <a:tc>
                  <a:txBody>
                    <a:bodyPr/>
                    <a:lstStyle/>
                    <a:p>
                      <a:pPr algn="ctr" fontAlgn="b"/>
                      <a:r>
                        <a:rPr lang="en-CH" sz="400" b="0" i="0" u="none" strike="noStrike">
                          <a:solidFill>
                            <a:schemeClr val="tx2"/>
                          </a:solidFill>
                          <a:effectLst/>
                          <a:latin typeface="+mn-lt"/>
                        </a:rPr>
                        <a:t>4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Grill / Fleisch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72141">
                <a:tc>
                  <a:txBody>
                    <a:bodyPr/>
                    <a:lstStyle/>
                    <a:p>
                      <a:pPr algn="ctr" fontAlgn="b"/>
                      <a:r>
                        <a:rPr lang="en-CH" sz="400" b="0" i="0" u="none" strike="noStrike">
                          <a:solidFill>
                            <a:schemeClr val="tx2"/>
                          </a:solidFill>
                          <a:effectLst/>
                          <a:latin typeface="+mn-lt"/>
                        </a:rPr>
                        <a:t>4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Dairygold Original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72141">
                <a:tc>
                  <a:txBody>
                    <a:bodyPr/>
                    <a:lstStyle/>
                    <a:p>
                      <a:pPr algn="ctr" fontAlgn="b"/>
                      <a:r>
                        <a:rPr lang="en-CH" sz="400" b="0" i="0" u="none" strike="noStrike">
                          <a:solidFill>
                            <a:schemeClr val="tx2"/>
                          </a:solidFill>
                          <a:effectLst/>
                          <a:latin typeface="+mn-lt"/>
                        </a:rPr>
                        <a:t>4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72141">
                <a:tc>
                  <a:txBody>
                    <a:bodyPr/>
                    <a:lstStyle/>
                    <a:p>
                      <a:pPr algn="ctr" fontAlgn="b"/>
                      <a:r>
                        <a:rPr lang="en-CH" sz="400" b="0" i="0" u="none" strike="noStrike">
                          <a:solidFill>
                            <a:schemeClr val="tx2"/>
                          </a:solidFill>
                          <a:effectLst/>
                          <a:latin typeface="+mn-lt"/>
                        </a:rPr>
                        <a:t>4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uessrahmbut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
                <a:tc>
                  <a:txBody>
                    <a:bodyPr/>
                    <a:lstStyle/>
                    <a:p>
                      <a:pPr algn="ctr" fontAlgn="b"/>
                      <a:r>
                        <a:rPr lang="en-CH" sz="400" b="0" i="0" u="none" strike="noStrike">
                          <a:solidFill>
                            <a:schemeClr val="tx2"/>
                          </a:solidFill>
                          <a:effectLst/>
                          <a:latin typeface="+mn-lt"/>
                        </a:rPr>
                        <a:t>4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Suessrahmbutter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
                <a:tc>
                  <a:txBody>
                    <a:bodyPr/>
                    <a:lstStyle/>
                    <a:p>
                      <a:pPr algn="ctr" fontAlgn="b"/>
                      <a:r>
                        <a:rPr lang="en-CH" sz="400" b="0" i="0" u="none" strike="noStrike">
                          <a:solidFill>
                            <a:schemeClr val="tx2"/>
                          </a:solidFill>
                          <a:effectLst/>
                          <a:latin typeface="+mn-lt"/>
                        </a:rPr>
                        <a:t>4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Mediterran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
                <a:tc>
                  <a:txBody>
                    <a:bodyPr/>
                    <a:lstStyle/>
                    <a:p>
                      <a:pPr algn="ctr" fontAlgn="b"/>
                      <a:r>
                        <a:rPr lang="en-CH" sz="400" b="0" i="0" u="none" strike="noStrike">
                          <a:solidFill>
                            <a:schemeClr val="tx2"/>
                          </a:solidFill>
                          <a:effectLst/>
                          <a:latin typeface="+mn-lt"/>
                        </a:rPr>
                        <a:t>4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Frankenland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
                <a:tc>
                  <a:txBody>
                    <a:bodyPr/>
                    <a:lstStyle/>
                    <a:p>
                      <a:pPr algn="ctr" fontAlgn="b"/>
                      <a:r>
                        <a:rPr lang="en-CH" sz="400" b="0" i="0" u="none" strike="noStrike">
                          <a:solidFill>
                            <a:schemeClr val="tx2"/>
                          </a:solidFill>
                          <a:effectLst/>
                          <a:latin typeface="+mn-lt"/>
                        </a:rPr>
                        <a:t>5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dirty="0" err="1">
                          <a:solidFill>
                            <a:schemeClr val="tx2"/>
                          </a:solidFill>
                          <a:effectLst/>
                          <a:latin typeface="+mn-lt"/>
                        </a:rPr>
                        <a:t>Meggle</a:t>
                      </a:r>
                      <a:r>
                        <a:rPr lang="fr-CH" sz="400" b="0" i="0" u="none" strike="noStrike" dirty="0">
                          <a:solidFill>
                            <a:schemeClr val="tx2"/>
                          </a:solidFill>
                          <a:effectLst/>
                          <a:latin typeface="+mn-lt"/>
                        </a:rPr>
                        <a:t> </a:t>
                      </a:r>
                      <a:r>
                        <a:rPr lang="fr-CH" sz="400" b="0" i="0" u="none" strike="noStrike" dirty="0" err="1">
                          <a:solidFill>
                            <a:schemeClr val="tx2"/>
                          </a:solidFill>
                          <a:effectLst/>
                          <a:latin typeface="+mn-lt"/>
                        </a:rPr>
                        <a:t>Vegane</a:t>
                      </a:r>
                      <a:r>
                        <a:rPr lang="fr-CH" sz="400" b="0" i="0" u="none" strike="noStrike" dirty="0">
                          <a:solidFill>
                            <a:schemeClr val="tx2"/>
                          </a:solidFill>
                          <a:effectLst/>
                          <a:latin typeface="+mn-lt"/>
                        </a:rPr>
                        <a:t> Grill / </a:t>
                      </a:r>
                      <a:r>
                        <a:rPr lang="fr-CH" sz="400" b="0" i="0" u="none" strike="noStrike" dirty="0" err="1">
                          <a:solidFill>
                            <a:schemeClr val="tx2"/>
                          </a:solidFill>
                          <a:effectLst/>
                          <a:latin typeface="+mn-lt"/>
                        </a:rPr>
                        <a:t>Fleisch</a:t>
                      </a:r>
                      <a:r>
                        <a:rPr lang="fr-CH" sz="400" b="0" i="0" u="none" strike="noStrike" dirty="0">
                          <a:solidFill>
                            <a:schemeClr val="tx2"/>
                          </a:solidFill>
                          <a:effectLst/>
                          <a:latin typeface="+mn-lt"/>
                        </a:rPr>
                        <a:t> Tube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93172239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B5B285-8912-5BDC-8B86-EDA028009D33}"/>
              </a:ext>
            </a:extLst>
          </p:cNvPr>
          <p:cNvGraphicFramePr>
            <a:graphicFrameLocks noChangeAspect="1"/>
          </p:cNvGraphicFramePr>
          <p:nvPr>
            <p:custDataLst>
              <p:tags r:id="rId1"/>
            </p:custDataLst>
          </p:nvPr>
        </p:nvGraphicFramePr>
        <p:xfrm>
          <a:off x="1192" y="1193"/>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45B5B285-8912-5BDC-8B86-EDA028009D33}"/>
                          </a:ext>
                        </a:extLst>
                      </p:cNvPr>
                      <p:cNvPicPr/>
                      <p:nvPr/>
                    </p:nvPicPr>
                    <p:blipFill>
                      <a:blip r:embed="rId5"/>
                      <a:stretch>
                        <a:fillRect/>
                      </a:stretch>
                    </p:blipFill>
                    <p:spPr>
                      <a:xfrm>
                        <a:off x="1192" y="1193"/>
                        <a:ext cx="920"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fld id="{1199D218-3462-4314-BF36-B4F59A3CB6BA}" type="datetime1">
              <a:rPr lang="en-US"/>
              <a:pPr/>
              <a:t>8/10/2025</a:t>
            </a:fld>
            <a:endParaRPr lang="en-US"/>
          </a:p>
        </p:txBody>
      </p:sp>
      <p:sp>
        <p:nvSpPr>
          <p:cNvPr id="20" name="Footer Placeholder 19">
            <a:extLst>
              <a:ext uri="{FF2B5EF4-FFF2-40B4-BE49-F238E27FC236}">
                <a16:creationId xmlns:a16="http://schemas.microsoft.com/office/drawing/2014/main" id="{D9A79C92-17DF-4870-7DC8-9748773174A3}"/>
              </a:ext>
            </a:extLst>
          </p:cNvPr>
          <p:cNvSpPr>
            <a:spLocks noGrp="1"/>
          </p:cNvSpPr>
          <p:nvPr>
            <p:ph type="ftr" sz="quarter" idx="15"/>
          </p:nvPr>
        </p:nvSpPr>
        <p:spPr>
          <a:xfrm>
            <a:off x="546969" y="4970700"/>
            <a:ext cx="6451742" cy="174151"/>
          </a:xfrm>
        </p:spPr>
        <p:txBody>
          <a:bodyPr/>
          <a:lstStyle/>
          <a:p>
            <a:endParaRPr lang="en-US"/>
          </a:p>
        </p:txBody>
      </p:sp>
      <p:sp>
        <p:nvSpPr>
          <p:cNvPr id="21" name="Slide Number Placeholder 20">
            <a:extLst>
              <a:ext uri="{FF2B5EF4-FFF2-40B4-BE49-F238E27FC236}">
                <a16:creationId xmlns:a16="http://schemas.microsoft.com/office/drawing/2014/main" id="{59A467BD-8C5A-332C-DCFE-8E3BCC641761}"/>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a:t>
            </a:fld>
            <a:endParaRPr lang="en-US"/>
          </a:p>
        </p:txBody>
      </p:sp>
      <p:sp>
        <p:nvSpPr>
          <p:cNvPr id="8" name="SRC">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dirty="0"/>
              <a:t>DATA SOURCE: Trade Panel/Retailer Data | Ending Dec 2022</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Value Uplift vs Promo Efficiency | By Product | Category/Sector | Retailer | P12M</a:t>
            </a:r>
          </a:p>
          <a:p>
            <a:r>
              <a:rPr lang="en-US" dirty="0"/>
              <a:t>Bubble Size: Promo Sales</a:t>
            </a:r>
          </a:p>
          <a:p>
            <a:endParaRPr lang="en-US" dirty="0"/>
          </a:p>
        </p:txBody>
      </p:sp>
      <p:sp>
        <p:nvSpPr>
          <p:cNvPr id="6" name="Title 5">
            <a:extLst>
              <a:ext uri="{FF2B5EF4-FFF2-40B4-BE49-F238E27FC236}">
                <a16:creationId xmlns:a16="http://schemas.microsoft.com/office/drawing/2014/main" id="{17C8C96B-407E-F28E-1A15-24542515E3C9}"/>
              </a:ext>
            </a:extLst>
          </p:cNvPr>
          <p:cNvSpPr>
            <a:spLocks noGrp="1"/>
          </p:cNvSpPr>
          <p:nvPr>
            <p:ph type="title"/>
          </p:nvPr>
        </p:nvSpPr>
        <p:spPr>
          <a:xfrm>
            <a:off x="504000" y="-1"/>
            <a:ext cx="8136000" cy="771525"/>
          </a:xfrm>
          <a:noFill/>
        </p:spPr>
        <p:txBody>
          <a:bodyPr vert="horz"/>
          <a:lstStyle/>
          <a:p>
            <a:r>
              <a:rPr lang="en-US" dirty="0">
                <a:highlight>
                  <a:srgbClr val="FFFF00"/>
                </a:highlight>
              </a:rPr>
              <a:t>Value Uplift vs Promo Efficiency Quadran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Box 4">
            <a:extLst>
              <a:ext uri="{FF2B5EF4-FFF2-40B4-BE49-F238E27FC236}">
                <a16:creationId xmlns:a16="http://schemas.microsoft.com/office/drawing/2014/main" id="{FCE29351-F359-0F43-16FA-A883EF503D81}"/>
              </a:ext>
            </a:extLst>
          </p:cNvPr>
          <p:cNvSpPr txBox="1"/>
          <p:nvPr/>
        </p:nvSpPr>
        <p:spPr>
          <a:xfrm>
            <a:off x="1409691" y="1393171"/>
            <a:ext cx="582119"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dirty="0">
                <a:solidFill>
                  <a:srgbClr val="B8B60D"/>
                </a:solidFill>
                <a:latin typeface="Nexa Bold" panose="00000800000000000000" pitchFamily="2" charset="0"/>
              </a:rPr>
              <a:t>Fix</a:t>
            </a:r>
          </a:p>
        </p:txBody>
      </p:sp>
      <p:sp>
        <p:nvSpPr>
          <p:cNvPr id="9" name="TextBox 8">
            <a:extLst>
              <a:ext uri="{FF2B5EF4-FFF2-40B4-BE49-F238E27FC236}">
                <a16:creationId xmlns:a16="http://schemas.microsoft.com/office/drawing/2014/main" id="{949B4DB3-1AC5-2E97-1132-271877A8FAD7}"/>
              </a:ext>
            </a:extLst>
          </p:cNvPr>
          <p:cNvSpPr txBox="1"/>
          <p:nvPr/>
        </p:nvSpPr>
        <p:spPr>
          <a:xfrm>
            <a:off x="5680802" y="1393170"/>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006C6D"/>
                </a:solidFill>
                <a:latin typeface="Nexa Bold" panose="00000800000000000000" pitchFamily="2" charset="0"/>
              </a:rPr>
              <a:t>Protect</a:t>
            </a:r>
          </a:p>
        </p:txBody>
      </p:sp>
      <p:sp>
        <p:nvSpPr>
          <p:cNvPr id="10" name="TextBox 9">
            <a:extLst>
              <a:ext uri="{FF2B5EF4-FFF2-40B4-BE49-F238E27FC236}">
                <a16:creationId xmlns:a16="http://schemas.microsoft.com/office/drawing/2014/main" id="{097E431B-4E0A-1B31-6DE5-FEBD19254FC0}"/>
              </a:ext>
            </a:extLst>
          </p:cNvPr>
          <p:cNvSpPr txBox="1"/>
          <p:nvPr/>
        </p:nvSpPr>
        <p:spPr>
          <a:xfrm>
            <a:off x="5680802" y="3999157"/>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r" defTabSz="685732">
              <a:defRPr/>
            </a:pPr>
            <a:r>
              <a:rPr lang="en-US" sz="1200" dirty="0">
                <a:solidFill>
                  <a:srgbClr val="7ECAC4"/>
                </a:solidFill>
                <a:latin typeface="Nexa Bold" panose="00000800000000000000" pitchFamily="2" charset="0"/>
              </a:rPr>
              <a:t>Grow</a:t>
            </a:r>
          </a:p>
        </p:txBody>
      </p:sp>
      <p:sp>
        <p:nvSpPr>
          <p:cNvPr id="11" name="TextBox 10">
            <a:extLst>
              <a:ext uri="{FF2B5EF4-FFF2-40B4-BE49-F238E27FC236}">
                <a16:creationId xmlns:a16="http://schemas.microsoft.com/office/drawing/2014/main" id="{824D4195-9BD7-53D8-8626-32D33DA8A3C6}"/>
              </a:ext>
            </a:extLst>
          </p:cNvPr>
          <p:cNvSpPr txBox="1"/>
          <p:nvPr/>
        </p:nvSpPr>
        <p:spPr>
          <a:xfrm>
            <a:off x="1409691" y="3999156"/>
            <a:ext cx="711253"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defTabSz="685732">
              <a:defRPr/>
            </a:pPr>
            <a:r>
              <a:rPr lang="en-US" sz="1200">
                <a:solidFill>
                  <a:srgbClr val="C00000"/>
                </a:solidFill>
                <a:latin typeface="Nexa Bold" panose="00000800000000000000" pitchFamily="2" charset="0"/>
              </a:rPr>
              <a:t>Kill</a:t>
            </a:r>
          </a:p>
        </p:txBody>
      </p:sp>
      <p:graphicFrame>
        <p:nvGraphicFramePr>
          <p:cNvPr id="12" name="Table 11">
            <a:extLst>
              <a:ext uri="{FF2B5EF4-FFF2-40B4-BE49-F238E27FC236}">
                <a16:creationId xmlns:a16="http://schemas.microsoft.com/office/drawing/2014/main" id="{D5D0C284-053E-2E60-8FCC-FD6AB6667C33}"/>
              </a:ext>
            </a:extLst>
          </p:cNvPr>
          <p:cNvGraphicFramePr>
            <a:graphicFrameLocks noGrp="1"/>
          </p:cNvGraphicFramePr>
          <p:nvPr>
            <p:extLst>
              <p:ext uri="{D42A27DB-BD31-4B8C-83A1-F6EECF244321}">
                <p14:modId xmlns:p14="http://schemas.microsoft.com/office/powerpoint/2010/main" val="1190133053"/>
              </p:ext>
            </p:extLst>
          </p:nvPr>
        </p:nvGraphicFramePr>
        <p:xfrm>
          <a:off x="6597254" y="1131888"/>
          <a:ext cx="2053035" cy="3607050"/>
        </p:xfrm>
        <a:graphic>
          <a:graphicData uri="http://schemas.openxmlformats.org/drawingml/2006/table">
            <a:tbl>
              <a:tblPr>
                <a:tableStyleId>{5C22544A-7EE6-4342-B048-85BDC9FD1C3A}</a:tableStyleId>
              </a:tblPr>
              <a:tblGrid>
                <a:gridCol w="117133">
                  <a:extLst>
                    <a:ext uri="{9D8B030D-6E8A-4147-A177-3AD203B41FA5}">
                      <a16:colId xmlns:a16="http://schemas.microsoft.com/office/drawing/2014/main" val="2330748054"/>
                    </a:ext>
                  </a:extLst>
                </a:gridCol>
                <a:gridCol w="1935902">
                  <a:extLst>
                    <a:ext uri="{9D8B030D-6E8A-4147-A177-3AD203B41FA5}">
                      <a16:colId xmlns:a16="http://schemas.microsoft.com/office/drawing/2014/main" val="1344966126"/>
                    </a:ext>
                  </a:extLst>
                </a:gridCol>
              </a:tblGrid>
              <a:tr h="72141">
                <a:tc>
                  <a:txBody>
                    <a:bodyPr/>
                    <a:lstStyle/>
                    <a:p>
                      <a:pPr algn="ctr" fontAlgn="b"/>
                      <a:r>
                        <a:rPr lang="en-CH" sz="400" b="0" i="0" u="none" strike="noStrike">
                          <a:solidFill>
                            <a:schemeClr val="tx2"/>
                          </a:solidFill>
                          <a:effectLst/>
                          <a:latin typeface="+mn-lt"/>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68475315"/>
                  </a:ext>
                </a:extLst>
              </a:tr>
              <a:tr h="72141">
                <a:tc>
                  <a:txBody>
                    <a:bodyPr/>
                    <a:lstStyle/>
                    <a:p>
                      <a:pPr algn="ctr" fontAlgn="b"/>
                      <a:r>
                        <a:rPr lang="en-CH" sz="400" b="0" i="0" u="none" strike="noStrike">
                          <a:solidFill>
                            <a:schemeClr val="tx2"/>
                          </a:solidFill>
                          <a:effectLst/>
                          <a:latin typeface="+mn-lt"/>
                        </a:rPr>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74345675"/>
                  </a:ext>
                </a:extLst>
              </a:tr>
              <a:tr h="72141">
                <a:tc>
                  <a:txBody>
                    <a:bodyPr/>
                    <a:lstStyle/>
                    <a:p>
                      <a:pPr algn="ctr" fontAlgn="b"/>
                      <a:r>
                        <a:rPr lang="en-CH" sz="400" b="0" i="0" u="none" strike="noStrike">
                          <a:solidFill>
                            <a:schemeClr val="tx2"/>
                          </a:solidFill>
                          <a:effectLst/>
                          <a:latin typeface="+mn-lt"/>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1017686"/>
                  </a:ext>
                </a:extLst>
              </a:tr>
              <a:tr h="72141">
                <a:tc>
                  <a:txBody>
                    <a:bodyPr/>
                    <a:lstStyle/>
                    <a:p>
                      <a:pPr algn="ctr" fontAlgn="b"/>
                      <a:r>
                        <a:rPr lang="en-CH" sz="400" b="0" i="0" u="none" strike="noStrike">
                          <a:solidFill>
                            <a:schemeClr val="tx2"/>
                          </a:solidFill>
                          <a:effectLst/>
                          <a:latin typeface="+mn-lt"/>
                        </a:rPr>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Weihenstepha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53934404"/>
                  </a:ext>
                </a:extLst>
              </a:tr>
              <a:tr h="72141">
                <a:tc>
                  <a:txBody>
                    <a:bodyPr/>
                    <a:lstStyle/>
                    <a:p>
                      <a:pPr algn="ctr" fontAlgn="b"/>
                      <a:r>
                        <a:rPr lang="en-CH" sz="400" b="0" i="0" u="none" strike="noStrike">
                          <a:solidFill>
                            <a:schemeClr val="tx2"/>
                          </a:solidFill>
                          <a:effectLst/>
                          <a:latin typeface="+mn-lt"/>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83251638"/>
                  </a:ext>
                </a:extLst>
              </a:tr>
              <a:tr h="72141">
                <a:tc>
                  <a:txBody>
                    <a:bodyPr/>
                    <a:lstStyle/>
                    <a:p>
                      <a:pPr algn="ctr" fontAlgn="b"/>
                      <a:r>
                        <a:rPr lang="en-CH" sz="400" b="0" i="0" u="none" strike="noStrike">
                          <a:solidFill>
                            <a:schemeClr val="tx2"/>
                          </a:solidFill>
                          <a:effectLst/>
                          <a:latin typeface="+mn-lt"/>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Frau Antje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61931653"/>
                  </a:ext>
                </a:extLst>
              </a:tr>
              <a:tr h="72141">
                <a:tc>
                  <a:txBody>
                    <a:bodyPr/>
                    <a:lstStyle/>
                    <a:p>
                      <a:pPr algn="ctr" fontAlgn="b"/>
                      <a:r>
                        <a:rPr lang="en-CH" sz="400" b="0" i="0" u="none" strike="noStrike">
                          <a:solidFill>
                            <a:schemeClr val="tx2"/>
                          </a:solidFill>
                          <a:effectLst/>
                          <a:latin typeface="+mn-lt"/>
                        </a:rPr>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Becher 2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29411828"/>
                  </a:ext>
                </a:extLst>
              </a:tr>
              <a:tr h="72141">
                <a:tc>
                  <a:txBody>
                    <a:bodyPr/>
                    <a:lstStyle/>
                    <a:p>
                      <a:pPr algn="ctr" fontAlgn="b"/>
                      <a:r>
                        <a:rPr lang="en-CH" sz="400" b="0" i="0" u="none" strike="noStrike">
                          <a:solidFill>
                            <a:schemeClr val="tx2"/>
                          </a:solidFill>
                          <a:effectLst/>
                          <a:latin typeface="+mn-lt"/>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9762943"/>
                  </a:ext>
                </a:extLst>
              </a:tr>
              <a:tr h="72141">
                <a:tc>
                  <a:txBody>
                    <a:bodyPr/>
                    <a:lstStyle/>
                    <a:p>
                      <a:pPr algn="ctr" fontAlgn="b"/>
                      <a:r>
                        <a:rPr lang="en-CH" sz="400" b="0" i="0" u="none" strike="noStrike">
                          <a:solidFill>
                            <a:schemeClr val="tx2"/>
                          </a:solidFill>
                          <a:effectLst/>
                          <a:latin typeface="+mn-lt"/>
                        </a:rPr>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Landliebe Bech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63467390"/>
                  </a:ext>
                </a:extLst>
              </a:tr>
              <a:tr h="72141">
                <a:tc>
                  <a:txBody>
                    <a:bodyPr/>
                    <a:lstStyle/>
                    <a:p>
                      <a:pPr algn="ctr" fontAlgn="b"/>
                      <a:r>
                        <a:rPr lang="en-CH" sz="400" b="0" i="0" u="none" strike="noStrike">
                          <a:solidFill>
                            <a:schemeClr val="tx2"/>
                          </a:solidFill>
                          <a:effectLst/>
                          <a:latin typeface="+mn-lt"/>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8294199"/>
                  </a:ext>
                </a:extLst>
              </a:tr>
              <a:tr h="72141">
                <a:tc>
                  <a:txBody>
                    <a:bodyPr/>
                    <a:lstStyle/>
                    <a:p>
                      <a:pPr algn="ctr" fontAlgn="b"/>
                      <a:r>
                        <a:rPr lang="en-CH" sz="400" b="0" i="0" u="none" strike="noStrike">
                          <a:solidFill>
                            <a:schemeClr val="tx2"/>
                          </a:solidFill>
                          <a:effectLst/>
                          <a:latin typeface="+mn-lt"/>
                        </a:rPr>
                        <a:t>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12783936"/>
                  </a:ext>
                </a:extLst>
              </a:tr>
              <a:tr h="72141">
                <a:tc>
                  <a:txBody>
                    <a:bodyPr/>
                    <a:lstStyle/>
                    <a:p>
                      <a:pPr algn="ctr" fontAlgn="b"/>
                      <a:r>
                        <a:rPr lang="en-CH" sz="400" b="0" i="0" u="none" strike="noStrike">
                          <a:solidFill>
                            <a:schemeClr val="tx2"/>
                          </a:solidFill>
                          <a:effectLst/>
                          <a:latin typeface="+mn-lt"/>
                        </a:rPr>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Salted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7362147"/>
                  </a:ext>
                </a:extLst>
              </a:tr>
              <a:tr h="72141">
                <a:tc>
                  <a:txBody>
                    <a:bodyPr/>
                    <a:lstStyle/>
                    <a:p>
                      <a:pPr algn="ctr" fontAlgn="b"/>
                      <a:r>
                        <a:rPr lang="en-CH" sz="400" b="0" i="0" u="none" strike="noStrike">
                          <a:solidFill>
                            <a:schemeClr val="tx2"/>
                          </a:solidFill>
                          <a:effectLst/>
                          <a:latin typeface="+mn-lt"/>
                        </a:rPr>
                        <a:t>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91460699"/>
                  </a:ext>
                </a:extLst>
              </a:tr>
              <a:tr h="72141">
                <a:tc>
                  <a:txBody>
                    <a:bodyPr/>
                    <a:lstStyle/>
                    <a:p>
                      <a:pPr algn="ctr" fontAlgn="b"/>
                      <a:r>
                        <a:rPr lang="en-CH" sz="400" b="0" i="0" u="none" strike="noStrike">
                          <a:solidFill>
                            <a:schemeClr val="tx2"/>
                          </a:solidFill>
                          <a:effectLst/>
                          <a:latin typeface="+mn-lt"/>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iolife Vioblock Vegan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40093880"/>
                  </a:ext>
                </a:extLst>
              </a:tr>
              <a:tr h="72141">
                <a:tc>
                  <a:txBody>
                    <a:bodyPr/>
                    <a:lstStyle/>
                    <a:p>
                      <a:pPr algn="ctr" fontAlgn="b"/>
                      <a:r>
                        <a:rPr lang="en-CH" sz="400" b="0" i="0" u="none" strike="noStrike">
                          <a:solidFill>
                            <a:schemeClr val="tx2"/>
                          </a:solidFill>
                          <a:effectLst/>
                          <a:latin typeface="+mn-lt"/>
                        </a:rPr>
                        <a:t>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llgaeuer Hof 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50994264"/>
                  </a:ext>
                </a:extLst>
              </a:tr>
              <a:tr h="72141">
                <a:tc>
                  <a:txBody>
                    <a:bodyPr/>
                    <a:lstStyle/>
                    <a:p>
                      <a:pPr algn="ctr" fontAlgn="b"/>
                      <a:r>
                        <a:rPr lang="en-CH" sz="400" b="0" i="0" u="none" strike="noStrike">
                          <a:solidFill>
                            <a:schemeClr val="tx2"/>
                          </a:solidFill>
                          <a:effectLst/>
                          <a:latin typeface="+mn-lt"/>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Tube Vegan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75426428"/>
                  </a:ext>
                </a:extLst>
              </a:tr>
              <a:tr h="72141">
                <a:tc>
                  <a:txBody>
                    <a:bodyPr/>
                    <a:lstStyle/>
                    <a:p>
                      <a:pPr algn="ctr" fontAlgn="b"/>
                      <a:r>
                        <a:rPr lang="en-CH" sz="400" b="0" i="0" u="none" strike="noStrike">
                          <a:solidFill>
                            <a:schemeClr val="tx2"/>
                          </a:solidFill>
                          <a:effectLst/>
                          <a:latin typeface="+mn-lt"/>
                        </a:rPr>
                        <a:t>1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Allgaeuer Hof 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97241745"/>
                  </a:ext>
                </a:extLst>
              </a:tr>
              <a:tr h="72141">
                <a:tc>
                  <a:txBody>
                    <a:bodyPr/>
                    <a:lstStyle/>
                    <a:p>
                      <a:pPr algn="ctr" fontAlgn="b"/>
                      <a:r>
                        <a:rPr lang="en-CH" sz="400" b="0" i="0" u="none" strike="noStrike">
                          <a:solidFill>
                            <a:schemeClr val="tx2"/>
                          </a:solidFill>
                          <a:effectLst/>
                          <a:latin typeface="+mn-lt"/>
                        </a:rPr>
                        <a:t>1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Becher 1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13182630"/>
                  </a:ext>
                </a:extLst>
              </a:tr>
              <a:tr h="72141">
                <a:tc>
                  <a:txBody>
                    <a:bodyPr/>
                    <a:lstStyle/>
                    <a:p>
                      <a:pPr algn="ctr" fontAlgn="b"/>
                      <a:r>
                        <a:rPr lang="en-CH" sz="400" b="0" i="0" u="none" strike="noStrike">
                          <a:solidFill>
                            <a:schemeClr val="tx2"/>
                          </a:solidFill>
                          <a:effectLst/>
                          <a:latin typeface="+mn-lt"/>
                        </a:rPr>
                        <a:t>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Kraeu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5205234"/>
                  </a:ext>
                </a:extLst>
              </a:tr>
              <a:tr h="72141">
                <a:tc>
                  <a:txBody>
                    <a:bodyPr/>
                    <a:lstStyle/>
                    <a:p>
                      <a:pPr algn="ctr" fontAlgn="b"/>
                      <a:r>
                        <a:rPr lang="en-CH" sz="400" b="0" i="0" u="none" strike="noStrike">
                          <a:solidFill>
                            <a:schemeClr val="tx2"/>
                          </a:solidFill>
                          <a:effectLst/>
                          <a:latin typeface="+mn-lt"/>
                        </a:rPr>
                        <a:t>2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04871848"/>
                  </a:ext>
                </a:extLst>
              </a:tr>
              <a:tr h="72141">
                <a:tc>
                  <a:txBody>
                    <a:bodyPr/>
                    <a:lstStyle/>
                    <a:p>
                      <a:pPr algn="ctr" fontAlgn="b"/>
                      <a:r>
                        <a:rPr lang="en-CH" sz="400" b="0" i="0" u="none" strike="noStrike">
                          <a:solidFill>
                            <a:schemeClr val="tx2"/>
                          </a:solidFill>
                          <a:effectLst/>
                          <a:latin typeface="+mn-lt"/>
                        </a:rPr>
                        <a:t>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Die Vegan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49180832"/>
                  </a:ext>
                </a:extLst>
              </a:tr>
              <a:tr h="72141">
                <a:tc>
                  <a:txBody>
                    <a:bodyPr/>
                    <a:lstStyle/>
                    <a:p>
                      <a:pPr algn="ctr" fontAlgn="b"/>
                      <a:r>
                        <a:rPr lang="en-CH" sz="400" b="0" i="0" u="none" strike="noStrike">
                          <a:solidFill>
                            <a:schemeClr val="tx2"/>
                          </a:solidFill>
                          <a:effectLst/>
                          <a:latin typeface="+mn-lt"/>
                        </a:rPr>
                        <a:t>2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17787889"/>
                  </a:ext>
                </a:extLst>
              </a:tr>
              <a:tr h="72141">
                <a:tc>
                  <a:txBody>
                    <a:bodyPr/>
                    <a:lstStyle/>
                    <a:p>
                      <a:pPr algn="ctr" fontAlgn="b"/>
                      <a:r>
                        <a:rPr lang="en-CH" sz="400" b="0" i="0" u="none" strike="noStrike">
                          <a:solidFill>
                            <a:schemeClr val="tx2"/>
                          </a:solidFill>
                          <a:effectLst/>
                          <a:latin typeface="+mn-lt"/>
                        </a:rPr>
                        <a:t>2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ivate Label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39181467"/>
                  </a:ext>
                </a:extLst>
              </a:tr>
              <a:tr h="72141">
                <a:tc>
                  <a:txBody>
                    <a:bodyPr/>
                    <a:lstStyle/>
                    <a:p>
                      <a:pPr algn="ctr" fontAlgn="b"/>
                      <a:r>
                        <a:rPr lang="en-CH" sz="400" b="0" i="0" u="none" strike="noStrike">
                          <a:solidFill>
                            <a:schemeClr val="tx2"/>
                          </a:solidFill>
                          <a:effectLst/>
                          <a:latin typeface="+mn-lt"/>
                        </a:rPr>
                        <a:t>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President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49409313"/>
                  </a:ext>
                </a:extLst>
              </a:tr>
              <a:tr h="72141">
                <a:tc>
                  <a:txBody>
                    <a:bodyPr/>
                    <a:lstStyle/>
                    <a:p>
                      <a:pPr algn="ctr" fontAlgn="b"/>
                      <a:r>
                        <a:rPr lang="en-CH" sz="400" b="0" i="0" u="none" strike="noStrike">
                          <a:solidFill>
                            <a:schemeClr val="tx2"/>
                          </a:solidFill>
                          <a:effectLst/>
                          <a:latin typeface="+mn-lt"/>
                        </a:rPr>
                        <a:t>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Andechser Natur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0138508"/>
                  </a:ext>
                </a:extLst>
              </a:tr>
              <a:tr h="72141">
                <a:tc>
                  <a:txBody>
                    <a:bodyPr/>
                    <a:lstStyle/>
                    <a:p>
                      <a:pPr algn="ctr" fontAlgn="b"/>
                      <a:r>
                        <a:rPr lang="en-CH" sz="400" b="0" i="0" u="none" strike="noStrike">
                          <a:solidFill>
                            <a:schemeClr val="tx2"/>
                          </a:solidFill>
                          <a:effectLst/>
                          <a:latin typeface="+mn-lt"/>
                        </a:rPr>
                        <a:t>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Echt Franken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62685953"/>
                  </a:ext>
                </a:extLst>
              </a:tr>
              <a:tr h="72141">
                <a:tc>
                  <a:txBody>
                    <a:bodyPr/>
                    <a:lstStyle/>
                    <a:p>
                      <a:pPr algn="ctr" fontAlgn="b"/>
                      <a:r>
                        <a:rPr lang="en-CH" sz="400" b="0" i="0" u="none" strike="noStrike">
                          <a:solidFill>
                            <a:schemeClr val="tx2"/>
                          </a:solidFill>
                          <a:effectLst/>
                          <a:latin typeface="+mn-lt"/>
                        </a:rPr>
                        <a:t>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nb-NO" sz="400" b="0" i="0" u="none" strike="noStrike">
                          <a:solidFill>
                            <a:schemeClr val="tx2"/>
                          </a:solidFill>
                          <a:effectLst/>
                          <a:latin typeface="+mn-lt"/>
                        </a:rPr>
                        <a:t>Private Label Pilz Glas 10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84834823"/>
                  </a:ext>
                </a:extLst>
              </a:tr>
              <a:tr h="72141">
                <a:tc>
                  <a:txBody>
                    <a:bodyPr/>
                    <a:lstStyle/>
                    <a:p>
                      <a:pPr algn="ctr" fontAlgn="b"/>
                      <a:r>
                        <a:rPr lang="en-CH" sz="400" b="0" i="0" u="none" strike="noStrike">
                          <a:solidFill>
                            <a:schemeClr val="tx2"/>
                          </a:solidFill>
                          <a:effectLst/>
                          <a:latin typeface="+mn-lt"/>
                        </a:rPr>
                        <a:t>2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Kerrygold Original Kraeuter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2592600"/>
                  </a:ext>
                </a:extLst>
              </a:tr>
              <a:tr h="72141">
                <a:tc>
                  <a:txBody>
                    <a:bodyPr/>
                    <a:lstStyle/>
                    <a:p>
                      <a:pPr algn="ctr" fontAlgn="b"/>
                      <a:r>
                        <a:rPr lang="en-CH" sz="400" b="0" i="0" u="none" strike="noStrike">
                          <a:solidFill>
                            <a:schemeClr val="tx2"/>
                          </a:solidFill>
                          <a:effectLst/>
                          <a:latin typeface="+mn-lt"/>
                        </a:rPr>
                        <a:t>2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Berchtesgadener Land Bio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4432554"/>
                  </a:ext>
                </a:extLst>
              </a:tr>
              <a:tr h="72141">
                <a:tc>
                  <a:txBody>
                    <a:bodyPr/>
                    <a:lstStyle/>
                    <a:p>
                      <a:pPr algn="ctr" fontAlgn="b"/>
                      <a:r>
                        <a:rPr lang="en-CH" sz="400" b="0" i="0" u="none" strike="noStrike">
                          <a:solidFill>
                            <a:schemeClr val="tx2"/>
                          </a:solidFill>
                          <a:effectLst/>
                          <a:latin typeface="+mn-lt"/>
                        </a:rPr>
                        <a:t>3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Hansano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5818235"/>
                  </a:ext>
                </a:extLst>
              </a:tr>
              <a:tr h="72141">
                <a:tc>
                  <a:txBody>
                    <a:bodyPr/>
                    <a:lstStyle/>
                    <a:p>
                      <a:pPr algn="ctr" fontAlgn="b"/>
                      <a:r>
                        <a:rPr lang="en-CH" sz="400" b="0" i="0" u="none" strike="noStrike">
                          <a:solidFill>
                            <a:schemeClr val="tx2"/>
                          </a:solidFill>
                          <a:effectLst/>
                          <a:latin typeface="+mn-lt"/>
                        </a:rPr>
                        <a:t>3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de-DE" sz="400" b="0" i="0" u="none" strike="noStrike">
                          <a:solidFill>
                            <a:schemeClr val="tx2"/>
                          </a:solidFill>
                          <a:effectLst/>
                          <a:latin typeface="+mn-lt"/>
                        </a:rPr>
                        <a:t>Meggle Knoblauch / Zwiebel Rolle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14338691"/>
                  </a:ext>
                </a:extLst>
              </a:tr>
              <a:tr h="72141">
                <a:tc>
                  <a:txBody>
                    <a:bodyPr/>
                    <a:lstStyle/>
                    <a:p>
                      <a:pPr algn="ctr" fontAlgn="b"/>
                      <a:r>
                        <a:rPr lang="en-CH" sz="400" b="0" i="0" u="none" strike="noStrike">
                          <a:solidFill>
                            <a:schemeClr val="tx2"/>
                          </a:solidFill>
                          <a:effectLst/>
                          <a:latin typeface="+mn-lt"/>
                        </a:rPr>
                        <a:t>3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Original Kraeuter Rolle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9559883"/>
                  </a:ext>
                </a:extLst>
              </a:tr>
              <a:tr h="72141">
                <a:tc>
                  <a:txBody>
                    <a:bodyPr/>
                    <a:lstStyle/>
                    <a:p>
                      <a:pPr algn="ctr" fontAlgn="b"/>
                      <a:r>
                        <a:rPr lang="en-CH" sz="400" b="0" i="0" u="none" strike="noStrike">
                          <a:solidFill>
                            <a:schemeClr val="tx2"/>
                          </a:solidFill>
                          <a:effectLst/>
                          <a:latin typeface="+mn-lt"/>
                        </a:rPr>
                        <a:t>3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6527690"/>
                  </a:ext>
                </a:extLst>
              </a:tr>
              <a:tr h="72141">
                <a:tc>
                  <a:txBody>
                    <a:bodyPr/>
                    <a:lstStyle/>
                    <a:p>
                      <a:pPr algn="ctr" fontAlgn="b"/>
                      <a:r>
                        <a:rPr lang="en-CH" sz="400" b="0" i="0" u="none" strike="noStrike">
                          <a:solidFill>
                            <a:schemeClr val="tx2"/>
                          </a:solidFill>
                          <a:effectLst/>
                          <a:latin typeface="+mn-lt"/>
                        </a:rPr>
                        <a:t>3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3181845"/>
                  </a:ext>
                </a:extLst>
              </a:tr>
              <a:tr h="72141">
                <a:tc>
                  <a:txBody>
                    <a:bodyPr/>
                    <a:lstStyle/>
                    <a:p>
                      <a:pPr algn="ctr" fontAlgn="b"/>
                      <a:r>
                        <a:rPr lang="en-CH" sz="400" b="0" i="0" u="none" strike="noStrike">
                          <a:solidFill>
                            <a:schemeClr val="tx2"/>
                          </a:solidFill>
                          <a:effectLst/>
                          <a:latin typeface="+mn-lt"/>
                        </a:rPr>
                        <a:t>3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6447234"/>
                  </a:ext>
                </a:extLst>
              </a:tr>
              <a:tr h="72141">
                <a:tc>
                  <a:txBody>
                    <a:bodyPr/>
                    <a:lstStyle/>
                    <a:p>
                      <a:pPr algn="ctr" fontAlgn="b"/>
                      <a:r>
                        <a:rPr lang="en-CH" sz="400" b="0" i="0" u="none" strike="noStrike">
                          <a:solidFill>
                            <a:schemeClr val="tx2"/>
                          </a:solidFill>
                          <a:effectLst/>
                          <a:latin typeface="+mn-lt"/>
                        </a:rPr>
                        <a:t>3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Vogtlandweide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7023"/>
                  </a:ext>
                </a:extLst>
              </a:tr>
              <a:tr h="72141">
                <a:tc>
                  <a:txBody>
                    <a:bodyPr/>
                    <a:lstStyle/>
                    <a:p>
                      <a:pPr algn="ctr" fontAlgn="b"/>
                      <a:r>
                        <a:rPr lang="en-CH" sz="400" b="0" i="0" u="none" strike="noStrike">
                          <a:solidFill>
                            <a:schemeClr val="tx2"/>
                          </a:solidFill>
                          <a:effectLst/>
                          <a:latin typeface="+mn-lt"/>
                        </a:rPr>
                        <a:t>3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oldsteig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8801837"/>
                  </a:ext>
                </a:extLst>
              </a:tr>
              <a:tr h="72141">
                <a:tc>
                  <a:txBody>
                    <a:bodyPr/>
                    <a:lstStyle/>
                    <a:p>
                      <a:pPr algn="ctr" fontAlgn="b"/>
                      <a:r>
                        <a:rPr lang="en-CH" sz="400" b="0" i="0" u="none" strike="noStrike">
                          <a:solidFill>
                            <a:schemeClr val="tx2"/>
                          </a:solidFill>
                          <a:effectLst/>
                          <a:latin typeface="+mn-lt"/>
                        </a:rPr>
                        <a:t>3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achsen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0466797"/>
                  </a:ext>
                </a:extLst>
              </a:tr>
              <a:tr h="72141">
                <a:tc>
                  <a:txBody>
                    <a:bodyPr/>
                    <a:lstStyle/>
                    <a:p>
                      <a:pPr algn="ctr" fontAlgn="b"/>
                      <a:r>
                        <a:rPr lang="en-CH" sz="400" b="0" i="0" u="none" strike="noStrike">
                          <a:solidFill>
                            <a:schemeClr val="tx2"/>
                          </a:solidFill>
                          <a:effectLst/>
                          <a:latin typeface="+mn-lt"/>
                        </a:rPr>
                        <a:t>3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73938335"/>
                  </a:ext>
                </a:extLst>
              </a:tr>
              <a:tr h="72141">
                <a:tc>
                  <a:txBody>
                    <a:bodyPr/>
                    <a:lstStyle/>
                    <a:p>
                      <a:pPr algn="ctr" fontAlgn="b"/>
                      <a:r>
                        <a:rPr lang="en-CH" sz="400" b="0" i="0" u="none" strike="noStrike">
                          <a:solidFill>
                            <a:schemeClr val="tx2"/>
                          </a:solidFill>
                          <a:effectLst/>
                          <a:latin typeface="+mn-lt"/>
                        </a:rPr>
                        <a:t>4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en-US" sz="400" b="0" i="0" u="none" strike="noStrike">
                          <a:solidFill>
                            <a:schemeClr val="tx2"/>
                          </a:solidFill>
                          <a:effectLst/>
                          <a:latin typeface="+mn-lt"/>
                        </a:rPr>
                        <a:t>Kerrygold Becher 1 Ct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3170031"/>
                  </a:ext>
                </a:extLst>
              </a:tr>
              <a:tr h="72141">
                <a:tc>
                  <a:txBody>
                    <a:bodyPr/>
                    <a:lstStyle/>
                    <a:p>
                      <a:pPr algn="ctr" fontAlgn="b"/>
                      <a:r>
                        <a:rPr lang="en-CH" sz="400" b="0" i="0" u="none" strike="noStrike">
                          <a:solidFill>
                            <a:schemeClr val="tx2"/>
                          </a:solidFill>
                          <a:effectLst/>
                          <a:latin typeface="+mn-lt"/>
                        </a:rPr>
                        <a:t>4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Schwarzwaldmilch Mildgesaeuerte 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8716760"/>
                  </a:ext>
                </a:extLst>
              </a:tr>
              <a:tr h="72141">
                <a:tc>
                  <a:txBody>
                    <a:bodyPr/>
                    <a:lstStyle/>
                    <a:p>
                      <a:pPr algn="ctr" fontAlgn="b"/>
                      <a:r>
                        <a:rPr lang="en-CH" sz="400" b="0" i="0" u="none" strike="noStrike">
                          <a:solidFill>
                            <a:schemeClr val="tx2"/>
                          </a:solidFill>
                          <a:effectLst/>
                          <a:latin typeface="+mn-lt"/>
                        </a:rPr>
                        <a:t>4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Uplaender Bio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5759696"/>
                  </a:ext>
                </a:extLst>
              </a:tr>
              <a:tr h="72141">
                <a:tc>
                  <a:txBody>
                    <a:bodyPr/>
                    <a:lstStyle/>
                    <a:p>
                      <a:pPr algn="ctr" fontAlgn="b"/>
                      <a:r>
                        <a:rPr lang="en-CH" sz="400" b="0" i="0" u="none" strike="noStrike">
                          <a:solidFill>
                            <a:schemeClr val="tx2"/>
                          </a:solidFill>
                          <a:effectLst/>
                          <a:latin typeface="+mn-lt"/>
                        </a:rPr>
                        <a:t>4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Grill / Fleisch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8487155"/>
                  </a:ext>
                </a:extLst>
              </a:tr>
              <a:tr h="72141">
                <a:tc>
                  <a:txBody>
                    <a:bodyPr/>
                    <a:lstStyle/>
                    <a:p>
                      <a:pPr algn="ctr" fontAlgn="b"/>
                      <a:r>
                        <a:rPr lang="en-CH" sz="400" b="0" i="0" u="none" strike="noStrike">
                          <a:solidFill>
                            <a:schemeClr val="tx2"/>
                          </a:solidFill>
                          <a:effectLst/>
                          <a:latin typeface="+mn-lt"/>
                        </a:rPr>
                        <a:t>4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Dairygold Original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1853753"/>
                  </a:ext>
                </a:extLst>
              </a:tr>
              <a:tr h="72141">
                <a:tc>
                  <a:txBody>
                    <a:bodyPr/>
                    <a:lstStyle/>
                    <a:p>
                      <a:pPr algn="ctr" fontAlgn="b"/>
                      <a:r>
                        <a:rPr lang="en-CH" sz="400" b="0" i="0" u="none" strike="noStrike">
                          <a:solidFill>
                            <a:schemeClr val="tx2"/>
                          </a:solidFill>
                          <a:effectLst/>
                          <a:latin typeface="+mn-lt"/>
                        </a:rPr>
                        <a:t>4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Glaeserne Molkerei Sauer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4004136"/>
                  </a:ext>
                </a:extLst>
              </a:tr>
              <a:tr h="72141">
                <a:tc>
                  <a:txBody>
                    <a:bodyPr/>
                    <a:lstStyle/>
                    <a:p>
                      <a:pPr algn="ctr" fontAlgn="b"/>
                      <a:r>
                        <a:rPr lang="en-CH" sz="400" b="0" i="0" u="none" strike="noStrike">
                          <a:solidFill>
                            <a:schemeClr val="tx2"/>
                          </a:solidFill>
                          <a:effectLst/>
                          <a:latin typeface="+mn-lt"/>
                        </a:rPr>
                        <a:t>4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Suessrahmbutter Falts 5 Ct 2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695749"/>
                  </a:ext>
                </a:extLst>
              </a:tr>
              <a:tr h="72141">
                <a:tc>
                  <a:txBody>
                    <a:bodyPr/>
                    <a:lstStyle/>
                    <a:p>
                      <a:pPr algn="ctr" fontAlgn="b"/>
                      <a:r>
                        <a:rPr lang="en-CH" sz="400" b="0" i="0" u="none" strike="noStrike">
                          <a:solidFill>
                            <a:schemeClr val="tx2"/>
                          </a:solidFill>
                          <a:effectLst/>
                          <a:latin typeface="+mn-lt"/>
                        </a:rPr>
                        <a:t>4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Meggle Alpenbutter Suessrahmbutter 125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1500203"/>
                  </a:ext>
                </a:extLst>
              </a:tr>
              <a:tr h="72141">
                <a:tc>
                  <a:txBody>
                    <a:bodyPr/>
                    <a:lstStyle/>
                    <a:p>
                      <a:pPr algn="ctr" fontAlgn="b"/>
                      <a:r>
                        <a:rPr lang="en-CH" sz="400" b="0" i="0" u="none" strike="noStrike">
                          <a:solidFill>
                            <a:schemeClr val="tx2"/>
                          </a:solidFill>
                          <a:effectLst/>
                          <a:latin typeface="+mn-lt"/>
                        </a:rPr>
                        <a:t>4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Kerrygold Original Mediterran Becher 1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6802235"/>
                  </a:ext>
                </a:extLst>
              </a:tr>
              <a:tr h="72141">
                <a:tc>
                  <a:txBody>
                    <a:bodyPr/>
                    <a:lstStyle/>
                    <a:p>
                      <a:pPr algn="ctr" fontAlgn="b"/>
                      <a:r>
                        <a:rPr lang="en-CH" sz="400" b="0" i="0" u="none" strike="noStrike">
                          <a:solidFill>
                            <a:schemeClr val="tx2"/>
                          </a:solidFill>
                          <a:effectLst/>
                          <a:latin typeface="+mn-lt"/>
                        </a:rPr>
                        <a:t>4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a:solidFill>
                            <a:schemeClr val="tx2"/>
                          </a:solidFill>
                          <a:effectLst/>
                          <a:latin typeface="+mn-lt"/>
                        </a:rPr>
                        <a:t>Frankenland Suessrahmbutter 25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37404249"/>
                  </a:ext>
                </a:extLst>
              </a:tr>
              <a:tr h="72141">
                <a:tc>
                  <a:txBody>
                    <a:bodyPr/>
                    <a:lstStyle/>
                    <a:p>
                      <a:pPr algn="ctr" fontAlgn="b"/>
                      <a:r>
                        <a:rPr lang="en-CH" sz="400" b="0" i="0" u="none" strike="noStrike">
                          <a:solidFill>
                            <a:schemeClr val="tx2"/>
                          </a:solidFill>
                          <a:effectLst/>
                          <a:latin typeface="+mn-lt"/>
                        </a:rPr>
                        <a:t>5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fontAlgn="b"/>
                      <a:r>
                        <a:rPr lang="fr-CH" sz="400" b="0" i="0" u="none" strike="noStrike" dirty="0" err="1">
                          <a:solidFill>
                            <a:schemeClr val="tx2"/>
                          </a:solidFill>
                          <a:effectLst/>
                          <a:latin typeface="+mn-lt"/>
                        </a:rPr>
                        <a:t>Meggle</a:t>
                      </a:r>
                      <a:r>
                        <a:rPr lang="fr-CH" sz="400" b="0" i="0" u="none" strike="noStrike" dirty="0">
                          <a:solidFill>
                            <a:schemeClr val="tx2"/>
                          </a:solidFill>
                          <a:effectLst/>
                          <a:latin typeface="+mn-lt"/>
                        </a:rPr>
                        <a:t> </a:t>
                      </a:r>
                      <a:r>
                        <a:rPr lang="fr-CH" sz="400" b="0" i="0" u="none" strike="noStrike" dirty="0" err="1">
                          <a:solidFill>
                            <a:schemeClr val="tx2"/>
                          </a:solidFill>
                          <a:effectLst/>
                          <a:latin typeface="+mn-lt"/>
                        </a:rPr>
                        <a:t>Vegane</a:t>
                      </a:r>
                      <a:r>
                        <a:rPr lang="fr-CH" sz="400" b="0" i="0" u="none" strike="noStrike" dirty="0">
                          <a:solidFill>
                            <a:schemeClr val="tx2"/>
                          </a:solidFill>
                          <a:effectLst/>
                          <a:latin typeface="+mn-lt"/>
                        </a:rPr>
                        <a:t> Grill / </a:t>
                      </a:r>
                      <a:r>
                        <a:rPr lang="fr-CH" sz="400" b="0" i="0" u="none" strike="noStrike" dirty="0" err="1">
                          <a:solidFill>
                            <a:schemeClr val="tx2"/>
                          </a:solidFill>
                          <a:effectLst/>
                          <a:latin typeface="+mn-lt"/>
                        </a:rPr>
                        <a:t>Fleisch</a:t>
                      </a:r>
                      <a:r>
                        <a:rPr lang="fr-CH" sz="400" b="0" i="0" u="none" strike="noStrike" dirty="0">
                          <a:solidFill>
                            <a:schemeClr val="tx2"/>
                          </a:solidFill>
                          <a:effectLst/>
                          <a:latin typeface="+mn-lt"/>
                        </a:rPr>
                        <a:t> Tube 80G</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009763"/>
                  </a:ext>
                </a:extLst>
              </a:tr>
            </a:tbl>
          </a:graphicData>
        </a:graphic>
      </p:graphicFrame>
      <p:graphicFrame>
        <p:nvGraphicFramePr>
          <p:cNvPr id="2" name="C1">
            <a:extLst>
              <a:ext uri="{FF2B5EF4-FFF2-40B4-BE49-F238E27FC236}">
                <a16:creationId xmlns:a16="http://schemas.microsoft.com/office/drawing/2014/main" id="{46E3BF01-3D90-1CA2-D6C9-17C5A1ADCFA5}"/>
              </a:ext>
            </a:extLst>
          </p:cNvPr>
          <p:cNvGraphicFramePr/>
          <p:nvPr>
            <p:extLst>
              <p:ext uri="{D42A27DB-BD31-4B8C-83A1-F6EECF244321}">
                <p14:modId xmlns:p14="http://schemas.microsoft.com/office/powerpoint/2010/main" val="2892768295"/>
              </p:ext>
            </p:extLst>
          </p:nvPr>
        </p:nvGraphicFramePr>
        <p:xfrm>
          <a:off x="546969" y="1131888"/>
          <a:ext cx="6050286" cy="36022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86235852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0/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dirty="0"/>
              <a:t>Data Source | Trade Panel | Ending October 2022</a:t>
            </a:r>
            <a:endParaRPr lang="en-GB" dirty="0"/>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dirty="0" err="1">
                          <a:solidFill>
                            <a:schemeClr val="tx1"/>
                          </a:solidFill>
                          <a:effectLst/>
                          <a:latin typeface="Nexa Book"/>
                        </a:rPr>
                        <a:t>Private</a:t>
                      </a:r>
                      <a:r>
                        <a:rPr lang="fr-CH" sz="600" b="0" i="0" u="none" strike="noStrike" dirty="0">
                          <a:solidFill>
                            <a:schemeClr val="tx1"/>
                          </a:solidFill>
                          <a:effectLst/>
                          <a:latin typeface="Nexa Book"/>
                        </a:rPr>
                        <a:t>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80181932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0/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dirty="0"/>
              <a:t>Data Source | Trade Panel | Ending October 2022</a:t>
            </a:r>
            <a:endParaRPr lang="en-GB" dirty="0"/>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dirty="0" err="1">
                          <a:solidFill>
                            <a:schemeClr val="tx1"/>
                          </a:solidFill>
                          <a:effectLst/>
                          <a:latin typeface="Nexa Book"/>
                        </a:rPr>
                        <a:t>Private</a:t>
                      </a:r>
                      <a:r>
                        <a:rPr lang="fr-CH" sz="600" b="0" i="0" u="none" strike="noStrike" dirty="0">
                          <a:solidFill>
                            <a:schemeClr val="tx1"/>
                          </a:solidFill>
                          <a:effectLst/>
                          <a:latin typeface="Nexa Book"/>
                        </a:rPr>
                        <a:t>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366497182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0/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dirty="0"/>
              <a:t>Data Source | Trade Panel | Ending October 2022</a:t>
            </a:r>
            <a:endParaRPr lang="en-GB" dirty="0"/>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dirty="0" err="1">
                          <a:solidFill>
                            <a:schemeClr val="tx1"/>
                          </a:solidFill>
                          <a:effectLst/>
                          <a:latin typeface="Nexa Book"/>
                        </a:rPr>
                        <a:t>Private</a:t>
                      </a:r>
                      <a:r>
                        <a:rPr lang="fr-CH" sz="600" b="0" i="0" u="none" strike="noStrike" dirty="0">
                          <a:solidFill>
                            <a:schemeClr val="tx1"/>
                          </a:solidFill>
                          <a:effectLst/>
                          <a:latin typeface="Nexa Book"/>
                        </a:rPr>
                        <a:t>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758080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3473218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0/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dirty="0"/>
              <a:t>Data Source | Trade Panel | Ending October 2022</a:t>
            </a:r>
            <a:endParaRPr lang="en-GB" dirty="0"/>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dirty="0" err="1">
                          <a:solidFill>
                            <a:schemeClr val="tx1"/>
                          </a:solidFill>
                          <a:effectLst/>
                          <a:latin typeface="Nexa Book"/>
                        </a:rPr>
                        <a:t>Private</a:t>
                      </a:r>
                      <a:r>
                        <a:rPr lang="fr-CH" sz="600" b="0" i="0" u="none" strike="noStrike" dirty="0">
                          <a:solidFill>
                            <a:schemeClr val="tx1"/>
                          </a:solidFill>
                          <a:effectLst/>
                          <a:latin typeface="Nexa Book"/>
                        </a:rPr>
                        <a:t>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328452059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0/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dirty="0"/>
              <a:t>Data Source | Trade Panel | Ending October 2022</a:t>
            </a:r>
            <a:endParaRPr lang="en-GB" dirty="0"/>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dirty="0" err="1">
                          <a:solidFill>
                            <a:schemeClr val="tx1"/>
                          </a:solidFill>
                          <a:effectLst/>
                          <a:latin typeface="Nexa Book"/>
                        </a:rPr>
                        <a:t>Private</a:t>
                      </a:r>
                      <a:r>
                        <a:rPr lang="fr-CH" sz="600" b="0" i="0" u="none" strike="noStrike" dirty="0">
                          <a:solidFill>
                            <a:schemeClr val="tx1"/>
                          </a:solidFill>
                          <a:effectLst/>
                          <a:latin typeface="Nexa Book"/>
                        </a:rPr>
                        <a:t>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62772476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0/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dirty="0"/>
              <a:t>Data Source | Trade Panel | Ending October 2022</a:t>
            </a:r>
            <a:endParaRPr lang="en-GB" dirty="0"/>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dirty="0" err="1">
                          <a:solidFill>
                            <a:schemeClr val="tx1"/>
                          </a:solidFill>
                          <a:effectLst/>
                          <a:latin typeface="Nexa Book"/>
                        </a:rPr>
                        <a:t>Private</a:t>
                      </a:r>
                      <a:r>
                        <a:rPr lang="fr-CH" sz="600" b="0" i="0" u="none" strike="noStrike" dirty="0">
                          <a:solidFill>
                            <a:schemeClr val="tx1"/>
                          </a:solidFill>
                          <a:effectLst/>
                          <a:latin typeface="Nexa Book"/>
                        </a:rPr>
                        <a:t>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316792529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0/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dirty="0"/>
              <a:t>Data Source | Trade Panel | Ending October 2022</a:t>
            </a:r>
            <a:endParaRPr lang="en-GB" dirty="0"/>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dirty="0" err="1">
                          <a:solidFill>
                            <a:schemeClr val="tx1"/>
                          </a:solidFill>
                          <a:effectLst/>
                          <a:latin typeface="Nexa Book"/>
                        </a:rPr>
                        <a:t>Private</a:t>
                      </a:r>
                      <a:r>
                        <a:rPr lang="fr-CH" sz="600" b="0" i="0" u="none" strike="noStrike" dirty="0">
                          <a:solidFill>
                            <a:schemeClr val="tx1"/>
                          </a:solidFill>
                          <a:effectLst/>
                          <a:latin typeface="Nexa Book"/>
                        </a:rPr>
                        <a:t>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167496732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0/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dirty="0"/>
              <a:t>Data Source | Trade Panel | Ending October 2022</a:t>
            </a:r>
            <a:endParaRPr lang="en-GB" dirty="0"/>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dirty="0" err="1">
                          <a:solidFill>
                            <a:schemeClr val="tx1"/>
                          </a:solidFill>
                          <a:effectLst/>
                          <a:latin typeface="Nexa Book"/>
                        </a:rPr>
                        <a:t>Private</a:t>
                      </a:r>
                      <a:r>
                        <a:rPr lang="fr-CH" sz="600" b="0" i="0" u="none" strike="noStrike" dirty="0">
                          <a:solidFill>
                            <a:schemeClr val="tx1"/>
                          </a:solidFill>
                          <a:effectLst/>
                          <a:latin typeface="Nexa Book"/>
                        </a:rPr>
                        <a:t>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398323073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0/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dirty="0"/>
              <a:t>Data Source | Trade Panel | Ending October 2022</a:t>
            </a:r>
            <a:endParaRPr lang="en-GB" dirty="0"/>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dirty="0" err="1">
                          <a:solidFill>
                            <a:schemeClr val="tx1"/>
                          </a:solidFill>
                          <a:effectLst/>
                          <a:latin typeface="Nexa Book"/>
                        </a:rPr>
                        <a:t>Private</a:t>
                      </a:r>
                      <a:r>
                        <a:rPr lang="fr-CH" sz="600" b="0" i="0" u="none" strike="noStrike" dirty="0">
                          <a:solidFill>
                            <a:schemeClr val="tx1"/>
                          </a:solidFill>
                          <a:effectLst/>
                          <a:latin typeface="Nexa Book"/>
                        </a:rPr>
                        <a:t>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6808861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0/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dirty="0"/>
              <a:t>Data Source | Trade Panel | Ending October 2022</a:t>
            </a:r>
            <a:endParaRPr lang="en-GB" dirty="0"/>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dirty="0" err="1">
                          <a:solidFill>
                            <a:schemeClr val="tx1"/>
                          </a:solidFill>
                          <a:effectLst/>
                          <a:latin typeface="Nexa Book"/>
                        </a:rPr>
                        <a:t>Private</a:t>
                      </a:r>
                      <a:r>
                        <a:rPr lang="fr-CH" sz="600" b="0" i="0" u="none" strike="noStrike" dirty="0">
                          <a:solidFill>
                            <a:schemeClr val="tx1"/>
                          </a:solidFill>
                          <a:effectLst/>
                          <a:latin typeface="Nexa Book"/>
                        </a:rPr>
                        <a:t>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328946617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0/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dirty="0"/>
              <a:t>Data Source | Trade Panel | Ending October 2022</a:t>
            </a:r>
            <a:endParaRPr lang="en-GB" dirty="0"/>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dirty="0" err="1">
                          <a:solidFill>
                            <a:schemeClr val="tx1"/>
                          </a:solidFill>
                          <a:effectLst/>
                          <a:latin typeface="Nexa Book"/>
                        </a:rPr>
                        <a:t>Private</a:t>
                      </a:r>
                      <a:r>
                        <a:rPr lang="fr-CH" sz="600" b="0" i="0" u="none" strike="noStrike" dirty="0">
                          <a:solidFill>
                            <a:schemeClr val="tx1"/>
                          </a:solidFill>
                          <a:effectLst/>
                          <a:latin typeface="Nexa Book"/>
                        </a:rPr>
                        <a:t>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245807173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29D08FD-0542-E18A-D4CD-8F5AF14089F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C29D08FD-0542-E18A-D4CD-8F5AF14089F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4D95EAA1-BCE7-48DD-AECC-F062881E3214}" type="datetime1">
              <a:rPr lang="en-US"/>
              <a:pPr/>
              <a:t>8/10/2025</a:t>
            </a:fld>
            <a:endParaRPr lang="en-US"/>
          </a:p>
        </p:txBody>
      </p:sp>
      <p:sp>
        <p:nvSpPr>
          <p:cNvPr id="12" name="Footer Placeholder 11">
            <a:extLst>
              <a:ext uri="{FF2B5EF4-FFF2-40B4-BE49-F238E27FC236}">
                <a16:creationId xmlns:a16="http://schemas.microsoft.com/office/drawing/2014/main" id="{2ED74869-1C61-E41D-9868-EC8519348E79}"/>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EF9F1002-8838-B249-9CD4-A0B26390C3F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dirty="0"/>
              <a:t>Data Source | Trade Panel | Ending October 2022</a:t>
            </a:r>
            <a:endParaRPr lang="en-GB" dirty="0"/>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7" name="Table 6">
            <a:extLst>
              <a:ext uri="{FF2B5EF4-FFF2-40B4-BE49-F238E27FC236}">
                <a16:creationId xmlns:a16="http://schemas.microsoft.com/office/drawing/2014/main" id="{D5FCE74C-19B8-EFE4-4825-F4EBB1190ECF}"/>
              </a:ext>
            </a:extLst>
          </p:cNvPr>
          <p:cNvGraphicFramePr>
            <a:graphicFrameLocks noGrp="1"/>
          </p:cNvGraphicFramePr>
          <p:nvPr>
            <p:extLst>
              <p:ext uri="{D42A27DB-BD31-4B8C-83A1-F6EECF244321}">
                <p14:modId xmlns:p14="http://schemas.microsoft.com/office/powerpoint/2010/main" val="2505921107"/>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dirty="0" err="1">
                          <a:solidFill>
                            <a:schemeClr val="tx1"/>
                          </a:solidFill>
                          <a:effectLst/>
                          <a:latin typeface="Nexa Book"/>
                        </a:rPr>
                        <a:t>Private</a:t>
                      </a:r>
                      <a:r>
                        <a:rPr lang="fr-CH" sz="600" b="0" i="0" u="none" strike="noStrike" dirty="0">
                          <a:solidFill>
                            <a:schemeClr val="tx1"/>
                          </a:solidFill>
                          <a:effectLst/>
                          <a:latin typeface="Nexa Book"/>
                        </a:rPr>
                        <a:t>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
        <p:nvSpPr>
          <p:cNvPr id="10" name="TextBox 9">
            <a:extLst>
              <a:ext uri="{FF2B5EF4-FFF2-40B4-BE49-F238E27FC236}">
                <a16:creationId xmlns:a16="http://schemas.microsoft.com/office/drawing/2014/main" id="{68238C64-EDC7-6BBA-D314-FCC3C8405F3C}"/>
              </a:ext>
            </a:extLst>
          </p:cNvPr>
          <p:cNvSpPr txBox="1"/>
          <p:nvPr/>
        </p:nvSpPr>
        <p:spPr>
          <a:xfrm>
            <a:off x="2104585" y="4755697"/>
            <a:ext cx="4939903" cy="35527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800" dirty="0">
                <a:solidFill>
                  <a:srgbClr val="575555"/>
                </a:solidFill>
                <a:latin typeface="Nexa Book" panose="00000400000000000000" pitchFamily="2" charset="0"/>
              </a:rPr>
              <a:t>Promo Efficiency (Promo Discount Cost vs. Value Uplift)</a:t>
            </a:r>
          </a:p>
          <a:p>
            <a:pPr algn="ctr" defTabSz="685749">
              <a:defRPr/>
            </a:pPr>
            <a:r>
              <a:rPr lang="en-US" sz="800" dirty="0">
                <a:solidFill>
                  <a:srgbClr val="575555"/>
                </a:solidFill>
                <a:latin typeface="Nexa Book" panose="00000400000000000000" pitchFamily="2" charset="0"/>
              </a:rPr>
              <a:t>Good Promotions have High Incr. Value % and High Promo Efficiency</a:t>
            </a:r>
          </a:p>
        </p:txBody>
      </p:sp>
    </p:spTree>
    <p:extLst>
      <p:ext uri="{BB962C8B-B14F-4D97-AF65-F5344CB8AC3E}">
        <p14:creationId xmlns:p14="http://schemas.microsoft.com/office/powerpoint/2010/main" val="385833774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0/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15838342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2240971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0/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136895899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0/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49725752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0/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359270123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0/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57478124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0/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157624186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0/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153663258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0/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171092612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0/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45528503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0/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95536192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8BC4F6D-5EE8-8034-53AD-0E49AE2C0CC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B8BC4F6D-5EE8-8034-53AD-0E49AE2C0CC9}"/>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17D2688C-259E-4553-8974-97B95EE45DEE}" type="datetime1">
              <a:rPr lang="en-US"/>
              <a:pPr/>
              <a:t>8/10/2025</a:t>
            </a:fld>
            <a:endParaRPr lang="en-US"/>
          </a:p>
        </p:txBody>
      </p:sp>
      <p:sp>
        <p:nvSpPr>
          <p:cNvPr id="12" name="Footer Placeholder 11">
            <a:extLst>
              <a:ext uri="{FF2B5EF4-FFF2-40B4-BE49-F238E27FC236}">
                <a16:creationId xmlns:a16="http://schemas.microsoft.com/office/drawing/2014/main" id="{470AC834-4931-8E51-BADA-9AEDE6C820DB}"/>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78DAE09-5169-5767-CE1B-DB92CBC184BE}"/>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Top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Top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3556"/>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9DC869AC-8CCE-42D7-61B5-4DFA17C0718B}"/>
              </a:ext>
            </a:extLst>
          </p:cNvPr>
          <p:cNvGraphicFramePr>
            <a:graphicFrameLocks noGrp="1"/>
          </p:cNvGraphicFramePr>
          <p:nvPr>
            <p:extLst>
              <p:ext uri="{D42A27DB-BD31-4B8C-83A1-F6EECF244321}">
                <p14:modId xmlns:p14="http://schemas.microsoft.com/office/powerpoint/2010/main" val="3242603753"/>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a:solidFill>
                            <a:schemeClr val="tx1"/>
                          </a:solidFill>
                          <a:effectLst/>
                          <a:latin typeface="Nexa Book"/>
                        </a:rPr>
                        <a:t>Fandicost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8219403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2248060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0/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Bottom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dirty="0" err="1">
                          <a:solidFill>
                            <a:schemeClr val="tx1"/>
                          </a:solidFill>
                          <a:effectLst/>
                          <a:latin typeface="Nexa Book"/>
                        </a:rPr>
                        <a:t>Fandicosta</a:t>
                      </a:r>
                      <a:endParaRPr lang="fr-CH" sz="600" b="0" i="0" u="none" strike="noStrike" dirty="0">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157497144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0/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Bottom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dirty="0" err="1">
                          <a:solidFill>
                            <a:schemeClr val="tx1"/>
                          </a:solidFill>
                          <a:effectLst/>
                          <a:latin typeface="Nexa Book"/>
                        </a:rPr>
                        <a:t>Fandicosta</a:t>
                      </a:r>
                      <a:endParaRPr lang="fr-CH" sz="600" b="0" i="0" u="none" strike="noStrike" dirty="0">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328338589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0/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Bottom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dirty="0" err="1">
                          <a:solidFill>
                            <a:schemeClr val="tx1"/>
                          </a:solidFill>
                          <a:effectLst/>
                          <a:latin typeface="Nexa Book"/>
                        </a:rPr>
                        <a:t>Fandicosta</a:t>
                      </a:r>
                      <a:endParaRPr lang="fr-CH" sz="600" b="0" i="0" u="none" strike="noStrike" dirty="0">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118679914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0/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Bottom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dirty="0" err="1">
                          <a:solidFill>
                            <a:schemeClr val="tx1"/>
                          </a:solidFill>
                          <a:effectLst/>
                          <a:latin typeface="Nexa Book"/>
                        </a:rPr>
                        <a:t>Fandicosta</a:t>
                      </a:r>
                      <a:endParaRPr lang="fr-CH" sz="600" b="0" i="0" u="none" strike="noStrike" dirty="0">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312976154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0/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Bottom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dirty="0" err="1">
                          <a:solidFill>
                            <a:schemeClr val="tx1"/>
                          </a:solidFill>
                          <a:effectLst/>
                          <a:latin typeface="Nexa Book"/>
                        </a:rPr>
                        <a:t>Fandicosta</a:t>
                      </a:r>
                      <a:endParaRPr lang="fr-CH" sz="600" b="0" i="0" u="none" strike="noStrike" dirty="0">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73924412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0/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Bottom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dirty="0" err="1">
                          <a:solidFill>
                            <a:schemeClr val="tx1"/>
                          </a:solidFill>
                          <a:effectLst/>
                          <a:latin typeface="Nexa Book"/>
                        </a:rPr>
                        <a:t>Fandicosta</a:t>
                      </a:r>
                      <a:endParaRPr lang="fr-CH" sz="600" b="0" i="0" u="none" strike="noStrike" dirty="0">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60177432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0/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Bottom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dirty="0" err="1">
                          <a:solidFill>
                            <a:schemeClr val="tx1"/>
                          </a:solidFill>
                          <a:effectLst/>
                          <a:latin typeface="Nexa Book"/>
                        </a:rPr>
                        <a:t>Fandicosta</a:t>
                      </a:r>
                      <a:endParaRPr lang="fr-CH" sz="600" b="0" i="0" u="none" strike="noStrike" dirty="0">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384837136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0/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Bottom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dirty="0" err="1">
                          <a:solidFill>
                            <a:schemeClr val="tx1"/>
                          </a:solidFill>
                          <a:effectLst/>
                          <a:latin typeface="Nexa Book"/>
                        </a:rPr>
                        <a:t>Fandicosta</a:t>
                      </a:r>
                      <a:endParaRPr lang="fr-CH" sz="600" b="0" i="0" u="none" strike="noStrike" dirty="0">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196459259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0/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Bottom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dirty="0" err="1">
                          <a:solidFill>
                            <a:schemeClr val="tx1"/>
                          </a:solidFill>
                          <a:effectLst/>
                          <a:latin typeface="Nexa Book"/>
                        </a:rPr>
                        <a:t>Fandicosta</a:t>
                      </a:r>
                      <a:endParaRPr lang="fr-CH" sz="600" b="0" i="0" u="none" strike="noStrike" dirty="0">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329101669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0/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Bottom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dirty="0" err="1">
                          <a:solidFill>
                            <a:schemeClr val="tx1"/>
                          </a:solidFill>
                          <a:effectLst/>
                          <a:latin typeface="Nexa Book"/>
                        </a:rPr>
                        <a:t>Fandicosta</a:t>
                      </a:r>
                      <a:endParaRPr lang="fr-CH" sz="600" b="0" i="0" u="none" strike="noStrike" dirty="0">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28258692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1527827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C832E98-8678-A693-5643-768C58A832B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think-cell data - do not delete" hidden="1">
                        <a:extLst>
                          <a:ext uri="{FF2B5EF4-FFF2-40B4-BE49-F238E27FC236}">
                            <a16:creationId xmlns:a16="http://schemas.microsoft.com/office/drawing/2014/main" id="{6C832E98-8678-A693-5643-768C58A832B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6668C3B-0F1A-B558-B548-82860A075A5A}"/>
              </a:ext>
            </a:extLst>
          </p:cNvPr>
          <p:cNvSpPr>
            <a:spLocks noGrp="1"/>
          </p:cNvSpPr>
          <p:nvPr>
            <p:ph type="dt" sz="half" idx="14"/>
          </p:nvPr>
        </p:nvSpPr>
        <p:spPr>
          <a:xfrm>
            <a:off x="8082390" y="4972050"/>
            <a:ext cx="557609" cy="171450"/>
          </a:xfrm>
        </p:spPr>
        <p:txBody>
          <a:bodyPr/>
          <a:lstStyle/>
          <a:p>
            <a:fld id="{D64701B2-2460-45D5-865F-3FB4D1BD3AB0}" type="datetime1">
              <a:rPr lang="en-US"/>
              <a:pPr/>
              <a:t>8/10/2025</a:t>
            </a:fld>
            <a:endParaRPr lang="en-US"/>
          </a:p>
        </p:txBody>
      </p:sp>
      <p:sp>
        <p:nvSpPr>
          <p:cNvPr id="12" name="Footer Placeholder 11">
            <a:extLst>
              <a:ext uri="{FF2B5EF4-FFF2-40B4-BE49-F238E27FC236}">
                <a16:creationId xmlns:a16="http://schemas.microsoft.com/office/drawing/2014/main" id="{7BE67518-82EE-BCF7-A57F-695B8A635C15}"/>
              </a:ext>
            </a:extLst>
          </p:cNvPr>
          <p:cNvSpPr>
            <a:spLocks noGrp="1"/>
          </p:cNvSpPr>
          <p:nvPr>
            <p:ph type="ftr" sz="quarter" idx="15"/>
          </p:nvPr>
        </p:nvSpPr>
        <p:spPr>
          <a:xfrm>
            <a:off x="546969" y="4970700"/>
            <a:ext cx="6451742" cy="174151"/>
          </a:xfrm>
        </p:spPr>
        <p:txBody>
          <a:bodyPr/>
          <a:lstStyle/>
          <a:p>
            <a:endParaRPr lang="en-US"/>
          </a:p>
        </p:txBody>
      </p:sp>
      <p:sp>
        <p:nvSpPr>
          <p:cNvPr id="11" name="Slide Number Placeholder 10">
            <a:extLst>
              <a:ext uri="{FF2B5EF4-FFF2-40B4-BE49-F238E27FC236}">
                <a16:creationId xmlns:a16="http://schemas.microsoft.com/office/drawing/2014/main" id="{09274C1D-4570-8715-ED07-3FEB8DF0862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a:t>
            </a:fld>
            <a:endParaRPr lang="en-US"/>
          </a:p>
        </p:txBody>
      </p:sp>
      <p:sp>
        <p:nvSpPr>
          <p:cNvPr id="5" name="Text Placeholder 4">
            <a:extLst>
              <a:ext uri="{FF2B5EF4-FFF2-40B4-BE49-F238E27FC236}">
                <a16:creationId xmlns:a16="http://schemas.microsoft.com/office/drawing/2014/main" id="{35C8693D-5FD4-2EF0-E1A2-6925D3F77A2E}"/>
              </a:ext>
            </a:extLst>
          </p:cNvPr>
          <p:cNvSpPr>
            <a:spLocks noGrp="1"/>
          </p:cNvSpPr>
          <p:nvPr>
            <p:ph type="body" sz="quarter" idx="17"/>
          </p:nvPr>
        </p:nvSpPr>
        <p:spPr>
          <a:xfrm>
            <a:off x="0" y="4734106"/>
            <a:ext cx="4572000" cy="222878"/>
          </a:xfrm>
        </p:spPr>
        <p:txBody>
          <a:bodyPr/>
          <a:lstStyle/>
          <a:p>
            <a:r>
              <a:rPr lang="en-US"/>
              <a:t>Data Source | Trade Panel | Ending October 2022</a:t>
            </a:r>
            <a:endParaRPr lang="en-GB"/>
          </a:p>
        </p:txBody>
      </p:sp>
      <p:sp>
        <p:nvSpPr>
          <p:cNvPr id="6" name="Text Placeholder 5">
            <a:extLst>
              <a:ext uri="{FF2B5EF4-FFF2-40B4-BE49-F238E27FC236}">
                <a16:creationId xmlns:a16="http://schemas.microsoft.com/office/drawing/2014/main" id="{25943253-D20E-604D-4E1C-0CE846C57D68}"/>
              </a:ext>
            </a:extLst>
          </p:cNvPr>
          <p:cNvSpPr>
            <a:spLocks noGrp="1"/>
          </p:cNvSpPr>
          <p:nvPr>
            <p:ph type="body" sz="quarter" idx="18"/>
          </p:nvPr>
        </p:nvSpPr>
        <p:spPr>
          <a:xfrm>
            <a:off x="503238" y="774000"/>
            <a:ext cx="8136762" cy="360000"/>
          </a:xfrm>
        </p:spPr>
        <p:txBody>
          <a:bodyPr/>
          <a:lstStyle/>
          <a:p>
            <a:r>
              <a:rPr lang="en-US"/>
              <a:t>Bottom 20 Promotions By Value and Incremental | Carrefour | Findus | P12M</a:t>
            </a:r>
          </a:p>
        </p:txBody>
      </p:sp>
      <p:sp>
        <p:nvSpPr>
          <p:cNvPr id="2" name="Title 1">
            <a:extLst>
              <a:ext uri="{FF2B5EF4-FFF2-40B4-BE49-F238E27FC236}">
                <a16:creationId xmlns:a16="http://schemas.microsoft.com/office/drawing/2014/main" id="{3A2AFCBF-9FF3-CC38-88BF-3B549D8E9A08}"/>
              </a:ext>
            </a:extLst>
          </p:cNvPr>
          <p:cNvSpPr>
            <a:spLocks noGrp="1"/>
          </p:cNvSpPr>
          <p:nvPr>
            <p:ph type="title"/>
          </p:nvPr>
        </p:nvSpPr>
        <p:spPr>
          <a:xfrm>
            <a:off x="504000" y="-1"/>
            <a:ext cx="8136000" cy="771525"/>
          </a:xfrm>
        </p:spPr>
        <p:txBody>
          <a:bodyPr vert="horz"/>
          <a:lstStyle/>
          <a:p>
            <a:r>
              <a:rPr lang="en-US" dirty="0">
                <a:highlight>
                  <a:srgbClr val="FFFF00"/>
                </a:highlight>
              </a:rPr>
              <a:t>Bottom 20 promotions CLIENT ONLY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0" name="TextBox 9">
            <a:extLst>
              <a:ext uri="{FF2B5EF4-FFF2-40B4-BE49-F238E27FC236}">
                <a16:creationId xmlns:a16="http://schemas.microsoft.com/office/drawing/2014/main" id="{68238C64-EDC7-6BBA-D314-FCC3C8405F3C}"/>
              </a:ext>
            </a:extLst>
          </p:cNvPr>
          <p:cNvSpPr txBox="1"/>
          <p:nvPr/>
        </p:nvSpPr>
        <p:spPr>
          <a:xfrm>
            <a:off x="2102053" y="4739884"/>
            <a:ext cx="4939903" cy="386054"/>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1000" tIns="54000" rIns="81000" bIns="54000" rtlCol="0" anchor="ctr">
            <a:spAutoFit/>
          </a:bodyPr>
          <a:lstStyle/>
          <a:p>
            <a:pPr algn="ctr" defTabSz="685749">
              <a:defRPr/>
            </a:pPr>
            <a:r>
              <a:rPr lang="en-US" sz="900" dirty="0">
                <a:solidFill>
                  <a:srgbClr val="575555"/>
                </a:solidFill>
                <a:latin typeface="Nexa Book" panose="00000400000000000000" pitchFamily="2" charset="0"/>
              </a:rPr>
              <a:t>Promo Efficiency (Promo Discount Cost vs. Value Uplift)</a:t>
            </a:r>
          </a:p>
          <a:p>
            <a:pPr algn="ctr" defTabSz="685749">
              <a:defRPr/>
            </a:pPr>
            <a:r>
              <a:rPr lang="en-US" sz="900" dirty="0">
                <a:solidFill>
                  <a:srgbClr val="575555"/>
                </a:solidFill>
                <a:latin typeface="Nexa Book" panose="00000400000000000000" pitchFamily="2" charset="0"/>
              </a:rPr>
              <a:t>Good Promotions have High Incr. Value % and High Promo Efficiency</a:t>
            </a:r>
          </a:p>
        </p:txBody>
      </p:sp>
      <p:graphicFrame>
        <p:nvGraphicFramePr>
          <p:cNvPr id="3" name="Table 2">
            <a:extLst>
              <a:ext uri="{FF2B5EF4-FFF2-40B4-BE49-F238E27FC236}">
                <a16:creationId xmlns:a16="http://schemas.microsoft.com/office/drawing/2014/main" id="{C8526F18-9B48-AA97-5928-5A2BA7578A65}"/>
              </a:ext>
            </a:extLst>
          </p:cNvPr>
          <p:cNvGraphicFramePr>
            <a:graphicFrameLocks noGrp="1"/>
          </p:cNvGraphicFramePr>
          <p:nvPr>
            <p:extLst>
              <p:ext uri="{D42A27DB-BD31-4B8C-83A1-F6EECF244321}">
                <p14:modId xmlns:p14="http://schemas.microsoft.com/office/powerpoint/2010/main" val="1625795460"/>
              </p:ext>
            </p:extLst>
          </p:nvPr>
        </p:nvGraphicFramePr>
        <p:xfrm>
          <a:off x="503238" y="1140180"/>
          <a:ext cx="8125623" cy="3596880"/>
        </p:xfrm>
        <a:graphic>
          <a:graphicData uri="http://schemas.openxmlformats.org/drawingml/2006/table">
            <a:tbl>
              <a:tblPr>
                <a:tableStyleId>{5C22544A-7EE6-4342-B048-85BDC9FD1C3A}</a:tableStyleId>
              </a:tblPr>
              <a:tblGrid>
                <a:gridCol w="675512">
                  <a:extLst>
                    <a:ext uri="{9D8B030D-6E8A-4147-A177-3AD203B41FA5}">
                      <a16:colId xmlns:a16="http://schemas.microsoft.com/office/drawing/2014/main" val="1501131934"/>
                    </a:ext>
                  </a:extLst>
                </a:gridCol>
                <a:gridCol w="2101940">
                  <a:extLst>
                    <a:ext uri="{9D8B030D-6E8A-4147-A177-3AD203B41FA5}">
                      <a16:colId xmlns:a16="http://schemas.microsoft.com/office/drawing/2014/main" val="2311344327"/>
                    </a:ext>
                  </a:extLst>
                </a:gridCol>
                <a:gridCol w="442052">
                  <a:extLst>
                    <a:ext uri="{9D8B030D-6E8A-4147-A177-3AD203B41FA5}">
                      <a16:colId xmlns:a16="http://schemas.microsoft.com/office/drawing/2014/main" val="1397006601"/>
                    </a:ext>
                  </a:extLst>
                </a:gridCol>
                <a:gridCol w="399274">
                  <a:extLst>
                    <a:ext uri="{9D8B030D-6E8A-4147-A177-3AD203B41FA5}">
                      <a16:colId xmlns:a16="http://schemas.microsoft.com/office/drawing/2014/main" val="350003835"/>
                    </a:ext>
                  </a:extLst>
                </a:gridCol>
                <a:gridCol w="549002">
                  <a:extLst>
                    <a:ext uri="{9D8B030D-6E8A-4147-A177-3AD203B41FA5}">
                      <a16:colId xmlns:a16="http://schemas.microsoft.com/office/drawing/2014/main" val="4070181876"/>
                    </a:ext>
                  </a:extLst>
                </a:gridCol>
                <a:gridCol w="494997">
                  <a:extLst>
                    <a:ext uri="{9D8B030D-6E8A-4147-A177-3AD203B41FA5}">
                      <a16:colId xmlns:a16="http://schemas.microsoft.com/office/drawing/2014/main" val="3266894969"/>
                    </a:ext>
                  </a:extLst>
                </a:gridCol>
                <a:gridCol w="588748">
                  <a:extLst>
                    <a:ext uri="{9D8B030D-6E8A-4147-A177-3AD203B41FA5}">
                      <a16:colId xmlns:a16="http://schemas.microsoft.com/office/drawing/2014/main" val="1221530275"/>
                    </a:ext>
                  </a:extLst>
                </a:gridCol>
                <a:gridCol w="392144">
                  <a:extLst>
                    <a:ext uri="{9D8B030D-6E8A-4147-A177-3AD203B41FA5}">
                      <a16:colId xmlns:a16="http://schemas.microsoft.com/office/drawing/2014/main" val="4088827830"/>
                    </a:ext>
                  </a:extLst>
                </a:gridCol>
                <a:gridCol w="392144">
                  <a:extLst>
                    <a:ext uri="{9D8B030D-6E8A-4147-A177-3AD203B41FA5}">
                      <a16:colId xmlns:a16="http://schemas.microsoft.com/office/drawing/2014/main" val="2980323295"/>
                    </a:ext>
                  </a:extLst>
                </a:gridCol>
                <a:gridCol w="541870">
                  <a:extLst>
                    <a:ext uri="{9D8B030D-6E8A-4147-A177-3AD203B41FA5}">
                      <a16:colId xmlns:a16="http://schemas.microsoft.com/office/drawing/2014/main" val="4113031225"/>
                    </a:ext>
                  </a:extLst>
                </a:gridCol>
                <a:gridCol w="515980">
                  <a:extLst>
                    <a:ext uri="{9D8B030D-6E8A-4147-A177-3AD203B41FA5}">
                      <a16:colId xmlns:a16="http://schemas.microsoft.com/office/drawing/2014/main" val="3240777672"/>
                    </a:ext>
                  </a:extLst>
                </a:gridCol>
                <a:gridCol w="515980">
                  <a:extLst>
                    <a:ext uri="{9D8B030D-6E8A-4147-A177-3AD203B41FA5}">
                      <a16:colId xmlns:a16="http://schemas.microsoft.com/office/drawing/2014/main" val="1040395243"/>
                    </a:ext>
                  </a:extLst>
                </a:gridCol>
                <a:gridCol w="515980">
                  <a:extLst>
                    <a:ext uri="{9D8B030D-6E8A-4147-A177-3AD203B41FA5}">
                      <a16:colId xmlns:a16="http://schemas.microsoft.com/office/drawing/2014/main" val="3070416558"/>
                    </a:ext>
                  </a:extLst>
                </a:gridCol>
              </a:tblGrid>
              <a:tr h="355560">
                <a:tc>
                  <a:txBody>
                    <a:bodyPr/>
                    <a:lstStyle/>
                    <a:p>
                      <a:pPr algn="ctr" fontAlgn="b"/>
                      <a:r>
                        <a:rPr lang="en-US" sz="700" b="0" i="0" u="none" strike="noStrike">
                          <a:solidFill>
                            <a:schemeClr val="tx2"/>
                          </a:solidFill>
                          <a:effectLst/>
                          <a:latin typeface="Nexa Bold"/>
                        </a:rPr>
                        <a:t>BRAN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TEM</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Discount Depth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SOD</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helf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Price/Uni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Value</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alu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Volume Uplift</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Incr Value</a:t>
                      </a:r>
                      <a:endParaRPr lang="en-US" sz="1800"/>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Promo Efficiency</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Sales margin %</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700" b="0" i="0" u="none" strike="noStrike">
                          <a:solidFill>
                            <a:schemeClr val="tx2"/>
                          </a:solidFill>
                          <a:effectLst/>
                          <a:latin typeface="Nexa Bold"/>
                        </a:rPr>
                        <a:t>Action</a:t>
                      </a:r>
                    </a:p>
                  </a:txBody>
                  <a:tcPr marL="3473" marR="3473" marT="27000" marB="0">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8527695"/>
                  </a:ext>
                </a:extLst>
              </a:tr>
              <a:tr h="162066">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S.A.</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l" fontAlgn="ctr"/>
                      <a:r>
                        <a:rPr lang="fr-CH" sz="600" b="0" i="0" u="none" strike="noStrike">
                          <a:solidFill>
                            <a:schemeClr val="tx1"/>
                          </a:solidFill>
                          <a:effectLst/>
                          <a:latin typeface="Nexa Book"/>
                        </a:rPr>
                        <a:t>Pescanova S.a. Natural Gamberi 2000GR</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0%</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25.11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19.97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 €      709’013 </a:t>
                      </a:r>
                      <a:endParaRPr lang="en-CH" sz="600" b="0" i="0" u="none" strike="noStrike">
                        <a:solidFill>
                          <a:schemeClr val="tx1"/>
                        </a:solidFill>
                        <a:effectLst/>
                        <a:latin typeface="Nexa Book" panose="00000400000000000000" pitchFamily="2" charset="0"/>
                      </a:endParaRP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29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81%</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lvl="0" algn="ctr">
                        <a:buNone/>
                      </a:pPr>
                      <a:r>
                        <a:rPr lang="en-CH" sz="600" b="0" i="0" u="none" strike="noStrike">
                          <a:solidFill>
                            <a:schemeClr val="tx1"/>
                          </a:solidFill>
                          <a:effectLst/>
                          <a:latin typeface="Nexa Book"/>
                        </a:rPr>
                        <a:t>€16</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ctr"/>
                      <a:r>
                        <a:rPr lang="en-CH" sz="600" b="0" i="0" u="none" strike="noStrike">
                          <a:solidFill>
                            <a:schemeClr val="tx1"/>
                          </a:solidFill>
                          <a:effectLst/>
                          <a:latin typeface="Nexa Book"/>
                        </a:rPr>
                        <a:t>329%</a:t>
                      </a:r>
                    </a:p>
                  </a:txBody>
                  <a:tcPr marL="2858" marR="2858" marT="2858" marB="0" anchor="ctr">
                    <a:lnT w="12700" cap="flat" cmpd="sng" algn="ctr">
                      <a:solidFill>
                        <a:schemeClr val="accent1"/>
                      </a:solidFill>
                      <a:prstDash val="solid"/>
                      <a:round/>
                      <a:headEnd type="none" w="med" len="med"/>
                      <a:tailEnd type="none" w="med" len="med"/>
                    </a:lnT>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lnT w="12700" cap="flat" cmpd="sng" algn="ctr">
                      <a:solidFill>
                        <a:schemeClr val="accent1"/>
                      </a:solidFill>
                      <a:prstDash val="solid"/>
                      <a:round/>
                      <a:headEnd type="none" w="med" len="med"/>
                      <a:tailEnd type="none" w="med" len="med"/>
                    </a:lnT>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971145271"/>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Totani</a:t>
                      </a:r>
                      <a:r>
                        <a:rPr lang="fr-CH" sz="600" b="0" i="0" u="none" strike="noStrike" dirty="0">
                          <a:solidFill>
                            <a:schemeClr val="tx1"/>
                          </a:solidFill>
                          <a:effectLst/>
                          <a:latin typeface="Nexa Book"/>
                        </a:rPr>
                        <a:t>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2%</a:t>
                      </a:r>
                    </a:p>
                  </a:txBody>
                  <a:tcPr marL="2858" marR="2858" marT="2858" marB="0" anchor="ctr">
                    <a:noFill/>
                  </a:tcPr>
                </a:tc>
                <a:tc>
                  <a:txBody>
                    <a:bodyPr/>
                    <a:lstStyle/>
                    <a:p>
                      <a:pPr algn="ctr" fontAlgn="ctr"/>
                      <a:r>
                        <a:rPr lang="en-CH" sz="600" b="0" i="0" u="none" strike="noStrike">
                          <a:solidFill>
                            <a:schemeClr val="tx1"/>
                          </a:solidFill>
                          <a:effectLst/>
                          <a:latin typeface="Nexa Book"/>
                        </a:rPr>
                        <a:t> €      5.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63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8%</a:t>
                      </a:r>
                    </a:p>
                  </a:txBody>
                  <a:tcPr marL="2858" marR="2858" marT="2858" marB="0" anchor="ctr">
                    <a:noFill/>
                  </a:tcPr>
                </a:tc>
                <a:tc>
                  <a:txBody>
                    <a:bodyPr/>
                    <a:lstStyle/>
                    <a:p>
                      <a:pPr algn="ctr" fontAlgn="ctr"/>
                      <a:r>
                        <a:rPr lang="en-CH" sz="600" b="0" i="0" u="none" strike="noStrike">
                          <a:solidFill>
                            <a:schemeClr val="tx1"/>
                          </a:solidFill>
                          <a:effectLst/>
                          <a:latin typeface="Nexa Book"/>
                        </a:rPr>
                        <a:t>11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54</a:t>
                      </a:r>
                    </a:p>
                  </a:txBody>
                  <a:tcPr marL="2858" marR="2858" marT="2858" marB="0" anchor="ctr">
                    <a:noFill/>
                  </a:tcPr>
                </a:tc>
                <a:tc>
                  <a:txBody>
                    <a:bodyPr/>
                    <a:lstStyle/>
                    <a:p>
                      <a:pPr algn="ctr" fontAlgn="ctr"/>
                      <a:r>
                        <a:rPr lang="en-CH" sz="600" b="0" i="0" u="none" strike="noStrike">
                          <a:solidFill>
                            <a:schemeClr val="tx1"/>
                          </a:solidFill>
                          <a:effectLst/>
                          <a:latin typeface="Nexa Book"/>
                        </a:rPr>
                        <a:t>2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312036279"/>
                  </a:ext>
                </a:extLst>
              </a:tr>
              <a:tr h="162066">
                <a:tc>
                  <a:txBody>
                    <a:bodyPr/>
                    <a:lstStyle/>
                    <a:p>
                      <a:pPr algn="l" fontAlgn="ctr"/>
                      <a:r>
                        <a:rPr lang="fr-CH" sz="600" b="0" i="0" u="none" strike="noStrike">
                          <a:solidFill>
                            <a:schemeClr val="tx1"/>
                          </a:solidFill>
                          <a:effectLst/>
                          <a:latin typeface="Nexa Book"/>
                        </a:rPr>
                        <a:t>Pescanova S.A.</a:t>
                      </a: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escanova</a:t>
                      </a:r>
                      <a:r>
                        <a:rPr lang="fr-CH" sz="600" b="0" i="0" u="none" strike="noStrike" dirty="0">
                          <a:solidFill>
                            <a:schemeClr val="tx1"/>
                          </a:solidFill>
                          <a:effectLst/>
                          <a:latin typeface="Nexa Book"/>
                        </a:rPr>
                        <a:t> </a:t>
                      </a:r>
                      <a:r>
                        <a:rPr lang="fr-CH" sz="600" b="0" i="0" u="none" strike="noStrike" dirty="0" err="1">
                          <a:solidFill>
                            <a:schemeClr val="tx1"/>
                          </a:solidFill>
                          <a:effectLst/>
                          <a:latin typeface="Nexa Book"/>
                        </a:rPr>
                        <a:t>S.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Polpi</a:t>
                      </a:r>
                      <a:r>
                        <a:rPr lang="fr-CH" sz="600" b="0" i="0" u="none" strike="noStrike" dirty="0">
                          <a:solidFill>
                            <a:schemeClr val="tx1"/>
                          </a:solidFill>
                          <a:effectLst/>
                          <a:latin typeface="Nexa Book"/>
                        </a:rPr>
                        <a:t> 1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57%</a:t>
                      </a:r>
                    </a:p>
                  </a:txBody>
                  <a:tcPr marL="2858" marR="2858" marT="2858" marB="0" anchor="ctr">
                    <a:noFill/>
                  </a:tcPr>
                </a:tc>
                <a:tc>
                  <a:txBody>
                    <a:bodyPr/>
                    <a:lstStyle/>
                    <a:p>
                      <a:pPr algn="ctr" fontAlgn="ctr"/>
                      <a:r>
                        <a:rPr lang="en-CH" sz="600" b="0" i="0" u="none" strike="noStrike">
                          <a:solidFill>
                            <a:schemeClr val="tx1"/>
                          </a:solidFill>
                          <a:effectLst/>
                          <a:latin typeface="Nexa Book"/>
                        </a:rPr>
                        <a:t> €   16.2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0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28’53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16%</a:t>
                      </a:r>
                    </a:p>
                  </a:txBody>
                  <a:tcPr marL="2858" marR="2858" marT="2858" marB="0" anchor="ctr">
                    <a:noFill/>
                  </a:tcPr>
                </a:tc>
                <a:tc>
                  <a:txBody>
                    <a:bodyPr/>
                    <a:lstStyle/>
                    <a:p>
                      <a:pPr algn="ctr" fontAlgn="ctr"/>
                      <a:r>
                        <a:rPr lang="en-CH" sz="600" b="0" i="0" u="none" strike="noStrike">
                          <a:solidFill>
                            <a:schemeClr val="tx1"/>
                          </a:solidFill>
                          <a:effectLst/>
                          <a:latin typeface="Nexa Book"/>
                        </a:rPr>
                        <a:t>14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5543</a:t>
                      </a:r>
                    </a:p>
                  </a:txBody>
                  <a:tcPr marL="2858" marR="2858" marT="2858" marB="0" anchor="ctr">
                    <a:noFill/>
                  </a:tcPr>
                </a:tc>
                <a:tc>
                  <a:txBody>
                    <a:bodyPr/>
                    <a:lstStyle/>
                    <a:p>
                      <a:pPr algn="ctr" fontAlgn="ctr"/>
                      <a:r>
                        <a:rPr lang="en-CH" sz="600" b="0" i="0" u="none" strike="noStrike">
                          <a:solidFill>
                            <a:schemeClr val="tx1"/>
                          </a:solidFill>
                          <a:effectLst/>
                          <a:latin typeface="Nexa Book"/>
                        </a:rPr>
                        <a:t>28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1626411495"/>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dirty="0" err="1">
                          <a:solidFill>
                            <a:schemeClr val="tx1"/>
                          </a:solidFill>
                          <a:effectLst/>
                          <a:latin typeface="Nexa Book"/>
                        </a:rPr>
                        <a:t>Panapesca</a:t>
                      </a:r>
                      <a:r>
                        <a:rPr lang="fr-CH" sz="600" b="0" i="0" u="none" strike="noStrike" dirty="0">
                          <a:solidFill>
                            <a:schemeClr val="tx1"/>
                          </a:solidFill>
                          <a:effectLst/>
                          <a:latin typeface="Nexa Book"/>
                        </a:rPr>
                        <a:t> Natural </a:t>
                      </a:r>
                      <a:r>
                        <a:rPr lang="fr-CH" sz="600" b="0" i="0" u="none" strike="noStrike" dirty="0" err="1">
                          <a:solidFill>
                            <a:schemeClr val="tx1"/>
                          </a:solidFill>
                          <a:effectLst/>
                          <a:latin typeface="Nexa Book"/>
                        </a:rPr>
                        <a:t>Mazzancolle</a:t>
                      </a:r>
                      <a:r>
                        <a:rPr lang="fr-CH" sz="600" b="0" i="0" u="none" strike="noStrike">
                          <a:solidFill>
                            <a:schemeClr val="tx1"/>
                          </a:solidFill>
                          <a:effectLst/>
                          <a:latin typeface="Nexa Book"/>
                        </a:rPr>
                        <a:t>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5.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9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1’98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9%</a:t>
                      </a:r>
                    </a:p>
                  </a:txBody>
                  <a:tcPr marL="2858" marR="2858" marT="2858" marB="0" anchor="ctr">
                    <a:noFill/>
                  </a:tcPr>
                </a:tc>
                <a:tc>
                  <a:txBody>
                    <a:bodyPr/>
                    <a:lstStyle/>
                    <a:p>
                      <a:pPr algn="ctr" fontAlgn="ctr"/>
                      <a:r>
                        <a:rPr lang="en-CH" sz="600" b="0" i="0" u="none" strike="noStrike">
                          <a:solidFill>
                            <a:schemeClr val="tx1"/>
                          </a:solidFill>
                          <a:effectLst/>
                          <a:latin typeface="Nexa Book"/>
                        </a:rPr>
                        <a:t>79%</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75435</a:t>
                      </a:r>
                    </a:p>
                  </a:txBody>
                  <a:tcPr marL="2858" marR="2858" marT="2858" marB="0" anchor="ctr">
                    <a:noFill/>
                  </a:tcPr>
                </a:tc>
                <a:tc>
                  <a:txBody>
                    <a:bodyPr/>
                    <a:lstStyle/>
                    <a:p>
                      <a:pPr algn="ctr" fontAlgn="ctr"/>
                      <a:r>
                        <a:rPr lang="en-CH" sz="600" b="0" i="0" u="none" strike="noStrike">
                          <a:solidFill>
                            <a:schemeClr val="tx1"/>
                          </a:solidFill>
                          <a:effectLst/>
                          <a:latin typeface="Nexa Book"/>
                        </a:rPr>
                        <a:t>24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724819055"/>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it-IT" sz="600" b="0" i="0" u="none" strike="noStrike">
                          <a:solidFill>
                            <a:schemeClr val="tx1"/>
                          </a:solidFill>
                          <a:effectLst/>
                          <a:latin typeface="Nexa Book"/>
                        </a:rPr>
                        <a:t>Arbi Dario Spa Misto Scoglio Bianco 4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 €      5.1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6’9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28%</a:t>
                      </a:r>
                    </a:p>
                  </a:txBody>
                  <a:tcPr marL="2858" marR="2858" marT="2858" marB="0" anchor="ctr">
                    <a:noFill/>
                  </a:tcPr>
                </a:tc>
                <a:tc>
                  <a:txBody>
                    <a:bodyPr/>
                    <a:lstStyle/>
                    <a:p>
                      <a:pPr algn="ctr" fontAlgn="ctr"/>
                      <a:r>
                        <a:rPr lang="en-CH" sz="600" b="0" i="0" u="none" strike="noStrike">
                          <a:solidFill>
                            <a:schemeClr val="tx1"/>
                          </a:solidFill>
                          <a:effectLst/>
                          <a:latin typeface="Nexa Book"/>
                        </a:rPr>
                        <a:t>18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135</a:t>
                      </a:r>
                    </a:p>
                  </a:txBody>
                  <a:tcPr marL="2858" marR="2858" marT="2858" marB="0" anchor="ctr">
                    <a:noFill/>
                  </a:tcPr>
                </a:tc>
                <a:tc>
                  <a:txBody>
                    <a:bodyPr/>
                    <a:lstStyle/>
                    <a:p>
                      <a:pPr algn="ctr" fontAlgn="ctr"/>
                      <a:r>
                        <a:rPr lang="en-CH" sz="600" b="0" i="0" u="none" strike="noStrike">
                          <a:solidFill>
                            <a:schemeClr val="tx1"/>
                          </a:solidFill>
                          <a:effectLst/>
                          <a:latin typeface="Nexa Book"/>
                        </a:rPr>
                        <a:t>22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644045330"/>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8%</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algn="ctr" fontAlgn="ctr"/>
                      <a:r>
                        <a:rPr lang="en-CH" sz="600" b="0" i="0" u="none" strike="noStrike">
                          <a:solidFill>
                            <a:schemeClr val="tx1"/>
                          </a:solidFill>
                          <a:effectLst/>
                          <a:latin typeface="Nexa Book"/>
                        </a:rPr>
                        <a:t> €   14.5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2’34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261%</a:t>
                      </a:r>
                    </a:p>
                  </a:txBody>
                  <a:tcPr marL="2858" marR="2858" marT="2858" marB="0" anchor="ctr">
                    <a:noFill/>
                  </a:tcPr>
                </a:tc>
                <a:tc>
                  <a:txBody>
                    <a:bodyPr/>
                    <a:lstStyle/>
                    <a:p>
                      <a:pPr algn="ctr" fontAlgn="ctr"/>
                      <a:r>
                        <a:rPr lang="en-CH" sz="600" b="0" i="0" u="none" strike="noStrike">
                          <a:solidFill>
                            <a:schemeClr val="tx1"/>
                          </a:solidFill>
                          <a:effectLst/>
                          <a:latin typeface="Nexa Book"/>
                        </a:rPr>
                        <a:t>37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634</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781558110"/>
                  </a:ext>
                </a:extLst>
              </a:tr>
              <a:tr h="162066">
                <a:tc>
                  <a:txBody>
                    <a:bodyPr/>
                    <a:lstStyle/>
                    <a:p>
                      <a:pPr algn="l" fontAlgn="ctr"/>
                      <a:r>
                        <a:rPr lang="fr-CH" sz="600" b="0" i="0" u="none" strike="noStrike" dirty="0" err="1">
                          <a:solidFill>
                            <a:schemeClr val="tx1"/>
                          </a:solidFill>
                          <a:effectLst/>
                          <a:latin typeface="Nexa Book"/>
                        </a:rPr>
                        <a:t>Fandicosta</a:t>
                      </a:r>
                      <a:endParaRPr lang="fr-CH" sz="600" b="0" i="0" u="none" strike="noStrike" dirty="0">
                        <a:solidFill>
                          <a:schemeClr val="tx1"/>
                        </a:solidFill>
                        <a:effectLst/>
                        <a:latin typeface="Nexa Book"/>
                      </a:endParaRPr>
                    </a:p>
                  </a:txBody>
                  <a:tcPr marL="2858" marR="2858" marT="2858" marB="0" anchor="ctr">
                    <a:noFill/>
                  </a:tcPr>
                </a:tc>
                <a:tc>
                  <a:txBody>
                    <a:bodyPr/>
                    <a:lstStyle/>
                    <a:p>
                      <a:pPr algn="l" fontAlgn="ctr"/>
                      <a:r>
                        <a:rPr lang="it-IT" sz="600" b="0" i="0" u="none" strike="noStrike" dirty="0">
                          <a:solidFill>
                            <a:schemeClr val="tx1"/>
                          </a:solidFill>
                          <a:effectLst/>
                          <a:latin typeface="Nexa Book"/>
                        </a:rPr>
                        <a:t>Fandicosta Fillets Nasello Bk 6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5%</a:t>
                      </a:r>
                    </a:p>
                  </a:txBody>
                  <a:tcPr marL="2858" marR="2858" marT="2858" marB="0" anchor="ctr">
                    <a:noFill/>
                  </a:tcPr>
                </a:tc>
                <a:tc>
                  <a:txBody>
                    <a:bodyPr/>
                    <a:lstStyle/>
                    <a:p>
                      <a:pPr algn="ctr" fontAlgn="ctr"/>
                      <a:r>
                        <a:rPr lang="en-CH" sz="600" b="0" i="0" u="none" strike="noStrike">
                          <a:solidFill>
                            <a:schemeClr val="tx1"/>
                          </a:solidFill>
                          <a:effectLst/>
                          <a:latin typeface="Nexa Book"/>
                        </a:rPr>
                        <a:t>30%</a:t>
                      </a:r>
                    </a:p>
                  </a:txBody>
                  <a:tcPr marL="2858" marR="2858" marT="2858" marB="0" anchor="ctr">
                    <a:noFill/>
                  </a:tcPr>
                </a:tc>
                <a:tc>
                  <a:txBody>
                    <a:bodyPr/>
                    <a:lstStyle/>
                    <a:p>
                      <a:pPr algn="ctr" fontAlgn="ctr"/>
                      <a:r>
                        <a:rPr lang="en-CH" sz="600" b="0" i="0" u="none" strike="noStrike">
                          <a:solidFill>
                            <a:schemeClr val="tx1"/>
                          </a:solidFill>
                          <a:effectLst/>
                          <a:latin typeface="Nexa Book"/>
                        </a:rPr>
                        <a:t> €      5.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0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3’55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6%</a:t>
                      </a: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35</a:t>
                      </a:r>
                    </a:p>
                  </a:txBody>
                  <a:tcPr marL="2858" marR="2858" marT="2858" marB="0" anchor="ctr">
                    <a:noFill/>
                  </a:tcPr>
                </a:tc>
                <a:tc>
                  <a:txBody>
                    <a:bodyPr/>
                    <a:lstStyle/>
                    <a:p>
                      <a:pPr algn="ctr" fontAlgn="ctr"/>
                      <a:r>
                        <a:rPr lang="en-CH" sz="600" b="0" i="0" u="none" strike="noStrike">
                          <a:solidFill>
                            <a:schemeClr val="tx1"/>
                          </a:solidFill>
                          <a:effectLst/>
                          <a:latin typeface="Nexa Book"/>
                        </a:rPr>
                        <a:t>216%</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5975895"/>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D Alaska Chips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35%</a:t>
                      </a:r>
                    </a:p>
                  </a:txBody>
                  <a:tcPr marL="2858" marR="2858" marT="2858" marB="0" anchor="ctr">
                    <a:noFill/>
                  </a:tcPr>
                </a:tc>
                <a:tc>
                  <a:txBody>
                    <a:bodyPr/>
                    <a:lstStyle/>
                    <a:p>
                      <a:pPr algn="ctr" fontAlgn="ctr"/>
                      <a:r>
                        <a:rPr lang="en-CH" sz="600" b="0" i="0" u="none" strike="noStrike">
                          <a:solidFill>
                            <a:schemeClr val="tx1"/>
                          </a:solidFill>
                          <a:effectLst/>
                          <a:latin typeface="Nexa Book"/>
                        </a:rPr>
                        <a:t> €      3.4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7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8’02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1%</a:t>
                      </a:r>
                    </a:p>
                  </a:txBody>
                  <a:tcPr marL="2858" marR="2858" marT="2858" marB="0" anchor="ctr">
                    <a:noFill/>
                  </a:tcPr>
                </a:tc>
                <a:tc>
                  <a:txBody>
                    <a:bodyPr/>
                    <a:lstStyle/>
                    <a:p>
                      <a:pPr algn="ctr" fontAlgn="ctr"/>
                      <a:r>
                        <a:rPr lang="en-CH" sz="600" b="0" i="0" u="none" strike="noStrike">
                          <a:solidFill>
                            <a:schemeClr val="tx1"/>
                          </a:solidFill>
                          <a:effectLst/>
                          <a:latin typeface="Nexa Book"/>
                        </a:rPr>
                        <a:t>94%</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535</a:t>
                      </a:r>
                    </a:p>
                  </a:txBody>
                  <a:tcPr marL="2858" marR="2858" marT="2858" marB="0" anchor="ctr">
                    <a:noFill/>
                  </a:tcPr>
                </a:tc>
                <a:tc>
                  <a:txBody>
                    <a:bodyPr/>
                    <a:lstStyle/>
                    <a:p>
                      <a:pPr algn="ctr" fontAlgn="ctr"/>
                      <a:r>
                        <a:rPr lang="en-CH" sz="600" b="0" i="0" u="none" strike="noStrike">
                          <a:solidFill>
                            <a:schemeClr val="tx1"/>
                          </a:solidFill>
                          <a:effectLst/>
                          <a:latin typeface="Nexa Book"/>
                        </a:rPr>
                        <a:t>20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61829841"/>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llets Merluzzo Bk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7%</a:t>
                      </a:r>
                    </a:p>
                  </a:txBody>
                  <a:tcPr marL="2858" marR="2858" marT="2858" marB="0" anchor="ctr">
                    <a:noFill/>
                  </a:tcPr>
                </a:tc>
                <a:tc>
                  <a:txBody>
                    <a:bodyPr/>
                    <a:lstStyle/>
                    <a:p>
                      <a:pPr algn="ctr" fontAlgn="ctr"/>
                      <a:r>
                        <a:rPr lang="en-CH" sz="600" b="0" i="0" u="none" strike="noStrike">
                          <a:solidFill>
                            <a:schemeClr val="tx1"/>
                          </a:solidFill>
                          <a:effectLst/>
                          <a:latin typeface="Nexa Book"/>
                        </a:rPr>
                        <a:t>37%</a:t>
                      </a:r>
                    </a:p>
                  </a:txBody>
                  <a:tcPr marL="2858" marR="2858" marT="2858" marB="0" anchor="ctr">
                    <a:noFill/>
                  </a:tcPr>
                </a:tc>
                <a:tc>
                  <a:txBody>
                    <a:bodyPr/>
                    <a:lstStyle/>
                    <a:p>
                      <a:pPr algn="ctr" fontAlgn="ctr"/>
                      <a:r>
                        <a:rPr lang="en-CH" sz="600" b="0" i="0" u="none" strike="noStrike">
                          <a:solidFill>
                            <a:schemeClr val="tx1"/>
                          </a:solidFill>
                          <a:effectLst/>
                          <a:latin typeface="Nexa Book"/>
                        </a:rPr>
                        <a:t> €      4.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38’3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33%</a:t>
                      </a: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3835</a:t>
                      </a:r>
                    </a:p>
                  </a:txBody>
                  <a:tcPr marL="2858" marR="2858" marT="2858" marB="0" anchor="ctr">
                    <a:noFill/>
                  </a:tcPr>
                </a:tc>
                <a:tc>
                  <a:txBody>
                    <a:bodyPr/>
                    <a:lstStyle/>
                    <a:p>
                      <a:pPr algn="ctr" fontAlgn="ctr"/>
                      <a:r>
                        <a:rPr lang="en-CH" sz="600" b="0" i="0" u="none" strike="noStrike">
                          <a:solidFill>
                            <a:schemeClr val="tx1"/>
                          </a:solidFill>
                          <a:effectLst/>
                          <a:latin typeface="Nexa Book"/>
                        </a:rPr>
                        <a:t>204%</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92605199"/>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atinata 4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5%</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3.0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2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2’02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81%</a:t>
                      </a:r>
                    </a:p>
                  </a:txBody>
                  <a:tcPr marL="2858" marR="2858" marT="2858" marB="0" anchor="ctr">
                    <a:noFill/>
                  </a:tcPr>
                </a:tc>
                <a:tc>
                  <a:txBody>
                    <a:bodyPr/>
                    <a:lstStyle/>
                    <a:p>
                      <a:pPr algn="ctr" fontAlgn="ctr"/>
                      <a:r>
                        <a:rPr lang="en-CH" sz="600" b="0" i="0" u="none" strike="noStrike">
                          <a:solidFill>
                            <a:schemeClr val="tx1"/>
                          </a:solidFill>
                          <a:effectLst/>
                          <a:latin typeface="Nexa Book"/>
                        </a:rPr>
                        <a:t>26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4035</a:t>
                      </a:r>
                    </a:p>
                  </a:txBody>
                  <a:tcPr marL="2858" marR="2858" marT="2858" marB="0" anchor="ctr">
                    <a:noFill/>
                  </a:tcPr>
                </a:tc>
                <a:tc>
                  <a:txBody>
                    <a:bodyPr/>
                    <a:lstStyle/>
                    <a:p>
                      <a:pPr algn="ctr" fontAlgn="ctr"/>
                      <a:r>
                        <a:rPr lang="en-CH" sz="600" b="0" i="0" u="none" strike="noStrike">
                          <a:solidFill>
                            <a:schemeClr val="tx1"/>
                          </a:solidFill>
                          <a:effectLst/>
                          <a:latin typeface="Nexa Book"/>
                        </a:rPr>
                        <a:t>201%</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722255941"/>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Pollack Alaska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31%</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3.81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2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7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4%</a:t>
                      </a:r>
                    </a:p>
                  </a:txBody>
                  <a:tcPr marL="2858" marR="2858" marT="2858" marB="0" anchor="ctr">
                    <a:noFill/>
                  </a:tcPr>
                </a:tc>
                <a:tc>
                  <a:txBody>
                    <a:bodyPr/>
                    <a:lstStyle/>
                    <a:p>
                      <a:pPr algn="ctr" fontAlgn="ctr"/>
                      <a:r>
                        <a:rPr lang="en-CH" sz="600" b="0" i="0" u="none" strike="noStrike">
                          <a:solidFill>
                            <a:schemeClr val="tx1"/>
                          </a:solidFill>
                          <a:effectLst/>
                          <a:latin typeface="Nexa Book"/>
                        </a:rPr>
                        <a:t>7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3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97%</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10460347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it-IT" sz="600" b="0" i="0" u="none" strike="noStrike">
                          <a:solidFill>
                            <a:schemeClr val="tx1"/>
                          </a:solidFill>
                          <a:effectLst/>
                          <a:latin typeface="Nexa Book"/>
                        </a:rPr>
                        <a:t>Private Label Merluzzo Grigliato 2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39%</a:t>
                      </a:r>
                    </a:p>
                  </a:txBody>
                  <a:tcPr marL="2858" marR="2858" marT="2858" marB="0" anchor="ctr">
                    <a:noFill/>
                  </a:tcPr>
                </a:tc>
                <a:tc>
                  <a:txBody>
                    <a:bodyPr/>
                    <a:lstStyle/>
                    <a:p>
                      <a:pPr algn="ctr" fontAlgn="ctr"/>
                      <a:r>
                        <a:rPr lang="en-CH" sz="600" b="0" i="0" u="none" strike="noStrike">
                          <a:solidFill>
                            <a:schemeClr val="tx1"/>
                          </a:solidFill>
                          <a:effectLst/>
                          <a:latin typeface="Nexa Book"/>
                        </a:rPr>
                        <a:t> €      3.5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8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5’04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3</a:t>
                      </a:r>
                    </a:p>
                  </a:txBody>
                  <a:tcPr marL="2858" marR="2858" marT="2858" marB="0" anchor="ctr">
                    <a:noFill/>
                  </a:tcPr>
                </a:tc>
                <a:tc>
                  <a:txBody>
                    <a:bodyPr/>
                    <a:lstStyle/>
                    <a:p>
                      <a:pPr algn="ctr" fontAlgn="ctr"/>
                      <a:r>
                        <a:rPr lang="en-CH" sz="600" b="0" i="0" u="none" strike="noStrike">
                          <a:solidFill>
                            <a:schemeClr val="tx1"/>
                          </a:solidFill>
                          <a:effectLst/>
                          <a:latin typeface="Nexa Book"/>
                        </a:rPr>
                        <a:t>195%</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078254183"/>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Gamberetti 20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6%</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4.8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0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14’85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5%</a:t>
                      </a:r>
                    </a:p>
                  </a:txBody>
                  <a:tcPr marL="2858" marR="2858" marT="2858" marB="0" anchor="ctr">
                    <a:noFill/>
                  </a:tcPr>
                </a:tc>
                <a:tc>
                  <a:txBody>
                    <a:bodyPr/>
                    <a:lstStyle/>
                    <a:p>
                      <a:pPr algn="ctr" fontAlgn="ctr"/>
                      <a:r>
                        <a:rPr lang="en-CH" sz="600" b="0" i="0" u="none" strike="noStrike">
                          <a:solidFill>
                            <a:schemeClr val="tx1"/>
                          </a:solidFill>
                          <a:effectLst/>
                          <a:latin typeface="Nexa Book"/>
                        </a:rPr>
                        <a:t>8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3</a:t>
                      </a:r>
                    </a:p>
                  </a:txBody>
                  <a:tcPr marL="2858" marR="2858" marT="2858" marB="0" anchor="ctr">
                    <a:noFill/>
                  </a:tcPr>
                </a:tc>
                <a:tc>
                  <a:txBody>
                    <a:bodyPr/>
                    <a:lstStyle/>
                    <a:p>
                      <a:pPr algn="ctr" fontAlgn="ctr"/>
                      <a:r>
                        <a:rPr lang="en-CH" sz="600" b="0" i="0" u="none" strike="noStrike">
                          <a:solidFill>
                            <a:schemeClr val="tx1"/>
                          </a:solidFill>
                          <a:effectLst/>
                          <a:latin typeface="Nexa Book"/>
                        </a:rPr>
                        <a:t>193%</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889939878"/>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Merluzzo Standard Burger 227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4%</a:t>
                      </a:r>
                    </a:p>
                  </a:txBody>
                  <a:tcPr marL="2858" marR="2858" marT="2858" marB="0" anchor="ctr">
                    <a:noFill/>
                  </a:tcPr>
                </a:tc>
                <a:tc>
                  <a:txBody>
                    <a:bodyPr/>
                    <a:lstStyle/>
                    <a:p>
                      <a:pPr algn="ctr" fontAlgn="ctr"/>
                      <a:r>
                        <a:rPr lang="en-CH" sz="600" b="0" i="0" u="none" strike="noStrike">
                          <a:solidFill>
                            <a:schemeClr val="tx1"/>
                          </a:solidFill>
                          <a:effectLst/>
                          <a:latin typeface="Nexa Book"/>
                        </a:rPr>
                        <a:t> €      3.3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2.66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dirty="0">
                          <a:solidFill>
                            <a:schemeClr val="tx1"/>
                          </a:solidFill>
                          <a:effectLst/>
                          <a:latin typeface="Nexa Book"/>
                        </a:rPr>
                        <a:t> €        28’888 </a:t>
                      </a:r>
                      <a:endParaRPr lang="en-CH" sz="600" b="0" i="0" u="none" strike="noStrike" dirty="0">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289149139"/>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fr-CH" sz="600" b="0" i="0" u="none" strike="noStrike">
                          <a:solidFill>
                            <a:schemeClr val="tx1"/>
                          </a:solidFill>
                          <a:effectLst/>
                          <a:latin typeface="Nexa Book"/>
                        </a:rPr>
                        <a:t>Findus Fish Fingers Merluzzo 750GR</a:t>
                      </a:r>
                    </a:p>
                  </a:txBody>
                  <a:tcPr marL="2858" marR="2858" marT="2858" marB="0" anchor="ctr">
                    <a:noFill/>
                  </a:tcPr>
                </a:tc>
                <a:tc>
                  <a:txBody>
                    <a:bodyPr/>
                    <a:lstStyle/>
                    <a:p>
                      <a:pPr algn="ctr" fontAlgn="ctr"/>
                      <a:r>
                        <a:rPr lang="en-CH" sz="600" b="0" i="0" u="none" strike="noStrike">
                          <a:solidFill>
                            <a:schemeClr val="tx1"/>
                          </a:solidFill>
                          <a:effectLst/>
                          <a:latin typeface="Nexa Book"/>
                        </a:rPr>
                        <a:t>29%</a:t>
                      </a:r>
                    </a:p>
                  </a:txBody>
                  <a:tcPr marL="2858" marR="2858" marT="2858" marB="0" anchor="ctr">
                    <a:noFill/>
                  </a:tcPr>
                </a:tc>
                <a:tc>
                  <a:txBody>
                    <a:bodyPr/>
                    <a:lstStyle/>
                    <a:p>
                      <a:pPr algn="ctr" fontAlgn="ctr"/>
                      <a:r>
                        <a:rPr lang="en-CH" sz="600" b="0" i="0" u="none" strike="noStrike">
                          <a:solidFill>
                            <a:schemeClr val="tx1"/>
                          </a:solidFill>
                          <a:effectLst/>
                          <a:latin typeface="Nexa Book"/>
                        </a:rPr>
                        <a:t>60%</a:t>
                      </a:r>
                    </a:p>
                  </a:txBody>
                  <a:tcPr marL="2858" marR="2858" marT="2858" marB="0" anchor="ctr">
                    <a:noFill/>
                  </a:tcPr>
                </a:tc>
                <a:tc>
                  <a:txBody>
                    <a:bodyPr/>
                    <a:lstStyle/>
                    <a:p>
                      <a:pPr algn="ctr" fontAlgn="ctr"/>
                      <a:r>
                        <a:rPr lang="en-CH" sz="600" b="0" i="0" u="none" strike="noStrike">
                          <a:solidFill>
                            <a:schemeClr val="tx1"/>
                          </a:solidFill>
                          <a:effectLst/>
                          <a:latin typeface="Nexa Book"/>
                        </a:rPr>
                        <a:t> €      7.2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1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85’39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163%</a:t>
                      </a:r>
                    </a:p>
                  </a:txBody>
                  <a:tcPr marL="2858" marR="2858" marT="2858" marB="0" anchor="ctr">
                    <a:noFill/>
                  </a:tcPr>
                </a:tc>
                <a:tc>
                  <a:txBody>
                    <a:bodyPr/>
                    <a:lstStyle/>
                    <a:p>
                      <a:pPr algn="ctr" fontAlgn="ctr"/>
                      <a:r>
                        <a:rPr lang="en-CH" sz="600" b="0" i="0" u="none" strike="noStrike">
                          <a:solidFill>
                            <a:schemeClr val="tx1"/>
                          </a:solidFill>
                          <a:effectLst/>
                          <a:latin typeface="Nexa Book"/>
                        </a:rPr>
                        <a:t>2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190%</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449222329"/>
                  </a:ext>
                </a:extLst>
              </a:tr>
              <a:tr h="162066">
                <a:tc>
                  <a:txBody>
                    <a:bodyPr/>
                    <a:lstStyle/>
                    <a:p>
                      <a:pPr algn="l" fontAlgn="ctr"/>
                      <a:r>
                        <a:rPr lang="fr-CH" sz="600" b="0" i="0" u="none" strike="noStrike">
                          <a:solidFill>
                            <a:schemeClr val="tx1"/>
                          </a:solidFill>
                          <a:effectLst/>
                          <a:latin typeface="Nexa Book"/>
                        </a:rPr>
                        <a:t>Panapesca</a:t>
                      </a:r>
                      <a:endParaRPr lang="fr-CH" sz="600" b="0" i="0" u="none" strike="noStrike" err="1">
                        <a:solidFill>
                          <a:schemeClr val="tx1"/>
                        </a:solidFill>
                        <a:effectLst/>
                        <a:latin typeface="Nexa Book"/>
                      </a:endParaRPr>
                    </a:p>
                  </a:txBody>
                  <a:tcPr marL="2858" marR="2858" marT="2858" marB="0" anchor="ctr">
                    <a:noFill/>
                  </a:tcPr>
                </a:tc>
                <a:tc>
                  <a:txBody>
                    <a:bodyPr/>
                    <a:lstStyle/>
                    <a:p>
                      <a:pPr algn="l" fontAlgn="ctr"/>
                      <a:r>
                        <a:rPr lang="fr-CH" sz="600" b="0" i="0" u="none" strike="noStrike">
                          <a:solidFill>
                            <a:schemeClr val="tx1"/>
                          </a:solidFill>
                          <a:effectLst/>
                          <a:latin typeface="Nexa Book"/>
                        </a:rPr>
                        <a:t>Panapesca Natural Gamber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4%</a:t>
                      </a:r>
                    </a:p>
                  </a:txBody>
                  <a:tcPr marL="2858" marR="2858" marT="2858" marB="0" anchor="ctr">
                    <a:noFill/>
                  </a:tcPr>
                </a:tc>
                <a:tc>
                  <a:txBody>
                    <a:bodyPr/>
                    <a:lstStyle/>
                    <a:p>
                      <a:pPr algn="ctr" fontAlgn="ctr"/>
                      <a:r>
                        <a:rPr lang="en-CH" sz="600" b="0" i="0" u="none" strike="noStrike">
                          <a:solidFill>
                            <a:schemeClr val="tx1"/>
                          </a:solidFill>
                          <a:effectLst/>
                          <a:latin typeface="Nexa Book"/>
                        </a:rPr>
                        <a:t>58%</a:t>
                      </a:r>
                    </a:p>
                  </a:txBody>
                  <a:tcPr marL="2858" marR="2858" marT="2858" marB="0" anchor="ctr">
                    <a:noFill/>
                  </a:tcPr>
                </a:tc>
                <a:tc>
                  <a:txBody>
                    <a:bodyPr/>
                    <a:lstStyle/>
                    <a:p>
                      <a:pPr algn="ctr" fontAlgn="ctr"/>
                      <a:r>
                        <a:rPr lang="en-CH" sz="600" b="0" i="0" u="none" strike="noStrike">
                          <a:solidFill>
                            <a:schemeClr val="tx1"/>
                          </a:solidFill>
                          <a:effectLst/>
                          <a:latin typeface="Nexa Book"/>
                        </a:rPr>
                        <a:t> €      7.3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64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8’811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75%</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11%</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2</a:t>
                      </a:r>
                    </a:p>
                  </a:txBody>
                  <a:tcPr marL="2858" marR="2858" marT="2858" marB="0" anchor="ctr">
                    <a:noFill/>
                  </a:tcPr>
                </a:tc>
                <a:tc>
                  <a:txBody>
                    <a:bodyPr/>
                    <a:lstStyle/>
                    <a:p>
                      <a:pPr algn="ctr" fontAlgn="ctr"/>
                      <a:r>
                        <a:rPr lang="en-CH" sz="600" b="0" i="0" u="none" strike="noStrike">
                          <a:solidFill>
                            <a:schemeClr val="tx1"/>
                          </a:solidFill>
                          <a:effectLst/>
                          <a:latin typeface="Nexa Book"/>
                        </a:rPr>
                        <a:t>189%</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27368056"/>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Fish Fingers Merluzzo Bk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a:solidFill>
                            <a:schemeClr val="tx1"/>
                          </a:solidFill>
                          <a:effectLst/>
                          <a:latin typeface="Nexa Book"/>
                        </a:rPr>
                        <a:t>49%</a:t>
                      </a:r>
                    </a:p>
                  </a:txBody>
                  <a:tcPr marL="2858" marR="2858" marT="2858" marB="0" anchor="ctr">
                    <a:noFill/>
                  </a:tcPr>
                </a:tc>
                <a:tc>
                  <a:txBody>
                    <a:bodyPr/>
                    <a:lstStyle/>
                    <a:p>
                      <a:pPr algn="ctr" fontAlgn="ctr"/>
                      <a:r>
                        <a:rPr lang="en-CH" sz="600" b="0" i="0" u="none" strike="noStrike">
                          <a:solidFill>
                            <a:schemeClr val="tx1"/>
                          </a:solidFill>
                          <a:effectLst/>
                          <a:latin typeface="Nexa Book"/>
                        </a:rPr>
                        <a:t> €      2.3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9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60’82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51%</a:t>
                      </a:r>
                    </a:p>
                  </a:txBody>
                  <a:tcPr marL="2858" marR="2858" marT="2858" marB="0" anchor="ctr">
                    <a:noFill/>
                  </a:tcPr>
                </a:tc>
                <a:tc>
                  <a:txBody>
                    <a:bodyPr/>
                    <a:lstStyle/>
                    <a:p>
                      <a:pPr algn="ctr" fontAlgn="ctr"/>
                      <a:r>
                        <a:rPr lang="en-CH" sz="600" b="0" i="0" u="none" strike="noStrike">
                          <a:solidFill>
                            <a:schemeClr val="tx1"/>
                          </a:solidFill>
                          <a:effectLst/>
                          <a:latin typeface="Nexa Book"/>
                        </a:rPr>
                        <a:t>73%</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49</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361446966"/>
                  </a:ext>
                </a:extLst>
              </a:tr>
              <a:tr h="162066">
                <a:tc>
                  <a:txBody>
                    <a:bodyPr/>
                    <a:lstStyle/>
                    <a:p>
                      <a:pPr algn="l" fontAlgn="ctr"/>
                      <a:r>
                        <a:rPr lang="fr-CH" sz="600" b="0" i="0" u="none" strike="noStrike">
                          <a:solidFill>
                            <a:schemeClr val="tx1"/>
                          </a:solidFill>
                          <a:effectLst/>
                          <a:latin typeface="Nexa Book"/>
                        </a:rPr>
                        <a:t>Findus</a:t>
                      </a:r>
                    </a:p>
                  </a:txBody>
                  <a:tcPr marL="2858" marR="2858" marT="2858" marB="0" anchor="ctr">
                    <a:noFill/>
                  </a:tcPr>
                </a:tc>
                <a:tc>
                  <a:txBody>
                    <a:bodyPr/>
                    <a:lstStyle/>
                    <a:p>
                      <a:pPr algn="l" fontAlgn="ctr"/>
                      <a:r>
                        <a:rPr lang="en-US" sz="600" b="0" i="0" u="none" strike="noStrike">
                          <a:solidFill>
                            <a:schemeClr val="tx1"/>
                          </a:solidFill>
                          <a:effectLst/>
                          <a:latin typeface="Nexa Book"/>
                        </a:rPr>
                        <a:t>Findus Salmone Natural Burger 170GR</a:t>
                      </a:r>
                    </a:p>
                  </a:txBody>
                  <a:tcPr marL="2858" marR="2858" marT="2858" marB="0" anchor="ctr">
                    <a:noFill/>
                  </a:tcPr>
                </a:tc>
                <a:tc>
                  <a:txBody>
                    <a:bodyPr/>
                    <a:lstStyle/>
                    <a:p>
                      <a:pPr algn="ctr" fontAlgn="ctr"/>
                      <a:r>
                        <a:rPr lang="en-CH" sz="600" b="0" i="0" u="none" strike="noStrike">
                          <a:solidFill>
                            <a:schemeClr val="tx1"/>
                          </a:solidFill>
                          <a:effectLst/>
                          <a:latin typeface="Nexa Book"/>
                        </a:rPr>
                        <a:t>20%</a:t>
                      </a:r>
                    </a:p>
                  </a:txBody>
                  <a:tcPr marL="2858" marR="2858" marT="2858" marB="0" anchor="ctr">
                    <a:noFill/>
                  </a:tcPr>
                </a:tc>
                <a:tc>
                  <a:txBody>
                    <a:bodyPr/>
                    <a:lstStyle/>
                    <a:p>
                      <a:pPr algn="ctr" fontAlgn="ctr"/>
                      <a:r>
                        <a:rPr lang="en-CH" sz="600" b="0" i="0" u="none" strike="noStrike">
                          <a:solidFill>
                            <a:schemeClr val="tx1"/>
                          </a:solidFill>
                          <a:effectLst/>
                          <a:latin typeface="Nexa Book"/>
                        </a:rPr>
                        <a:t>41%</a:t>
                      </a:r>
                    </a:p>
                  </a:txBody>
                  <a:tcPr marL="2858" marR="2858" marT="2858" marB="0" anchor="ctr">
                    <a:noFill/>
                  </a:tcPr>
                </a:tc>
                <a:tc>
                  <a:txBody>
                    <a:bodyPr/>
                    <a:lstStyle/>
                    <a:p>
                      <a:pPr algn="ctr" fontAlgn="ctr"/>
                      <a:r>
                        <a:rPr lang="en-CH" sz="600" b="0" i="0" u="none" strike="noStrike">
                          <a:solidFill>
                            <a:schemeClr val="tx1"/>
                          </a:solidFill>
                          <a:effectLst/>
                          <a:latin typeface="Nexa Book"/>
                        </a:rPr>
                        <a:t> €      4.0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3.23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6’230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92%</a:t>
                      </a:r>
                    </a:p>
                  </a:txBody>
                  <a:tcPr marL="2858" marR="2858" marT="2858" marB="0" anchor="ctr">
                    <a:noFill/>
                  </a:tcPr>
                </a:tc>
                <a:tc>
                  <a:txBody>
                    <a:bodyPr/>
                    <a:lstStyle/>
                    <a:p>
                      <a:pPr algn="ctr" fontAlgn="ctr"/>
                      <a:r>
                        <a:rPr lang="en-CH" sz="600" b="0" i="0" u="none" strike="noStrike">
                          <a:solidFill>
                            <a:schemeClr val="tx1"/>
                          </a:solidFill>
                          <a:effectLst/>
                          <a:latin typeface="Nexa Book"/>
                        </a:rPr>
                        <a:t>136%</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18</a:t>
                      </a:r>
                    </a:p>
                  </a:txBody>
                  <a:tcPr marL="2858" marR="2858" marT="2858" marB="0" anchor="ctr">
                    <a:noFill/>
                  </a:tcPr>
                </a:tc>
                <a:tc>
                  <a:txBody>
                    <a:bodyPr/>
                    <a:lstStyle/>
                    <a:p>
                      <a:pPr algn="ctr" fontAlgn="ctr"/>
                      <a:r>
                        <a:rPr lang="en-CH" sz="600" b="0" i="0" u="none" strike="noStrike" dirty="0">
                          <a:solidFill>
                            <a:schemeClr val="tx1"/>
                          </a:solidFill>
                          <a:effectLst/>
                          <a:latin typeface="Nexa Book"/>
                        </a:rPr>
                        <a:t>184%</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682436867"/>
                  </a:ext>
                </a:extLst>
              </a:tr>
              <a:tr h="162066">
                <a:tc>
                  <a:txBody>
                    <a:bodyPr/>
                    <a:lstStyle/>
                    <a:p>
                      <a:pPr algn="l" fontAlgn="ctr"/>
                      <a:r>
                        <a:rPr lang="fr-CH" sz="600" b="0" i="0" u="none" strike="noStrike">
                          <a:solidFill>
                            <a:schemeClr val="tx1"/>
                          </a:solidFill>
                          <a:effectLst/>
                          <a:latin typeface="Nexa Book"/>
                        </a:rPr>
                        <a:t>Private Label</a:t>
                      </a:r>
                    </a:p>
                  </a:txBody>
                  <a:tcPr marL="2858" marR="2858" marT="2858" marB="0" anchor="ctr">
                    <a:noFill/>
                  </a:tcPr>
                </a:tc>
                <a:tc>
                  <a:txBody>
                    <a:bodyPr/>
                    <a:lstStyle/>
                    <a:p>
                      <a:pPr algn="l" fontAlgn="ctr"/>
                      <a:r>
                        <a:rPr lang="fr-CH" sz="600" b="0" i="0" u="none" strike="noStrike">
                          <a:solidFill>
                            <a:schemeClr val="tx1"/>
                          </a:solidFill>
                          <a:effectLst/>
                          <a:latin typeface="Nexa Book"/>
                        </a:rPr>
                        <a:t>Private Label Natural Mazzancolle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19%</a:t>
                      </a:r>
                    </a:p>
                  </a:txBody>
                  <a:tcPr marL="2858" marR="2858" marT="2858" marB="0" anchor="ctr">
                    <a:noFill/>
                  </a:tcPr>
                </a:tc>
                <a:tc>
                  <a:txBody>
                    <a:bodyPr/>
                    <a:lstStyle/>
                    <a:p>
                      <a:pPr algn="ctr" fontAlgn="ctr"/>
                      <a:r>
                        <a:rPr lang="en-CH" sz="600" b="0" i="0" u="none" strike="noStrike">
                          <a:solidFill>
                            <a:schemeClr val="tx1"/>
                          </a:solidFill>
                          <a:effectLst/>
                          <a:latin typeface="Nexa Book"/>
                        </a:rPr>
                        <a:t>38%</a:t>
                      </a:r>
                    </a:p>
                  </a:txBody>
                  <a:tcPr marL="2858" marR="2858" marT="2858" marB="0" anchor="ctr">
                    <a:noFill/>
                  </a:tcPr>
                </a:tc>
                <a:tc>
                  <a:txBody>
                    <a:bodyPr/>
                    <a:lstStyle/>
                    <a:p>
                      <a:pPr algn="ctr" fontAlgn="ctr"/>
                      <a:r>
                        <a:rPr lang="en-CH" sz="600" b="0" i="0" u="none" strike="noStrike">
                          <a:solidFill>
                            <a:schemeClr val="tx1"/>
                          </a:solidFill>
                          <a:effectLst/>
                          <a:latin typeface="Nexa Book"/>
                        </a:rPr>
                        <a:t> €      7.17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5.7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140’698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48%</a:t>
                      </a:r>
                    </a:p>
                  </a:txBody>
                  <a:tcPr marL="2858" marR="2858" marT="2858" marB="0" anchor="ctr">
                    <a:noFill/>
                  </a:tcPr>
                </a:tc>
                <a:tc>
                  <a:txBody>
                    <a:bodyPr/>
                    <a:lstStyle/>
                    <a:p>
                      <a:pPr algn="ctr" fontAlgn="ctr"/>
                      <a:r>
                        <a:rPr lang="en-CH" sz="600" b="0" i="0" u="none" strike="noStrike">
                          <a:solidFill>
                            <a:schemeClr val="tx1"/>
                          </a:solidFill>
                          <a:effectLst/>
                          <a:latin typeface="Nexa Book"/>
                        </a:rPr>
                        <a:t>70%</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82</a:t>
                      </a:r>
                    </a:p>
                  </a:txBody>
                  <a:tcPr marL="2858" marR="2858" marT="2858" marB="0" anchor="ctr">
                    <a:noFill/>
                  </a:tcPr>
                </a:tc>
                <a:tc>
                  <a:txBody>
                    <a:bodyPr/>
                    <a:lstStyle/>
                    <a:p>
                      <a:pPr algn="ctr" fontAlgn="ctr"/>
                      <a:r>
                        <a:rPr lang="en-CH" sz="600" b="0" i="0" u="none" strike="noStrike">
                          <a:solidFill>
                            <a:schemeClr val="tx1"/>
                          </a:solidFill>
                          <a:effectLst/>
                          <a:latin typeface="Nexa Book"/>
                        </a:rPr>
                        <a:t>182%</a:t>
                      </a:r>
                    </a:p>
                  </a:txBody>
                  <a:tcPr marL="2858" marR="2858" marT="2858" marB="0" anchor="ctr">
                    <a:noFill/>
                  </a:tcPr>
                </a:tc>
                <a:tc>
                  <a:txBody>
                    <a:bodyPr/>
                    <a:lstStyle/>
                    <a:p>
                      <a:pPr algn="ctr" fontAlgn="b"/>
                      <a:r>
                        <a:rPr kumimoji="0" lang="en-AE" sz="600" b="0" i="0" u="none" strike="noStrike" kern="1200" cap="none" spc="0" normalizeH="0" baseline="0" noProof="0" dirty="0">
                          <a:ln>
                            <a:noFill/>
                          </a:ln>
                          <a:solidFill>
                            <a:srgbClr val="575555"/>
                          </a:solidFill>
                          <a:effectLst/>
                          <a:uLnTx/>
                          <a:uFillTx/>
                          <a:latin typeface="Nexa Book"/>
                          <a:ea typeface="Open Sans"/>
                          <a:cs typeface="Open Sans"/>
                        </a:rPr>
                        <a:t>23%</a:t>
                      </a:r>
                      <a:endParaRPr lang="en-AE" sz="600" b="0" i="0" u="none" strike="noStrike" dirty="0">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2175792047"/>
                  </a:ext>
                </a:extLst>
              </a:tr>
              <a:tr h="162066">
                <a:tc>
                  <a:txBody>
                    <a:bodyPr/>
                    <a:lstStyle/>
                    <a:p>
                      <a:pPr algn="l" fontAlgn="ctr"/>
                      <a:r>
                        <a:rPr lang="fr-CH" sz="600" b="0" i="0" u="none" strike="noStrike">
                          <a:solidFill>
                            <a:schemeClr val="tx1"/>
                          </a:solidFill>
                          <a:effectLst/>
                          <a:latin typeface="Nexa Book"/>
                        </a:rPr>
                        <a:t>Arbi Dario Spa</a:t>
                      </a:r>
                    </a:p>
                  </a:txBody>
                  <a:tcPr marL="2858" marR="2858" marT="2858" marB="0" anchor="ctr">
                    <a:noFill/>
                  </a:tcPr>
                </a:tc>
                <a:tc>
                  <a:txBody>
                    <a:bodyPr/>
                    <a:lstStyle/>
                    <a:p>
                      <a:pPr algn="l" fontAlgn="ctr"/>
                      <a:r>
                        <a:rPr lang="fr-CH" sz="600" b="0" i="0" u="none" strike="noStrike">
                          <a:solidFill>
                            <a:schemeClr val="tx1"/>
                          </a:solidFill>
                          <a:effectLst/>
                          <a:latin typeface="Nexa Book"/>
                        </a:rPr>
                        <a:t>Arbi Dario Spa Fish Salsa Crostacei 300GR</a:t>
                      </a:r>
                    </a:p>
                  </a:txBody>
                  <a:tcPr marL="2858" marR="2858" marT="2858" marB="0" anchor="ctr">
                    <a:noFill/>
                  </a:tcPr>
                </a:tc>
                <a:tc>
                  <a:txBody>
                    <a:bodyPr/>
                    <a:lstStyle/>
                    <a:p>
                      <a:pPr algn="ctr" fontAlgn="ctr"/>
                      <a:r>
                        <a:rPr lang="en-CH" sz="600" b="0" i="0" u="none" strike="noStrike">
                          <a:solidFill>
                            <a:schemeClr val="tx1"/>
                          </a:solidFill>
                          <a:effectLst/>
                          <a:latin typeface="Nexa Book"/>
                        </a:rPr>
                        <a:t>21%</a:t>
                      </a:r>
                    </a:p>
                  </a:txBody>
                  <a:tcPr marL="2858" marR="2858" marT="2858" marB="0" anchor="ctr">
                    <a:noFill/>
                  </a:tcPr>
                </a:tc>
                <a:tc>
                  <a:txBody>
                    <a:bodyPr/>
                    <a:lstStyle/>
                    <a:p>
                      <a:pPr algn="ctr" fontAlgn="ctr"/>
                      <a:r>
                        <a:rPr lang="en-CH" sz="600" b="0" i="0" u="none" strike="noStrike">
                          <a:solidFill>
                            <a:schemeClr val="tx1"/>
                          </a:solidFill>
                          <a:effectLst/>
                          <a:latin typeface="Nexa Book"/>
                        </a:rPr>
                        <a:t>43%</a:t>
                      </a:r>
                    </a:p>
                  </a:txBody>
                  <a:tcPr marL="2858" marR="2858" marT="2858" marB="0" anchor="ctr">
                    <a:noFill/>
                  </a:tcPr>
                </a:tc>
                <a:tc>
                  <a:txBody>
                    <a:bodyPr/>
                    <a:lstStyle/>
                    <a:p>
                      <a:pPr algn="ctr" fontAlgn="ctr"/>
                      <a:r>
                        <a:rPr lang="en-CH" sz="600" b="0" i="0" u="none" strike="noStrike">
                          <a:solidFill>
                            <a:schemeClr val="tx1"/>
                          </a:solidFill>
                          <a:effectLst/>
                          <a:latin typeface="Nexa Book"/>
                        </a:rPr>
                        <a:t> €      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15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 €        44’529 </a:t>
                      </a:r>
                      <a:endParaRPr lang="en-CH" sz="600" b="0" i="0" u="none" strike="noStrike">
                        <a:solidFill>
                          <a:schemeClr val="tx1"/>
                        </a:solidFill>
                        <a:effectLst/>
                        <a:latin typeface="Nexa Book" panose="00000400000000000000" pitchFamily="2" charset="0"/>
                      </a:endParaRPr>
                    </a:p>
                  </a:txBody>
                  <a:tcPr marL="2858" marR="2858" marT="2858" marB="0" anchor="ctr">
                    <a:noFill/>
                  </a:tcPr>
                </a:tc>
                <a:tc>
                  <a:txBody>
                    <a:bodyPr/>
                    <a:lstStyle/>
                    <a:p>
                      <a:pPr algn="ctr" fontAlgn="ctr"/>
                      <a:r>
                        <a:rPr lang="en-CH" sz="600" b="0" i="0" u="none" strike="noStrike">
                          <a:solidFill>
                            <a:schemeClr val="tx1"/>
                          </a:solidFill>
                          <a:effectLst/>
                          <a:latin typeface="Nexa Book"/>
                        </a:rPr>
                        <a:t>80%</a:t>
                      </a:r>
                    </a:p>
                  </a:txBody>
                  <a:tcPr marL="2858" marR="2858" marT="2858" marB="0" anchor="ctr">
                    <a:noFill/>
                  </a:tcPr>
                </a:tc>
                <a:tc>
                  <a:txBody>
                    <a:bodyPr/>
                    <a:lstStyle/>
                    <a:p>
                      <a:pPr algn="ctr" fontAlgn="ctr"/>
                      <a:r>
                        <a:rPr lang="en-CH" sz="600" b="0" i="0" u="none" strike="noStrike">
                          <a:solidFill>
                            <a:schemeClr val="tx1"/>
                          </a:solidFill>
                          <a:effectLst/>
                          <a:latin typeface="Nexa Book"/>
                        </a:rPr>
                        <a:t>117%</a:t>
                      </a:r>
                    </a:p>
                  </a:txBody>
                  <a:tcPr marL="2858" marR="2858" marT="2858" marB="0" anchor="ctr">
                    <a:noFill/>
                  </a:tcPr>
                </a:tc>
                <a:tc>
                  <a:txBody>
                    <a:bodyPr/>
                    <a:lstStyle/>
                    <a:p>
                      <a:pPr lvl="0" algn="ctr">
                        <a:buNone/>
                      </a:pPr>
                      <a:r>
                        <a:rPr lang="en-US" sz="600" b="0" i="0" u="none" strike="noStrike" noProof="0">
                          <a:solidFill>
                            <a:schemeClr val="tx1"/>
                          </a:solidFill>
                          <a:effectLst/>
                        </a:rPr>
                        <a:t>€</a:t>
                      </a:r>
                      <a:r>
                        <a:rPr lang="en-CH" sz="600" b="0" i="0" u="none" strike="noStrike">
                          <a:solidFill>
                            <a:schemeClr val="tx1"/>
                          </a:solidFill>
                          <a:effectLst/>
                          <a:latin typeface="Nexa Book"/>
                        </a:rPr>
                        <a:t>90</a:t>
                      </a:r>
                    </a:p>
                  </a:txBody>
                  <a:tcPr marL="2858" marR="2858" marT="2858" marB="0" anchor="ctr">
                    <a:noFill/>
                  </a:tcPr>
                </a:tc>
                <a:tc>
                  <a:txBody>
                    <a:bodyPr/>
                    <a:lstStyle/>
                    <a:p>
                      <a:pPr algn="ctr" fontAlgn="ctr"/>
                      <a:r>
                        <a:rPr lang="en-CH" sz="600" b="0" i="0" u="none" strike="noStrike">
                          <a:solidFill>
                            <a:schemeClr val="tx1"/>
                          </a:solidFill>
                          <a:effectLst/>
                          <a:latin typeface="Nexa Book"/>
                        </a:rPr>
                        <a:t>178%</a:t>
                      </a:r>
                    </a:p>
                  </a:txBody>
                  <a:tcPr marL="2858" marR="2858" marT="2858" marB="0" anchor="ctr">
                    <a:noFill/>
                  </a:tcPr>
                </a:tc>
                <a:tc>
                  <a:txBody>
                    <a:bodyPr/>
                    <a:lstStyle/>
                    <a:p>
                      <a:pPr algn="ctr" fontAlgn="b"/>
                      <a:r>
                        <a:rPr kumimoji="0" lang="en-AE" sz="600" b="0" i="0" u="none" strike="noStrike" kern="1200" cap="none" spc="0" normalizeH="0" baseline="0" noProof="0">
                          <a:ln>
                            <a:noFill/>
                          </a:ln>
                          <a:solidFill>
                            <a:srgbClr val="575555"/>
                          </a:solidFill>
                          <a:effectLst/>
                          <a:uLnTx/>
                          <a:uFillTx/>
                          <a:latin typeface="Nexa Book"/>
                          <a:ea typeface="Open Sans"/>
                          <a:cs typeface="Open Sans"/>
                        </a:rPr>
                        <a:t>23%</a:t>
                      </a:r>
                      <a:endParaRPr lang="en-AE" sz="600" b="0" i="0" u="none" strike="noStrike">
                        <a:solidFill>
                          <a:schemeClr val="tx1"/>
                        </a:solidFill>
                        <a:effectLst/>
                        <a:latin typeface="Nexa Book"/>
                        <a:ea typeface="Open Sans"/>
                        <a:cs typeface="Open Sans"/>
                      </a:endParaRPr>
                    </a:p>
                  </a:txBody>
                  <a:tcPr marL="3473" marR="3473" marT="3473" marB="0" anchor="ctr">
                    <a:noFill/>
                  </a:tcPr>
                </a:tc>
                <a:tc>
                  <a:txBody>
                    <a:bodyPr/>
                    <a:lstStyle/>
                    <a:p>
                      <a:pPr algn="ctr" fontAlgn="b"/>
                      <a:endParaRPr lang="en-AE" sz="600" b="0" i="0" u="none" strike="noStrike" dirty="0">
                        <a:solidFill>
                          <a:schemeClr val="tx1"/>
                        </a:solidFill>
                        <a:effectLst/>
                        <a:latin typeface="Nexa Book" panose="00000400000000000000" pitchFamily="2" charset="0"/>
                        <a:ea typeface="Open Sans" panose="020B0606030504020204" pitchFamily="34" charset="0"/>
                        <a:cs typeface="Open Sans" panose="020B0606030504020204" pitchFamily="34" charset="0"/>
                      </a:endParaRPr>
                    </a:p>
                  </a:txBody>
                  <a:tcPr marL="3473" marR="3473" marT="3473" marB="0" anchor="ctr">
                    <a:noFill/>
                  </a:tcPr>
                </a:tc>
                <a:extLst>
                  <a:ext uri="{0D108BD9-81ED-4DB2-BD59-A6C34878D82A}">
                    <a16:rowId xmlns:a16="http://schemas.microsoft.com/office/drawing/2014/main" val="3501162907"/>
                  </a:ext>
                </a:extLst>
              </a:tr>
            </a:tbl>
          </a:graphicData>
        </a:graphic>
      </p:graphicFrame>
    </p:spTree>
    <p:extLst>
      <p:ext uri="{BB962C8B-B14F-4D97-AF65-F5344CB8AC3E}">
        <p14:creationId xmlns:p14="http://schemas.microsoft.com/office/powerpoint/2010/main" val="343297192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9699265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3147976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6722359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4302909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7447492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7324200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8794058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3583749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970689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9BDF6A9A-E00A-C66B-273F-DBE3BBA63ECA}"/>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9BDF6A9A-E00A-C66B-273F-DBE3BBA63ECA}"/>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478285A9-6E71-447F-8559-15487EFF7E1C}"/>
              </a:ext>
            </a:extLst>
          </p:cNvPr>
          <p:cNvSpPr>
            <a:spLocks noGrp="1"/>
          </p:cNvSpPr>
          <p:nvPr>
            <p:ph type="dt" sz="half" idx="14"/>
          </p:nvPr>
        </p:nvSpPr>
        <p:spPr>
          <a:xfrm>
            <a:off x="8082390" y="4972050"/>
            <a:ext cx="557609" cy="171450"/>
          </a:xfrm>
        </p:spPr>
        <p:txBody>
          <a:bodyPr/>
          <a:lstStyle/>
          <a:p>
            <a:fld id="{53074637-1169-4087-9C4B-9653F73C5439}" type="datetime1">
              <a:rPr lang="en-US"/>
              <a:pPr/>
              <a:t>8/10/2025</a:t>
            </a:fld>
            <a:endParaRPr lang="en-US"/>
          </a:p>
        </p:txBody>
      </p:sp>
      <p:sp>
        <p:nvSpPr>
          <p:cNvPr id="7" name="Footer Placeholder 6">
            <a:extLst>
              <a:ext uri="{FF2B5EF4-FFF2-40B4-BE49-F238E27FC236}">
                <a16:creationId xmlns:a16="http://schemas.microsoft.com/office/drawing/2014/main" id="{8F0F2E74-528E-1C6A-35B5-C67A1C149940}"/>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0678292B-C3E9-6967-3C19-9A85131530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da-DK"/>
              <a:t>Data Source l Trade Panel l Ending March 2022</a:t>
            </a:r>
          </a:p>
        </p:txBody>
      </p:sp>
      <p:sp>
        <p:nvSpPr>
          <p:cNvPr id="12" name="MT1">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GB"/>
              <a:t>Evolution (%) Promo efficiency across brands | Category | National | P12M</a:t>
            </a:r>
            <a:endParaRPr lang="en-US"/>
          </a:p>
        </p:txBody>
      </p:sp>
      <p:sp>
        <p:nvSpPr>
          <p:cNvPr id="14" name="Title 13">
            <a:extLst>
              <a:ext uri="{FF2B5EF4-FFF2-40B4-BE49-F238E27FC236}">
                <a16:creationId xmlns:a16="http://schemas.microsoft.com/office/drawing/2014/main" id="{CC8B05F5-44CA-5C27-2740-332B047075AD}"/>
              </a:ext>
            </a:extLst>
          </p:cNvPr>
          <p:cNvSpPr>
            <a:spLocks noGrp="1"/>
          </p:cNvSpPr>
          <p:nvPr>
            <p:ph type="title"/>
          </p:nvPr>
        </p:nvSpPr>
        <p:spPr>
          <a:xfrm>
            <a:off x="504000" y="-1"/>
            <a:ext cx="8136000" cy="771525"/>
          </a:xfrm>
        </p:spPr>
        <p:txBody>
          <a:bodyPr vert="horz"/>
          <a:lstStyle/>
          <a:p>
            <a:r>
              <a:rPr lang="en-US" dirty="0">
                <a:highlight>
                  <a:srgbClr val="FFFF00"/>
                </a:highlight>
              </a:rPr>
              <a:t>Promo evolution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9" y="4863610"/>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32">
              <a:buNone/>
              <a:defRPr/>
            </a:pPr>
            <a:endParaRPr lang="fr-FR" sz="600">
              <a:solidFill>
                <a:srgbClr val="00A097"/>
              </a:solidFill>
              <a:latin typeface="Raleway" panose="020B0503030101060003"/>
            </a:endParaRPr>
          </a:p>
        </p:txBody>
      </p:sp>
      <p:graphicFrame>
        <p:nvGraphicFramePr>
          <p:cNvPr id="6" name="T1">
            <a:extLst>
              <a:ext uri="{FF2B5EF4-FFF2-40B4-BE49-F238E27FC236}">
                <a16:creationId xmlns:a16="http://schemas.microsoft.com/office/drawing/2014/main" id="{B92E0E8B-1412-42FD-88F0-A87347442BB3}"/>
              </a:ext>
            </a:extLst>
          </p:cNvPr>
          <p:cNvGraphicFramePr>
            <a:graphicFrameLocks noGrp="1"/>
          </p:cNvGraphicFramePr>
          <p:nvPr>
            <p:extLst>
              <p:ext uri="{D42A27DB-BD31-4B8C-83A1-F6EECF244321}">
                <p14:modId xmlns:p14="http://schemas.microsoft.com/office/powerpoint/2010/main" val="275500559"/>
              </p:ext>
            </p:extLst>
          </p:nvPr>
        </p:nvGraphicFramePr>
        <p:xfrm>
          <a:off x="544366" y="1140560"/>
          <a:ext cx="8082587" cy="3591917"/>
        </p:xfrm>
        <a:graphic>
          <a:graphicData uri="http://schemas.openxmlformats.org/drawingml/2006/table">
            <a:tbl>
              <a:tblPr firstRow="1" bandRow="1">
                <a:tableStyleId>{5C22544A-7EE6-4342-B048-85BDC9FD1C3A}</a:tableStyleId>
              </a:tblPr>
              <a:tblGrid>
                <a:gridCol w="945042">
                  <a:extLst>
                    <a:ext uri="{9D8B030D-6E8A-4147-A177-3AD203B41FA5}">
                      <a16:colId xmlns:a16="http://schemas.microsoft.com/office/drawing/2014/main" val="654108321"/>
                    </a:ext>
                  </a:extLst>
                </a:gridCol>
                <a:gridCol w="1427509">
                  <a:extLst>
                    <a:ext uri="{9D8B030D-6E8A-4147-A177-3AD203B41FA5}">
                      <a16:colId xmlns:a16="http://schemas.microsoft.com/office/drawing/2014/main" val="2577239026"/>
                    </a:ext>
                  </a:extLst>
                </a:gridCol>
                <a:gridCol w="1427509">
                  <a:extLst>
                    <a:ext uri="{9D8B030D-6E8A-4147-A177-3AD203B41FA5}">
                      <a16:colId xmlns:a16="http://schemas.microsoft.com/office/drawing/2014/main" val="1241509968"/>
                    </a:ext>
                  </a:extLst>
                </a:gridCol>
                <a:gridCol w="1427509">
                  <a:extLst>
                    <a:ext uri="{9D8B030D-6E8A-4147-A177-3AD203B41FA5}">
                      <a16:colId xmlns:a16="http://schemas.microsoft.com/office/drawing/2014/main" val="134165092"/>
                    </a:ext>
                  </a:extLst>
                </a:gridCol>
                <a:gridCol w="1427509">
                  <a:extLst>
                    <a:ext uri="{9D8B030D-6E8A-4147-A177-3AD203B41FA5}">
                      <a16:colId xmlns:a16="http://schemas.microsoft.com/office/drawing/2014/main" val="857200868"/>
                    </a:ext>
                  </a:extLst>
                </a:gridCol>
                <a:gridCol w="1427509">
                  <a:extLst>
                    <a:ext uri="{9D8B030D-6E8A-4147-A177-3AD203B41FA5}">
                      <a16:colId xmlns:a16="http://schemas.microsoft.com/office/drawing/2014/main" val="1067236688"/>
                    </a:ext>
                  </a:extLst>
                </a:gridCol>
              </a:tblGrid>
              <a:tr h="352153">
                <a:tc>
                  <a:txBody>
                    <a:bodyPr/>
                    <a:lstStyle/>
                    <a:p>
                      <a:pPr algn="ctr" fontAlgn="b"/>
                      <a:r>
                        <a:rPr lang="en-US" sz="900" b="0" kern="1200">
                          <a:solidFill>
                            <a:schemeClr val="tx2"/>
                          </a:solidFill>
                          <a:latin typeface="Nexa Bold" panose="00000800000000000000" pitchFamily="2" charset="0"/>
                          <a:ea typeface="+mn-ea"/>
                          <a:cs typeface="+mn-cs"/>
                        </a:rPr>
                        <a:t>Brand</a:t>
                      </a:r>
                    </a:p>
                  </a:txBody>
                  <a:tcPr marL="0" marR="0" marT="0" marB="0" anchor="ctr">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Promo Value sa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olume Sold On Deal (VSOD)</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latin typeface="Nexa Bold" panose="00000800000000000000" pitchFamily="2" charset="0"/>
                        </a:rPr>
                        <a:t>VSOD IYA</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dirty="0">
                          <a:solidFill>
                            <a:srgbClr val="575555"/>
                          </a:solidFill>
                          <a:latin typeface="Nexa Bold" panose="00000800000000000000" pitchFamily="2" charset="0"/>
                        </a:rPr>
                        <a:t>VSOD Evolution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a:solidFill>
                            <a:srgbClr val="575555"/>
                          </a:solidFill>
                          <a:latin typeface="Nexa Bold" panose="00000800000000000000" pitchFamily="2" charset="0"/>
                        </a:rPr>
                        <a:t>Promo Value Uplift vs. 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18981061"/>
                  </a:ext>
                </a:extLst>
              </a:tr>
              <a:tr h="294524">
                <a:tc>
                  <a:txBody>
                    <a:bodyPr/>
                    <a:lstStyle/>
                    <a:p>
                      <a:pPr algn="ctr" fontAlgn="b"/>
                      <a:r>
                        <a:rPr lang="en-US" sz="800" b="0" dirty="0">
                          <a:solidFill>
                            <a:schemeClr val="tx1"/>
                          </a:solidFill>
                          <a:latin typeface="Nexa Bold" panose="00000800000000000000" pitchFamily="2" charset="0"/>
                        </a:rPr>
                        <a:t>Hershey’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6,638,856</a:t>
                      </a: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42%</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08533622"/>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Ritter Spor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10,756,57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3%</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9</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62503056"/>
                  </a:ext>
                </a:extLst>
              </a:tr>
              <a:tr h="294524">
                <a:tc>
                  <a:txBody>
                    <a:bodyPr/>
                    <a:lstStyle/>
                    <a:p>
                      <a:pPr algn="ctr" fontAlgn="b"/>
                      <a:r>
                        <a:rPr lang="en-US" sz="800" b="0" dirty="0">
                          <a:solidFill>
                            <a:schemeClr val="tx1"/>
                          </a:solidFill>
                          <a:latin typeface="Nexa Bold" panose="00000800000000000000" pitchFamily="2" charset="0"/>
                        </a:rPr>
                        <a:t>Lindt</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3,106,05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24%</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6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0366408"/>
                  </a:ext>
                </a:extLst>
              </a:tr>
              <a:tr h="29452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chemeClr val="tx1"/>
                          </a:solidFill>
                          <a:latin typeface="Nexa Bold" panose="00000800000000000000" pitchFamily="2" charset="0"/>
                        </a:rPr>
                        <a:t>Other</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955,47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rgbClr val="575555"/>
                          </a:solidFill>
                          <a:latin typeface="Nexa Book" panose="00000400000000000000" pitchFamily="50" charset="0"/>
                        </a:rPr>
                        <a:t>1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86</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8602638"/>
                  </a:ext>
                </a:extLst>
              </a:tr>
              <a:tr h="294524">
                <a:tc>
                  <a:txBody>
                    <a:bodyPr/>
                    <a:lstStyle/>
                    <a:p>
                      <a:pPr algn="ctr" fontAlgn="b"/>
                      <a:r>
                        <a:rPr lang="en-US" sz="800" b="0" dirty="0">
                          <a:solidFill>
                            <a:schemeClr val="tx1"/>
                          </a:solidFill>
                          <a:latin typeface="Nexa Bold" panose="00000800000000000000" pitchFamily="2" charset="0"/>
                        </a:rPr>
                        <a:t>Mars</a:t>
                      </a:r>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2,030,87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575555"/>
                          </a:solidFill>
                          <a:latin typeface="Nexa Book" panose="00000400000000000000" pitchFamily="50" charset="0"/>
                        </a:rPr>
                        <a:t>15%</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b="0" dirty="0">
                          <a:solidFill>
                            <a:srgbClr val="575555"/>
                          </a:solidFill>
                          <a:latin typeface="Nexa Book" panose="00000400000000000000" pitchFamily="50" charset="0"/>
                        </a:rPr>
                        <a:t>340</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98176398"/>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701,448</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lvl1pPr marL="0" algn="l" defTabSz="914400" rtl="0" eaLnBrk="1" latinLnBrk="0" hangingPunct="1">
                        <a:defRPr sz="1800" kern="1200">
                          <a:solidFill>
                            <a:schemeClr val="dk1"/>
                          </a:solidFill>
                          <a:latin typeface="Nexa-Light"/>
                        </a:defRPr>
                      </a:lvl1pPr>
                      <a:lvl2pPr marL="457200" algn="l" defTabSz="914400" rtl="0" eaLnBrk="1" latinLnBrk="0" hangingPunct="1">
                        <a:defRPr sz="1800" kern="1200">
                          <a:solidFill>
                            <a:schemeClr val="dk1"/>
                          </a:solidFill>
                          <a:latin typeface="Nexa-Light"/>
                        </a:defRPr>
                      </a:lvl2pPr>
                      <a:lvl3pPr marL="914400" algn="l" defTabSz="914400" rtl="0" eaLnBrk="1" latinLnBrk="0" hangingPunct="1">
                        <a:defRPr sz="1800" kern="1200">
                          <a:solidFill>
                            <a:schemeClr val="dk1"/>
                          </a:solidFill>
                          <a:latin typeface="Nexa-Light"/>
                        </a:defRPr>
                      </a:lvl3pPr>
                      <a:lvl4pPr marL="1371600" algn="l" defTabSz="914400" rtl="0" eaLnBrk="1" latinLnBrk="0" hangingPunct="1">
                        <a:defRPr sz="1800" kern="1200">
                          <a:solidFill>
                            <a:schemeClr val="dk1"/>
                          </a:solidFill>
                          <a:latin typeface="Nexa-Light"/>
                        </a:defRPr>
                      </a:lvl4pPr>
                      <a:lvl5pPr marL="1828800" algn="l" defTabSz="914400" rtl="0" eaLnBrk="1" latinLnBrk="0" hangingPunct="1">
                        <a:defRPr sz="1800" kern="1200">
                          <a:solidFill>
                            <a:schemeClr val="dk1"/>
                          </a:solidFill>
                          <a:latin typeface="Nexa-Light"/>
                        </a:defRPr>
                      </a:lvl5pPr>
                      <a:lvl6pPr marL="2286000" algn="l" defTabSz="914400" rtl="0" eaLnBrk="1" latinLnBrk="0" hangingPunct="1">
                        <a:defRPr sz="1800" kern="1200">
                          <a:solidFill>
                            <a:schemeClr val="dk1"/>
                          </a:solidFill>
                          <a:latin typeface="Nexa-Light"/>
                        </a:defRPr>
                      </a:lvl6pPr>
                      <a:lvl7pPr marL="2743200" algn="l" defTabSz="914400" rtl="0" eaLnBrk="1" latinLnBrk="0" hangingPunct="1">
                        <a:defRPr sz="1800" kern="1200">
                          <a:solidFill>
                            <a:schemeClr val="dk1"/>
                          </a:solidFill>
                          <a:latin typeface="Nexa-Light"/>
                        </a:defRPr>
                      </a:lvl7pPr>
                      <a:lvl8pPr marL="3200400" algn="l" defTabSz="914400" rtl="0" eaLnBrk="1" latinLnBrk="0" hangingPunct="1">
                        <a:defRPr sz="1800" kern="1200">
                          <a:solidFill>
                            <a:schemeClr val="dk1"/>
                          </a:solidFill>
                          <a:latin typeface="Nexa-Light"/>
                        </a:defRPr>
                      </a:lvl8pPr>
                      <a:lvl9pPr marL="3657600" algn="l" defTabSz="914400" rtl="0" eaLnBrk="1" latinLnBrk="0" hangingPunct="1">
                        <a:defRPr sz="1800" kern="1200">
                          <a:solidFill>
                            <a:schemeClr val="dk1"/>
                          </a:solidFill>
                          <a:latin typeface="Nexa-Light"/>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dirty="0">
                          <a:solidFill>
                            <a:srgbClr val="575555"/>
                          </a:solidFill>
                          <a:latin typeface="Nexa Book" panose="00000400000000000000" pitchFamily="50" charset="0"/>
                        </a:rPr>
                        <a:t>57</a:t>
                      </a: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279838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58616760"/>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20783503"/>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1763403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784868825"/>
                  </a:ext>
                </a:extLst>
              </a:tr>
              <a:tr h="294524">
                <a:tc>
                  <a:txBody>
                    <a:bodyPr/>
                    <a:lstStyle/>
                    <a:p>
                      <a:pPr algn="ctr" fontAlgn="b"/>
                      <a:endParaRPr lang="en-CH" sz="800" b="0" dirty="0">
                        <a:solidFill>
                          <a:schemeClr val="tx1"/>
                        </a:solidFill>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800" dirty="0">
                        <a:solidFill>
                          <a:srgbClr val="575555"/>
                        </a:solidFill>
                        <a:latin typeface="Nexa Book" panose="00000400000000000000" pitchFamily="50"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kern="1200" dirty="0">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67551968"/>
                  </a:ext>
                </a:extLst>
              </a:tr>
            </a:tbl>
          </a:graphicData>
        </a:graphic>
      </p:graphicFrame>
      <p:graphicFrame>
        <p:nvGraphicFramePr>
          <p:cNvPr id="16" name="T1-C1">
            <a:extLst>
              <a:ext uri="{FF2B5EF4-FFF2-40B4-BE49-F238E27FC236}">
                <a16:creationId xmlns:a16="http://schemas.microsoft.com/office/drawing/2014/main" id="{D7F2F964-1E28-4339-8493-893E64CC273B}"/>
              </a:ext>
            </a:extLst>
          </p:cNvPr>
          <p:cNvGraphicFramePr/>
          <p:nvPr>
            <p:extLst>
              <p:ext uri="{D42A27DB-BD31-4B8C-83A1-F6EECF244321}">
                <p14:modId xmlns:p14="http://schemas.microsoft.com/office/powerpoint/2010/main" val="2117888739"/>
              </p:ext>
            </p:extLst>
          </p:nvPr>
        </p:nvGraphicFramePr>
        <p:xfrm>
          <a:off x="5740023" y="1487345"/>
          <a:ext cx="1473577" cy="32319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T1-C1">
            <a:extLst>
              <a:ext uri="{FF2B5EF4-FFF2-40B4-BE49-F238E27FC236}">
                <a16:creationId xmlns:a16="http://schemas.microsoft.com/office/drawing/2014/main" id="{B6BC63DB-BB68-E22B-6F46-70632876165B}"/>
              </a:ext>
            </a:extLst>
          </p:cNvPr>
          <p:cNvGraphicFramePr/>
          <p:nvPr>
            <p:extLst>
              <p:ext uri="{D42A27DB-BD31-4B8C-83A1-F6EECF244321}">
                <p14:modId xmlns:p14="http://schemas.microsoft.com/office/powerpoint/2010/main" val="1752009861"/>
              </p:ext>
            </p:extLst>
          </p:nvPr>
        </p:nvGraphicFramePr>
        <p:xfrm>
          <a:off x="6563360" y="1498814"/>
          <a:ext cx="2063595" cy="323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7267035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0291835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0190499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5884842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611764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4042055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3066068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7884880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6337546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1597150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8F9004-8BE6-AD4B-2C0D-A16328E10E2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DE8F9004-8BE6-AD4B-2C0D-A16328E10E25}"/>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FF6F2AA6-F5BA-0A3F-83C4-78CE408D533C}"/>
              </a:ext>
            </a:extLst>
          </p:cNvPr>
          <p:cNvSpPr>
            <a:spLocks noGrp="1"/>
          </p:cNvSpPr>
          <p:nvPr>
            <p:ph type="dt" sz="half" idx="14"/>
          </p:nvPr>
        </p:nvSpPr>
        <p:spPr>
          <a:xfrm>
            <a:off x="8082390" y="4972050"/>
            <a:ext cx="557609" cy="171450"/>
          </a:xfrm>
        </p:spPr>
        <p:txBody>
          <a:bodyPr/>
          <a:lstStyle/>
          <a:p>
            <a:fld id="{AC7830C3-012D-44F5-B8F5-30CEA79CBEDA}" type="datetime1">
              <a:rPr lang="en-US"/>
              <a:pPr/>
              <a:t>8/10/2025</a:t>
            </a:fld>
            <a:endParaRPr lang="en-US"/>
          </a:p>
        </p:txBody>
      </p:sp>
      <p:sp>
        <p:nvSpPr>
          <p:cNvPr id="9" name="Footer Placeholder 8">
            <a:extLst>
              <a:ext uri="{FF2B5EF4-FFF2-40B4-BE49-F238E27FC236}">
                <a16:creationId xmlns:a16="http://schemas.microsoft.com/office/drawing/2014/main" id="{7C7B1D8A-66D2-AC57-AC7C-E1E21CDF95CC}"/>
              </a:ext>
            </a:extLst>
          </p:cNvPr>
          <p:cNvSpPr>
            <a:spLocks noGrp="1"/>
          </p:cNvSpPr>
          <p:nvPr>
            <p:ph type="ftr" sz="quarter" idx="15"/>
          </p:nvPr>
        </p:nvSpPr>
        <p:spPr>
          <a:xfrm>
            <a:off x="546969" y="4970700"/>
            <a:ext cx="6451742" cy="174151"/>
          </a:xfrm>
        </p:spPr>
        <p:txBody>
          <a:bodyPr/>
          <a:lstStyle/>
          <a:p>
            <a:endParaRPr lang="en-US" dirty="0"/>
          </a:p>
        </p:txBody>
      </p:sp>
      <p:sp>
        <p:nvSpPr>
          <p:cNvPr id="3" name="Slide Number Placeholder 2">
            <a:extLst>
              <a:ext uri="{FF2B5EF4-FFF2-40B4-BE49-F238E27FC236}">
                <a16:creationId xmlns:a16="http://schemas.microsoft.com/office/drawing/2014/main" id="{7B7A0BAD-A195-288D-F79C-E1B8DDDE309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a:t>
            </a:fld>
            <a:endParaRPr lang="en-US"/>
          </a:p>
        </p:txBody>
      </p:sp>
      <p:sp>
        <p:nvSpPr>
          <p:cNvPr id="31" name="Text Placeholder 30">
            <a:extLst>
              <a:ext uri="{FF2B5EF4-FFF2-40B4-BE49-F238E27FC236}">
                <a16:creationId xmlns:a16="http://schemas.microsoft.com/office/drawing/2014/main" id="{0576BAD1-1986-B083-A95A-E5EE56524294}"/>
              </a:ext>
            </a:extLst>
          </p:cNvPr>
          <p:cNvSpPr>
            <a:spLocks noGrp="1"/>
          </p:cNvSpPr>
          <p:nvPr>
            <p:ph type="body" sz="quarter" idx="17"/>
          </p:nvPr>
        </p:nvSpPr>
        <p:spPr>
          <a:xfrm>
            <a:off x="0" y="4734106"/>
            <a:ext cx="4572000" cy="222878"/>
          </a:xfrm>
        </p:spPr>
        <p:txBody>
          <a:bodyPr/>
          <a:lstStyle/>
          <a:p>
            <a:r>
              <a:rPr lang="da-DK" dirty="0"/>
              <a:t>Data Source l Trade Panel l Ending March 2022</a:t>
            </a:r>
          </a:p>
        </p:txBody>
      </p:sp>
      <p:sp>
        <p:nvSpPr>
          <p:cNvPr id="32" name="Text Placeholder 31">
            <a:extLst>
              <a:ext uri="{FF2B5EF4-FFF2-40B4-BE49-F238E27FC236}">
                <a16:creationId xmlns:a16="http://schemas.microsoft.com/office/drawing/2014/main" id="{35AACD76-2405-6770-F5DF-296BE8728F9C}"/>
              </a:ext>
            </a:extLst>
          </p:cNvPr>
          <p:cNvSpPr>
            <a:spLocks noGrp="1"/>
          </p:cNvSpPr>
          <p:nvPr>
            <p:ph type="body" sz="quarter" idx="18"/>
          </p:nvPr>
        </p:nvSpPr>
        <p:spPr>
          <a:xfrm>
            <a:off x="503238" y="774000"/>
            <a:ext cx="8136762" cy="360000"/>
          </a:xfrm>
        </p:spPr>
        <p:txBody>
          <a:bodyPr/>
          <a:lstStyle/>
          <a:p>
            <a:r>
              <a:rPr lang="en-US"/>
              <a:t>Volume Sold on Deal | National | P12M</a:t>
            </a:r>
            <a:endParaRPr lang="en-CH"/>
          </a:p>
        </p:txBody>
      </p:sp>
      <p:sp>
        <p:nvSpPr>
          <p:cNvPr id="4" name="Title 3">
            <a:extLst>
              <a:ext uri="{FF2B5EF4-FFF2-40B4-BE49-F238E27FC236}">
                <a16:creationId xmlns:a16="http://schemas.microsoft.com/office/drawing/2014/main" id="{A77C6095-F64B-57EF-0DDA-2839CBD1E7D3}"/>
              </a:ext>
            </a:extLst>
          </p:cNvPr>
          <p:cNvSpPr>
            <a:spLocks noGrp="1"/>
          </p:cNvSpPr>
          <p:nvPr>
            <p:ph type="title"/>
          </p:nvPr>
        </p:nvSpPr>
        <p:spPr>
          <a:xfrm>
            <a:off x="504000" y="-1"/>
            <a:ext cx="8136000" cy="771525"/>
          </a:xfrm>
        </p:spPr>
        <p:txBody>
          <a:bodyPr vert="horz"/>
          <a:lstStyle/>
          <a:p>
            <a:r>
              <a:rPr lang="en-US" dirty="0">
                <a:highlight>
                  <a:srgbClr val="FFFF00"/>
                </a:highlight>
              </a:rPr>
              <a:t>Volume Sold on Deal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5" name="Text Placeholder 4">
            <a:extLst>
              <a:ext uri="{FF2B5EF4-FFF2-40B4-BE49-F238E27FC236}">
                <a16:creationId xmlns:a16="http://schemas.microsoft.com/office/drawing/2014/main" id="{11AA95DA-BB68-597B-3843-85BD1732E129}"/>
              </a:ext>
            </a:extLst>
          </p:cNvPr>
          <p:cNvSpPr>
            <a:spLocks noGrp="1"/>
          </p:cNvSpPr>
          <p:nvPr>
            <p:ph idx="4294967295"/>
          </p:nvPr>
        </p:nvSpPr>
        <p:spPr>
          <a:xfrm>
            <a:off x="1044575" y="1243013"/>
            <a:ext cx="8099425" cy="3482975"/>
          </a:xfrm>
        </p:spPr>
        <p:txBody>
          <a:bodyPr/>
          <a:lstStyle/>
          <a:p>
            <a:r>
              <a:rPr lang="da-DK"/>
              <a:t>Data Source | Nielsen | Ending Mar 2022</a:t>
            </a:r>
          </a:p>
        </p:txBody>
      </p:sp>
      <p:sp>
        <p:nvSpPr>
          <p:cNvPr id="18" name="Text Placeholder 3">
            <a:extLst>
              <a:ext uri="{FF2B5EF4-FFF2-40B4-BE49-F238E27FC236}">
                <a16:creationId xmlns:a16="http://schemas.microsoft.com/office/drawing/2014/main" id="{92221614-669D-48C7-9B71-282CA641F9F5}"/>
              </a:ext>
            </a:extLst>
          </p:cNvPr>
          <p:cNvSpPr txBox="1">
            <a:spLocks/>
          </p:cNvSpPr>
          <p:nvPr/>
        </p:nvSpPr>
        <p:spPr>
          <a:xfrm>
            <a:off x="353086" y="1023530"/>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15">
              <a:defRPr/>
            </a:pPr>
            <a:endParaRPr lang="en-US" sz="1800" b="0">
              <a:latin typeface="Nexa Book" panose="00000400000000000000" pitchFamily="50" charset="0"/>
            </a:endParaRPr>
          </a:p>
        </p:txBody>
      </p:sp>
      <p:sp>
        <p:nvSpPr>
          <p:cNvPr id="19" name="MT2">
            <a:extLst>
              <a:ext uri="{FF2B5EF4-FFF2-40B4-BE49-F238E27FC236}">
                <a16:creationId xmlns:a16="http://schemas.microsoft.com/office/drawing/2014/main" id="{F2E99403-7D59-47BF-9380-8AD06B76B8A9}"/>
              </a:ext>
            </a:extLst>
          </p:cNvPr>
          <p:cNvSpPr txBox="1">
            <a:spLocks/>
          </p:cNvSpPr>
          <p:nvPr/>
        </p:nvSpPr>
        <p:spPr>
          <a:xfrm>
            <a:off x="5006718" y="-571108"/>
            <a:ext cx="3615790" cy="4065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accent3"/>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15">
              <a:defRPr/>
            </a:pPr>
            <a:endParaRPr lang="en-AE" sz="1350" b="1">
              <a:solidFill>
                <a:srgbClr val="00A097"/>
              </a:solidFill>
              <a:latin typeface="Nexa-RegularItalic" panose="02000000000000000000" pitchFamily="2" charset="77"/>
            </a:endParaRPr>
          </a:p>
        </p:txBody>
      </p:sp>
      <p:graphicFrame>
        <p:nvGraphicFramePr>
          <p:cNvPr id="17" name="T1">
            <a:extLst>
              <a:ext uri="{FF2B5EF4-FFF2-40B4-BE49-F238E27FC236}">
                <a16:creationId xmlns:a16="http://schemas.microsoft.com/office/drawing/2014/main" id="{680B8780-8D53-4581-AFBA-0D7E2AFDF8FE}"/>
              </a:ext>
            </a:extLst>
          </p:cNvPr>
          <p:cNvGraphicFramePr>
            <a:graphicFrameLocks noGrp="1"/>
          </p:cNvGraphicFramePr>
          <p:nvPr>
            <p:extLst>
              <p:ext uri="{D42A27DB-BD31-4B8C-83A1-F6EECF244321}">
                <p14:modId xmlns:p14="http://schemas.microsoft.com/office/powerpoint/2010/main" val="3459626578"/>
              </p:ext>
            </p:extLst>
          </p:nvPr>
        </p:nvGraphicFramePr>
        <p:xfrm>
          <a:off x="503237" y="1131888"/>
          <a:ext cx="8146796" cy="3597554"/>
        </p:xfrm>
        <a:graphic>
          <a:graphicData uri="http://schemas.openxmlformats.org/drawingml/2006/table">
            <a:tbl>
              <a:tblPr firstRow="1" bandRow="1">
                <a:tableStyleId>{5C22544A-7EE6-4342-B048-85BDC9FD1C3A}</a:tableStyleId>
              </a:tblPr>
              <a:tblGrid>
                <a:gridCol w="692386">
                  <a:extLst>
                    <a:ext uri="{9D8B030D-6E8A-4147-A177-3AD203B41FA5}">
                      <a16:colId xmlns:a16="http://schemas.microsoft.com/office/drawing/2014/main" val="2374043349"/>
                    </a:ext>
                  </a:extLst>
                </a:gridCol>
                <a:gridCol w="2406113">
                  <a:extLst>
                    <a:ext uri="{9D8B030D-6E8A-4147-A177-3AD203B41FA5}">
                      <a16:colId xmlns:a16="http://schemas.microsoft.com/office/drawing/2014/main" val="8673104"/>
                    </a:ext>
                  </a:extLst>
                </a:gridCol>
                <a:gridCol w="2406113">
                  <a:extLst>
                    <a:ext uri="{9D8B030D-6E8A-4147-A177-3AD203B41FA5}">
                      <a16:colId xmlns:a16="http://schemas.microsoft.com/office/drawing/2014/main" val="1336055313"/>
                    </a:ext>
                  </a:extLst>
                </a:gridCol>
                <a:gridCol w="2642184">
                  <a:extLst>
                    <a:ext uri="{9D8B030D-6E8A-4147-A177-3AD203B41FA5}">
                      <a16:colId xmlns:a16="http://schemas.microsoft.com/office/drawing/2014/main" val="481471067"/>
                    </a:ext>
                  </a:extLst>
                </a:gridCol>
              </a:tblGrid>
              <a:tr h="377918">
                <a:tc>
                  <a:txBody>
                    <a:bodyPr/>
                    <a:lstStyle/>
                    <a:p>
                      <a:pPr algn="ctr"/>
                      <a:endParaRPr lang="en-US" sz="1100" b="0" i="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Categ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a:solidFill>
                            <a:schemeClr val="tx2"/>
                          </a:solidFill>
                          <a:latin typeface="Nexa Bold" panose="00000800000000000000" pitchFamily="2" charset="0"/>
                        </a:rPr>
                        <a:t>Volume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dirty="0" err="1">
                          <a:solidFill>
                            <a:schemeClr val="tx2"/>
                          </a:solidFill>
                          <a:latin typeface="Nexa Bold" panose="00000800000000000000" pitchFamily="2" charset="0"/>
                        </a:rPr>
                        <a:t>Gerolsteiner</a:t>
                      </a:r>
                      <a:endParaRPr lang="en-US" sz="900" b="0" i="0" dirty="0">
                        <a:solidFill>
                          <a:schemeClr val="tx2"/>
                        </a:solidFill>
                        <a:latin typeface="Nexa Bold" panose="000008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Nexa Bold" panose="00000800000000000000" pitchFamily="2" charset="0"/>
                          <a:ea typeface="+mn-ea"/>
                          <a:cs typeface="+mn-cs"/>
                        </a:rPr>
                        <a:t>Volume</a:t>
                      </a:r>
                      <a:r>
                        <a:rPr lang="en-US" sz="900" b="0" i="0" dirty="0">
                          <a:solidFill>
                            <a:schemeClr val="tx2"/>
                          </a:solidFill>
                          <a:latin typeface="Nexa Bold" panose="00000800000000000000" pitchFamily="2" charset="0"/>
                        </a:rPr>
                        <a:t> Sold on Dea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Comments</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59948">
                <a:tc>
                  <a:txBody>
                    <a:bodyPr/>
                    <a:lstStyle/>
                    <a:p>
                      <a:pPr algn="ctr" fontAlgn="b"/>
                      <a:r>
                        <a:rPr lang="en-US" sz="800" b="0" i="0" dirty="0">
                          <a:solidFill>
                            <a:srgbClr val="575555"/>
                          </a:solidFill>
                          <a:latin typeface="Nexa Bold" panose="00000800000000000000" pitchFamily="2" charset="0"/>
                        </a:rPr>
                        <a:t>Category</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6504666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1</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0" i="0" u="none" strike="noStrike">
                        <a:solidFill>
                          <a:schemeClr val="tx2"/>
                        </a:solidFill>
                        <a:effectLst/>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2</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ector 3</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rgbClr val="575555"/>
                        </a:solidFill>
                        <a:latin typeface="Nexa Book" panose="00000400000000000000" pitchFamily="50"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459948">
                <a:tc>
                  <a:txBody>
                    <a:bodyPr/>
                    <a:lstStyle/>
                    <a:p>
                      <a:pPr algn="ctr" fontAlgn="b"/>
                      <a:r>
                        <a:rPr lang="en-US" sz="800" b="0" i="0">
                          <a:solidFill>
                            <a:srgbClr val="575555"/>
                          </a:solidFill>
                          <a:latin typeface="Nexa Bold" panose="00000800000000000000" pitchFamily="2" charset="0"/>
                        </a:rPr>
                        <a:t>Sector 4</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67708359"/>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5</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0741977"/>
                  </a:ext>
                </a:extLst>
              </a:tr>
              <a:tr h="45994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Sector 6</a:t>
                      </a:r>
                    </a:p>
                  </a:txBody>
                  <a:tcPr marL="7144" marR="7144" marT="7144" marB="0" anchor="ctr">
                    <a:lnL w="12700"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9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endParaRPr lang="en-US" sz="800" dirty="0">
                        <a:solidFill>
                          <a:schemeClr val="tx2"/>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1015636"/>
                  </a:ext>
                </a:extLst>
              </a:tr>
            </a:tbl>
          </a:graphicData>
        </a:graphic>
      </p:graphicFrame>
      <p:graphicFrame>
        <p:nvGraphicFramePr>
          <p:cNvPr id="20" name="T1-C1">
            <a:extLst>
              <a:ext uri="{FF2B5EF4-FFF2-40B4-BE49-F238E27FC236}">
                <a16:creationId xmlns:a16="http://schemas.microsoft.com/office/drawing/2014/main" id="{4F1AC2C4-E03E-4D63-9CFE-5DD45DD67548}"/>
              </a:ext>
            </a:extLst>
          </p:cNvPr>
          <p:cNvGraphicFramePr>
            <a:graphicFrameLocks/>
          </p:cNvGraphicFramePr>
          <p:nvPr>
            <p:extLst>
              <p:ext uri="{D42A27DB-BD31-4B8C-83A1-F6EECF244321}">
                <p14:modId xmlns:p14="http://schemas.microsoft.com/office/powerpoint/2010/main" val="1782853790"/>
              </p:ext>
            </p:extLst>
          </p:nvPr>
        </p:nvGraphicFramePr>
        <p:xfrm>
          <a:off x="1249423" y="1523266"/>
          <a:ext cx="2241000" cy="35112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903336ED-9778-D2E5-A3B1-EA932B617DB3}"/>
              </a:ext>
            </a:extLst>
          </p:cNvPr>
          <p:cNvGraphicFramePr>
            <a:graphicFrameLocks/>
          </p:cNvGraphicFramePr>
          <p:nvPr>
            <p:extLst>
              <p:ext uri="{D42A27DB-BD31-4B8C-83A1-F6EECF244321}">
                <p14:modId xmlns:p14="http://schemas.microsoft.com/office/powerpoint/2010/main" val="937544121"/>
              </p:ext>
            </p:extLst>
          </p:nvPr>
        </p:nvGraphicFramePr>
        <p:xfrm>
          <a:off x="3672902" y="1523266"/>
          <a:ext cx="2241000" cy="35112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986521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4CCBFC5-8914-480B-85D5-05E1FE2691B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9DC54F4-FA62-467D-956C-561D8E4CAD18}">
  <ds:schemaRefs>
    <ds:schemaRef ds:uri="474cf4e4-8a51-432b-9e1b-0ea607ac38ff"/>
    <ds:schemaRef ds:uri="http://purl.org/dc/elements/1.1/"/>
    <ds:schemaRef ds:uri="http://www.w3.org/XML/1998/namespace"/>
    <ds:schemaRef ds:uri="http://schemas.microsoft.com/office/infopath/2007/PartnerControls"/>
    <ds:schemaRef ds:uri="http://purl.org/dc/dcmitype/"/>
    <ds:schemaRef ds:uri="http://schemas.microsoft.com/office/2006/documentManagement/types"/>
    <ds:schemaRef ds:uri="0ad93b7f-b0cd-4c46-aaaf-ff14495948cf"/>
    <ds:schemaRef ds:uri="http://schemas.microsoft.com/office/2006/metadata/properties"/>
    <ds:schemaRef ds:uri="http://schemas.openxmlformats.org/package/2006/metadata/core-properties"/>
    <ds:schemaRef ds:uri="http://purl.org/dc/terms/"/>
  </ds:schemaRefs>
</ds:datastoreItem>
</file>

<file path=customXml/itemProps3.xml><?xml version="1.0" encoding="utf-8"?>
<ds:datastoreItem xmlns:ds="http://schemas.openxmlformats.org/officeDocument/2006/customXml" ds:itemID="{B7551193-7C66-436D-8ABA-4B99F0776D1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7</TotalTime>
  <Words>40016</Words>
  <Application>Microsoft Office PowerPoint</Application>
  <PresentationFormat>On-screen Show (16:9)</PresentationFormat>
  <Paragraphs>14141</Paragraphs>
  <Slides>255</Slides>
  <Notes>111</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255</vt:i4>
      </vt:variant>
    </vt:vector>
  </HeadingPairs>
  <TitlesOfParts>
    <vt:vector size="268" baseType="lpstr">
      <vt:lpstr>Aptos</vt:lpstr>
      <vt:lpstr>Arial</vt:lpstr>
      <vt:lpstr>Calibri</vt:lpstr>
      <vt:lpstr>Nexa</vt:lpstr>
      <vt:lpstr>Nexa Bold</vt:lpstr>
      <vt:lpstr>Nexa Bold (Headings)</vt:lpstr>
      <vt:lpstr>Nexa Book</vt:lpstr>
      <vt:lpstr>Nexa Book Italic</vt:lpstr>
      <vt:lpstr>Nexa-RegularItalic</vt:lpstr>
      <vt:lpstr>Open Sans</vt:lpstr>
      <vt:lpstr>Raleway</vt:lpstr>
      <vt:lpstr>PricingOne Light Template Oct 2024</vt:lpstr>
      <vt:lpstr>think-cell Slide</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VSOD Summary by Sector (Replace With SO WHAT)</vt:lpstr>
      <vt:lpstr>VSOD Summary by Sector (Replace With SO WHAT)</vt:lpstr>
      <vt:lpstr>VSOD Summary by Sector (Replace With SO WHAT)</vt:lpstr>
      <vt:lpstr>VSOD Summary by Sector (Replace With SO WHAT)</vt:lpstr>
      <vt:lpstr>Value uplift by retailer by brand (Replace With SO WHAT)</vt:lpstr>
      <vt:lpstr>Value uplift by retailer by brand (Replace With SO WHAT)</vt:lpstr>
      <vt:lpstr>Value uplift by retailer by brand (Replace With SO WHAT)</vt:lpstr>
      <vt:lpstr>Value uplift by retailer by brand (Replace With SO WHAT)</vt:lpstr>
      <vt:lpstr>Value uplift by retailer by brand (Replace With SO WHAT)</vt:lpstr>
      <vt:lpstr>Value uplift by retailer by brand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olume Uplift vs discount depth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Value Uplift vs Promo Efficiency Quadrant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Top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Bottom 20 promotions CLIENT ONLY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Volume Sold on Deal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ales by total size (Replace With SO WHAT)</vt:lpstr>
      <vt:lpstr>Promo Sales by total size (Replace With SO WHAT)</vt:lpstr>
      <vt:lpstr>Promo Sales by total size (Replace With SO WHAT)</vt:lpstr>
      <vt:lpstr>Promo Sales by total size (Replace With SO WHAT)</vt:lpstr>
      <vt:lpstr>Promo Sales by total size (Replace With SO WHAT)</vt:lpstr>
      <vt:lpstr>Promo Sales by total siz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Frequency learnings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Promo sales per retailer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Value Uplift vs discount depth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Seasonality Index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tional Frequency Analysis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Promo evolution (Replace With SO WHAT)</vt:lpstr>
      <vt:lpstr>VSOD Summary by Sector (Replace With SO WHAT)</vt:lpstr>
      <vt:lpstr>VSOD Summary by Sector (Replace With SO WHAT)</vt:lpstr>
      <vt:lpstr>VSOD Summary by Sector (Replace With SO WHAT)</vt:lpstr>
      <vt:lpstr>VSOD Summary by Sector (Replace With SO WHAT)</vt:lpstr>
      <vt:lpstr>Value uplift by retailer by brand (Replace With SO WHAT)</vt:lpstr>
      <vt:lpstr>Value uplift by retailer by brand (Replace With SO WHAT)</vt:lpstr>
      <vt:lpstr>Value uplift by retailer by brand (Replace With SO WHAT)</vt:lpstr>
      <vt:lpstr>Value uplift by retailer by brand (Replace With SO WHAT)</vt:lpstr>
      <vt:lpstr>Value uplift by retailer by brand (Replace With SO WHAT)</vt:lpstr>
      <vt:lpstr>Value uplift by retailer by brand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hare vs Value Share (Replace With SO WHAT)</vt:lpstr>
      <vt:lpstr>Promo Sales by total size (Replace With SO WHAT)</vt:lpstr>
      <vt:lpstr>Promo Sales by total size (Replace With SO WHAT)</vt:lpstr>
      <vt:lpstr>Promo Sales by total size (Replace With SO WHAT)</vt:lpstr>
      <vt:lpstr>Promo Sales by total size (Replace With SO WHAT)</vt:lpstr>
      <vt:lpstr>Promo Sales by total size (Replace With SO WHAT)</vt:lpstr>
      <vt:lpstr>Promo Sales by total size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hagya RANASINGHE</dc:creator>
  <cp:lastModifiedBy>Aleaa SALAH</cp:lastModifiedBy>
  <cp:revision>59</cp:revision>
  <dcterms:created xsi:type="dcterms:W3CDTF">2024-07-08T12:46:55Z</dcterms:created>
  <dcterms:modified xsi:type="dcterms:W3CDTF">2025-08-10T16:45: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